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jp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xls" ContentType="application/vnd.ms-excel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tags/tag3.xml" ContentType="application/vnd.openxmlformats-officedocument.presentationml.tags+xml"/>
  <Override PartName="/ppt/embeddings/oleObject3.bin" ContentType="application/vnd.openxmlformats-officedocument.oleObject"/>
  <Override PartName="/ppt/tags/tag4.xml" ContentType="application/vnd.openxmlformats-officedocument.presentationml.tags+xml"/>
  <Override PartName="/ppt/embeddings/oleObject4.bin" ContentType="application/vnd.openxmlformats-officedocument.oleObject"/>
  <Override PartName="/ppt/tags/tag5.xml" ContentType="application/vnd.openxmlformats-officedocument.presentationml.tags+xml"/>
  <Override PartName="/ppt/embeddings/oleObject5.bin" ContentType="application/vnd.openxmlformats-officedocument.oleObject"/>
  <Override PartName="/ppt/tags/tag6.xml" ContentType="application/vnd.openxmlformats-officedocument.presentationml.tags+xml"/>
  <Override PartName="/ppt/embeddings/oleObject6.bin" ContentType="application/vnd.openxmlformats-officedocument.oleObject"/>
  <Override PartName="/ppt/tags/tag7.xml" ContentType="application/vnd.openxmlformats-officedocument.presentationml.tags+xml"/>
  <Override PartName="/ppt/embeddings/oleObject7.bin" ContentType="application/vnd.openxmlformats-officedocument.oleObject"/>
  <Override PartName="/ppt/tags/tag8.xml" ContentType="application/vnd.openxmlformats-officedocument.presentationml.tags+xml"/>
  <Override PartName="/ppt/embeddings/oleObject8.bin" ContentType="application/vnd.openxmlformats-officedocument.oleObject"/>
  <Override PartName="/ppt/tags/tag9.xml" ContentType="application/vnd.openxmlformats-officedocument.presentationml.tags+xml"/>
  <Override PartName="/ppt/embeddings/oleObject9.bin" ContentType="application/vnd.openxmlformats-officedocument.oleObject"/>
  <Override PartName="/ppt/tags/tag10.xml" ContentType="application/vnd.openxmlformats-officedocument.presentationml.tags+xml"/>
  <Override PartName="/ppt/embeddings/oleObject10.bin" ContentType="application/vnd.openxmlformats-officedocument.oleObject"/>
  <Override PartName="/ppt/tags/tag11.xml" ContentType="application/vnd.openxmlformats-officedocument.presentationml.tags+xml"/>
  <Override PartName="/ppt/embeddings/oleObject11.bin" ContentType="application/vnd.openxmlformats-officedocument.oleObject"/>
  <Override PartName="/ppt/tags/tag12.xml" ContentType="application/vnd.openxmlformats-officedocument.presentationml.tags+xml"/>
  <Override PartName="/ppt/embeddings/oleObject12.bin" ContentType="application/vnd.openxmlformats-officedocument.oleObject"/>
  <Override PartName="/ppt/tags/tag13.xml" ContentType="application/vnd.openxmlformats-officedocument.presentationml.tags+xml"/>
  <Override PartName="/ppt/embeddings/oleObject13.bin" ContentType="application/vnd.openxmlformats-officedocument.oleObject"/>
  <Override PartName="/ppt/tags/tag14.xml" ContentType="application/vnd.openxmlformats-officedocument.presentationml.tags+xml"/>
  <Override PartName="/ppt/embeddings/oleObject14.bin" ContentType="application/vnd.openxmlformats-officedocument.oleObject"/>
  <Override PartName="/ppt/tags/tag15.xml" ContentType="application/vnd.openxmlformats-officedocument.presentationml.tags+xml"/>
  <Override PartName="/ppt/embeddings/oleObject15.bin" ContentType="application/vnd.openxmlformats-officedocument.oleObject"/>
  <Override PartName="/ppt/tags/tag16.xml" ContentType="application/vnd.openxmlformats-officedocument.presentationml.tags+xml"/>
  <Override PartName="/ppt/embeddings/oleObject16.bin" ContentType="application/vnd.openxmlformats-officedocument.oleObject"/>
  <Override PartName="/ppt/tags/tag17.xml" ContentType="application/vnd.openxmlformats-officedocument.presentationml.tags+xml"/>
  <Override PartName="/ppt/embeddings/oleObject17.bin" ContentType="application/vnd.openxmlformats-officedocument.oleObject"/>
  <Override PartName="/ppt/tags/tag18.xml" ContentType="application/vnd.openxmlformats-officedocument.presentationml.tags+xml"/>
  <Override PartName="/ppt/embeddings/oleObject18.bin" ContentType="application/vnd.openxmlformats-officedocument.oleObject"/>
  <Override PartName="/ppt/tags/tag19.xml" ContentType="application/vnd.openxmlformats-officedocument.presentationml.tags+xml"/>
  <Override PartName="/ppt/embeddings/oleObject19.bin" ContentType="application/vnd.openxmlformats-officedocument.oleObject"/>
  <Override PartName="/ppt/tags/tag20.xml" ContentType="application/vnd.openxmlformats-officedocument.presentationml.tags+xml"/>
  <Override PartName="/ppt/embeddings/oleObject20.bin" ContentType="application/vnd.openxmlformats-officedocument.oleObject"/>
  <Override PartName="/ppt/tags/tag21.xml" ContentType="application/vnd.openxmlformats-officedocument.presentationml.tags+xml"/>
  <Override PartName="/ppt/embeddings/oleObject21.bin" ContentType="application/vnd.openxmlformats-officedocument.oleObject"/>
  <Override PartName="/ppt/tags/tag22.xml" ContentType="application/vnd.openxmlformats-officedocument.presentationml.tags+xml"/>
  <Override PartName="/ppt/embeddings/oleObject22.bin" ContentType="application/vnd.openxmlformats-officedocument.oleObject"/>
  <Override PartName="/ppt/tags/tag23.xml" ContentType="application/vnd.openxmlformats-officedocument.presentationml.tags+xml"/>
  <Override PartName="/ppt/embeddings/oleObject23.bin" ContentType="application/vnd.openxmlformats-officedocument.oleObject"/>
  <Override PartName="/ppt/tags/tag24.xml" ContentType="application/vnd.openxmlformats-officedocument.presentationml.tags+xml"/>
  <Override PartName="/ppt/embeddings/oleObject24.bin" ContentType="application/vnd.openxmlformats-officedocument.oleObject"/>
  <Override PartName="/ppt/tags/tag25.xml" ContentType="application/vnd.openxmlformats-officedocument.presentationml.tags+xml"/>
  <Override PartName="/ppt/embeddings/oleObject25.bin" ContentType="application/vnd.openxmlformats-officedocument.oleObject"/>
  <Override PartName="/ppt/tags/tag26.xml" ContentType="application/vnd.openxmlformats-officedocument.presentationml.tags+xml"/>
  <Override PartName="/ppt/embeddings/oleObject26.bin" ContentType="application/vnd.openxmlformats-officedocument.oleObject"/>
  <Override PartName="/ppt/tags/tag27.xml" ContentType="application/vnd.openxmlformats-officedocument.presentationml.tags+xml"/>
  <Override PartName="/ppt/embeddings/oleObject27.bin" ContentType="application/vnd.openxmlformats-officedocument.oleObject"/>
  <Override PartName="/ppt/tags/tag28.xml" ContentType="application/vnd.openxmlformats-officedocument.presentationml.tags+xml"/>
  <Override PartName="/ppt/embeddings/oleObject28.bin" ContentType="application/vnd.openxmlformats-officedocument.oleObject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4.xml" ContentType="application/vnd.openxmlformats-officedocument.theme+xml"/>
  <Override PartName="/ppt/tags/tag29.xml" ContentType="application/vnd.openxmlformats-officedocument.presentationml.tags+xml"/>
  <Override PartName="/ppt/embeddings/oleObject29.bin" ContentType="application/vnd.openxmlformats-officedocument.oleObject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5.xml" ContentType="application/vnd.openxmlformats-officedocument.theme+xml"/>
  <Override PartName="/ppt/tags/tag30.xml" ContentType="application/vnd.openxmlformats-officedocument.presentationml.tags+xml"/>
  <Override PartName="/ppt/embeddings/oleObject30.bin" ContentType="application/vnd.openxmlformats-officedocument.oleObject"/>
  <Override PartName="/ppt/tags/tag31.xml" ContentType="application/vnd.openxmlformats-officedocument.presentationml.tags+xml"/>
  <Override PartName="/ppt/embeddings/oleObject31.bin" ContentType="application/vnd.openxmlformats-officedocument.oleObject"/>
  <Override PartName="/ppt/tags/tag32.xml" ContentType="application/vnd.openxmlformats-officedocument.presentationml.tags+xml"/>
  <Override PartName="/ppt/embeddings/oleObject32.bin" ContentType="application/vnd.openxmlformats-officedocument.oleObject"/>
  <Override PartName="/ppt/tags/tag33.xml" ContentType="application/vnd.openxmlformats-officedocument.presentationml.tags+xml"/>
  <Override PartName="/ppt/embeddings/oleObject33.bin" ContentType="application/vnd.openxmlformats-officedocument.oleObject"/>
  <Override PartName="/ppt/tags/tag34.xml" ContentType="application/vnd.openxmlformats-officedocument.presentationml.tags+xml"/>
  <Override PartName="/ppt/embeddings/oleObject34.bin" ContentType="application/vnd.openxmlformats-officedocument.oleObject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6.xml" ContentType="application/vnd.openxmlformats-officedocument.theme+xml"/>
  <Override PartName="/ppt/tags/tag35.xml" ContentType="application/vnd.openxmlformats-officedocument.presentationml.tags+xml"/>
  <Override PartName="/ppt/embeddings/oleObject35.bin" ContentType="application/vnd.openxmlformats-officedocument.oleObject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7.xml" ContentType="application/vnd.openxmlformats-officedocument.theme+xml"/>
  <Override PartName="/ppt/tags/tag36.xml" ContentType="application/vnd.openxmlformats-officedocument.presentationml.tags+xml"/>
  <Override PartName="/ppt/embeddings/oleObject36.bin" ContentType="application/vnd.openxmlformats-officedocument.oleObject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8.xml" ContentType="application/vnd.openxmlformats-officedocument.theme+xml"/>
  <Override PartName="/ppt/tags/tag37.xml" ContentType="application/vnd.openxmlformats-officedocument.presentationml.tags+xml"/>
  <Override PartName="/ppt/embeddings/oleObject37.bin" ContentType="application/vnd.openxmlformats-officedocument.oleObject"/>
  <Override PartName="/ppt/tags/tag38.xml" ContentType="application/vnd.openxmlformats-officedocument.presentationml.tags+xml"/>
  <Override PartName="/ppt/embeddings/oleObject38.bin" ContentType="application/vnd.openxmlformats-officedocument.oleObject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9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embeddings/oleObject39.bin" ContentType="application/vnd.openxmlformats-officedocument.oleObject"/>
  <Override PartName="/ppt/embeddings/oleObject40.bin" ContentType="application/vnd.openxmlformats-officedocument.oleObject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heme/theme10.xml" ContentType="application/vnd.openxmlformats-officedocument.theme+xml"/>
  <Override PartName="/ppt/tags/tag41.xml" ContentType="application/vnd.openxmlformats-officedocument.presentationml.tags+xml"/>
  <Override PartName="/ppt/embeddings/oleObject41.bin" ContentType="application/vnd.openxmlformats-officedocument.oleObject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embeddings/oleObject42.bin" ContentType="application/vnd.openxmlformats-officedocument.oleObject"/>
  <Override PartName="/ppt/embeddings/oleObject43.bin" ContentType="application/vnd.openxmlformats-officedocument.oleObject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theme/theme11.xml" ContentType="application/vnd.openxmlformats-officedocument.theme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12.xml" ContentType="application/vnd.openxmlformats-officedocument.theme+xml"/>
  <Override PartName="/ppt/tags/tag44.xml" ContentType="application/vnd.openxmlformats-officedocument.presentationml.tags+xml"/>
  <Override PartName="/ppt/embeddings/oleObject44.bin" ContentType="application/vnd.openxmlformats-officedocument.oleObject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4.xml" ContentType="application/vnd.openxmlformats-officedocument.drawingml.chart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embeddings/oleObject45.bin" ContentType="application/vnd.openxmlformats-officedocument.oleObject"/>
  <Override PartName="/ppt/embeddings/oleObject46.bin" ContentType="application/vnd.openxmlformats-officedocument.oleObject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95" r:id="rId2"/>
    <p:sldMasterId id="2147483804" r:id="rId3"/>
    <p:sldMasterId id="2147483828" r:id="rId4"/>
    <p:sldMasterId id="2147483860" r:id="rId5"/>
    <p:sldMasterId id="2147483940" r:id="rId6"/>
    <p:sldMasterId id="2147483960" r:id="rId7"/>
    <p:sldMasterId id="2147484139" r:id="rId8"/>
    <p:sldMasterId id="2147484168" r:id="rId9"/>
    <p:sldMasterId id="2147484355" r:id="rId10"/>
    <p:sldMasterId id="2147484423" r:id="rId11"/>
    <p:sldMasterId id="2147484504" r:id="rId12"/>
  </p:sldMasterIdLst>
  <p:notesMasterIdLst>
    <p:notesMasterId r:id="rId54"/>
  </p:notesMasterIdLst>
  <p:sldIdLst>
    <p:sldId id="256" r:id="rId13"/>
    <p:sldId id="445" r:id="rId14"/>
    <p:sldId id="446" r:id="rId15"/>
    <p:sldId id="411" r:id="rId16"/>
    <p:sldId id="453" r:id="rId17"/>
    <p:sldId id="447" r:id="rId18"/>
    <p:sldId id="450" r:id="rId19"/>
    <p:sldId id="399" r:id="rId20"/>
    <p:sldId id="454" r:id="rId21"/>
    <p:sldId id="449" r:id="rId22"/>
    <p:sldId id="400" r:id="rId23"/>
    <p:sldId id="448" r:id="rId24"/>
    <p:sldId id="418" r:id="rId25"/>
    <p:sldId id="452" r:id="rId26"/>
    <p:sldId id="436" r:id="rId27"/>
    <p:sldId id="420" r:id="rId28"/>
    <p:sldId id="425" r:id="rId29"/>
    <p:sldId id="427" r:id="rId30"/>
    <p:sldId id="428" r:id="rId31"/>
    <p:sldId id="422" r:id="rId32"/>
    <p:sldId id="271" r:id="rId33"/>
    <p:sldId id="265" r:id="rId34"/>
    <p:sldId id="350" r:id="rId35"/>
    <p:sldId id="342" r:id="rId36"/>
    <p:sldId id="403" r:id="rId37"/>
    <p:sldId id="356" r:id="rId38"/>
    <p:sldId id="349" r:id="rId39"/>
    <p:sldId id="359" r:id="rId40"/>
    <p:sldId id="381" r:id="rId41"/>
    <p:sldId id="307" r:id="rId42"/>
    <p:sldId id="455" r:id="rId43"/>
    <p:sldId id="268" r:id="rId44"/>
    <p:sldId id="457" r:id="rId45"/>
    <p:sldId id="458" r:id="rId46"/>
    <p:sldId id="440" r:id="rId47"/>
    <p:sldId id="441" r:id="rId48"/>
    <p:sldId id="317" r:id="rId49"/>
    <p:sldId id="442" r:id="rId50"/>
    <p:sldId id="459" r:id="rId51"/>
    <p:sldId id="460" r:id="rId52"/>
    <p:sldId id="461" r:id="rId53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XMSH (Marleen Schoonen)" initials="Marleen" lastIdx="14" clrIdx="0"/>
  <p:cmAuthor id="1" name="MTVT (Maarten van der Vliet)" initials="M(vdV" lastIdx="10" clrIdx="1"/>
  <p:cmAuthor id="2" name="BTLW (Bart van Leeuwen)" initials="BvL" lastIdx="19" clrIdx="2"/>
  <p:cmAuthor id="3" name="XMSH (Marleen Schoonen)" initials="X(S" lastIdx="3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9343" autoAdjust="0"/>
  </p:normalViewPr>
  <p:slideViewPr>
    <p:cSldViewPr>
      <p:cViewPr varScale="1">
        <p:scale>
          <a:sx n="103" d="100"/>
          <a:sy n="103" d="100"/>
        </p:scale>
        <p:origin x="-1184" y="-11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742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4" Type="http://schemas.openxmlformats.org/officeDocument/2006/relationships/slide" Target="slides/slide2.xml"/><Relationship Id="rId15" Type="http://schemas.openxmlformats.org/officeDocument/2006/relationships/slide" Target="slides/slide3.xml"/><Relationship Id="rId16" Type="http://schemas.openxmlformats.org/officeDocument/2006/relationships/slide" Target="slides/slide4.xml"/><Relationship Id="rId17" Type="http://schemas.openxmlformats.org/officeDocument/2006/relationships/slide" Target="slides/slide5.xml"/><Relationship Id="rId18" Type="http://schemas.openxmlformats.org/officeDocument/2006/relationships/slide" Target="slides/slide6.xml"/><Relationship Id="rId19" Type="http://schemas.openxmlformats.org/officeDocument/2006/relationships/slide" Target="slides/slide7.xml"/><Relationship Id="rId50" Type="http://schemas.openxmlformats.org/officeDocument/2006/relationships/slide" Target="slides/slide38.xml"/><Relationship Id="rId51" Type="http://schemas.openxmlformats.org/officeDocument/2006/relationships/slide" Target="slides/slide39.xml"/><Relationship Id="rId52" Type="http://schemas.openxmlformats.org/officeDocument/2006/relationships/slide" Target="slides/slide40.xml"/><Relationship Id="rId53" Type="http://schemas.openxmlformats.org/officeDocument/2006/relationships/slide" Target="slides/slide41.xml"/><Relationship Id="rId54" Type="http://schemas.openxmlformats.org/officeDocument/2006/relationships/notesMaster" Target="notesMasters/notesMaster1.xml"/><Relationship Id="rId55" Type="http://schemas.openxmlformats.org/officeDocument/2006/relationships/printerSettings" Target="printerSettings/printerSettings1.bin"/><Relationship Id="rId56" Type="http://schemas.openxmlformats.org/officeDocument/2006/relationships/commentAuthors" Target="commentAuthors.xml"/><Relationship Id="rId57" Type="http://schemas.openxmlformats.org/officeDocument/2006/relationships/presProps" Target="presProps.xml"/><Relationship Id="rId58" Type="http://schemas.openxmlformats.org/officeDocument/2006/relationships/viewProps" Target="viewProps.xml"/><Relationship Id="rId59" Type="http://schemas.openxmlformats.org/officeDocument/2006/relationships/theme" Target="theme/theme1.xml"/><Relationship Id="rId40" Type="http://schemas.openxmlformats.org/officeDocument/2006/relationships/slide" Target="slides/slide28.xml"/><Relationship Id="rId41" Type="http://schemas.openxmlformats.org/officeDocument/2006/relationships/slide" Target="slides/slide29.xml"/><Relationship Id="rId42" Type="http://schemas.openxmlformats.org/officeDocument/2006/relationships/slide" Target="slides/slide30.xml"/><Relationship Id="rId43" Type="http://schemas.openxmlformats.org/officeDocument/2006/relationships/slide" Target="slides/slide31.xml"/><Relationship Id="rId44" Type="http://schemas.openxmlformats.org/officeDocument/2006/relationships/slide" Target="slides/slide32.xml"/><Relationship Id="rId45" Type="http://schemas.openxmlformats.org/officeDocument/2006/relationships/slide" Target="slides/slide33.xml"/><Relationship Id="rId46" Type="http://schemas.openxmlformats.org/officeDocument/2006/relationships/slide" Target="slides/slide34.xml"/><Relationship Id="rId47" Type="http://schemas.openxmlformats.org/officeDocument/2006/relationships/slide" Target="slides/slide35.xml"/><Relationship Id="rId48" Type="http://schemas.openxmlformats.org/officeDocument/2006/relationships/slide" Target="slides/slide36.xml"/><Relationship Id="rId49" Type="http://schemas.openxmlformats.org/officeDocument/2006/relationships/slide" Target="slides/slide37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9" Type="http://schemas.openxmlformats.org/officeDocument/2006/relationships/slideMaster" Target="slideMasters/slideMaster9.xml"/><Relationship Id="rId30" Type="http://schemas.openxmlformats.org/officeDocument/2006/relationships/slide" Target="slides/slide18.xml"/><Relationship Id="rId31" Type="http://schemas.openxmlformats.org/officeDocument/2006/relationships/slide" Target="slides/slide19.xml"/><Relationship Id="rId32" Type="http://schemas.openxmlformats.org/officeDocument/2006/relationships/slide" Target="slides/slide20.xml"/><Relationship Id="rId33" Type="http://schemas.openxmlformats.org/officeDocument/2006/relationships/slide" Target="slides/slide21.xml"/><Relationship Id="rId34" Type="http://schemas.openxmlformats.org/officeDocument/2006/relationships/slide" Target="slides/slide22.xml"/><Relationship Id="rId35" Type="http://schemas.openxmlformats.org/officeDocument/2006/relationships/slide" Target="slides/slide23.xml"/><Relationship Id="rId36" Type="http://schemas.openxmlformats.org/officeDocument/2006/relationships/slide" Target="slides/slide24.xml"/><Relationship Id="rId37" Type="http://schemas.openxmlformats.org/officeDocument/2006/relationships/slide" Target="slides/slide25.xml"/><Relationship Id="rId38" Type="http://schemas.openxmlformats.org/officeDocument/2006/relationships/slide" Target="slides/slide26.xml"/><Relationship Id="rId39" Type="http://schemas.openxmlformats.org/officeDocument/2006/relationships/slide" Target="slides/slide27.xml"/><Relationship Id="rId20" Type="http://schemas.openxmlformats.org/officeDocument/2006/relationships/slide" Target="slides/slide8.xml"/><Relationship Id="rId21" Type="http://schemas.openxmlformats.org/officeDocument/2006/relationships/slide" Target="slides/slide9.xml"/><Relationship Id="rId22" Type="http://schemas.openxmlformats.org/officeDocument/2006/relationships/slide" Target="slides/slide10.xml"/><Relationship Id="rId23" Type="http://schemas.openxmlformats.org/officeDocument/2006/relationships/slide" Target="slides/slide11.xml"/><Relationship Id="rId24" Type="http://schemas.openxmlformats.org/officeDocument/2006/relationships/slide" Target="slides/slide12.xml"/><Relationship Id="rId25" Type="http://schemas.openxmlformats.org/officeDocument/2006/relationships/slide" Target="slides/slide13.xml"/><Relationship Id="rId26" Type="http://schemas.openxmlformats.org/officeDocument/2006/relationships/slide" Target="slides/slide14.xml"/><Relationship Id="rId27" Type="http://schemas.openxmlformats.org/officeDocument/2006/relationships/slide" Target="slides/slide15.xml"/><Relationship Id="rId28" Type="http://schemas.openxmlformats.org/officeDocument/2006/relationships/slide" Target="slides/slide16.xml"/><Relationship Id="rId29" Type="http://schemas.openxmlformats.org/officeDocument/2006/relationships/slide" Target="slides/slide17.xml"/><Relationship Id="rId60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blad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blad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blad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blad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iraglutide</c:v>
                </c:pt>
              </c:strCache>
            </c:strRef>
          </c:tx>
          <c:spPr>
            <a:ln w="25400" cap="rnd">
              <a:solidFill>
                <a:srgbClr val="001965"/>
              </a:solidFill>
              <a:round/>
            </a:ln>
            <a:effectLst/>
          </c:spPr>
          <c:marker>
            <c:symbol val="none"/>
          </c:marker>
          <c:dPt>
            <c:idx val="478"/>
            <c:bubble3D val="0"/>
            <c:spPr>
              <a:ln w="25400" cap="rnd">
                <a:noFill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8C6-4574-B3E5-B9F88AA0A5DE}"/>
              </c:ext>
            </c:extLst>
          </c:dPt>
          <c:dPt>
            <c:idx val="48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8C6-4574-B3E5-B9F88AA0A5DE}"/>
              </c:ext>
            </c:extLst>
          </c:dPt>
          <c:dPt>
            <c:idx val="48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F8C6-4574-B3E5-B9F88AA0A5DE}"/>
              </c:ext>
            </c:extLst>
          </c:dPt>
          <c:dPt>
            <c:idx val="48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F8C6-4574-B3E5-B9F88AA0A5DE}"/>
              </c:ext>
            </c:extLst>
          </c:dPt>
          <c:dPt>
            <c:idx val="48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F8C6-4574-B3E5-B9F88AA0A5DE}"/>
              </c:ext>
            </c:extLst>
          </c:dPt>
          <c:dPt>
            <c:idx val="48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F8C6-4574-B3E5-B9F88AA0A5DE}"/>
              </c:ext>
            </c:extLst>
          </c:dPt>
          <c:dPt>
            <c:idx val="48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F8C6-4574-B3E5-B9F88AA0A5DE}"/>
              </c:ext>
            </c:extLst>
          </c:dPt>
          <c:dPt>
            <c:idx val="48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F8C6-4574-B3E5-B9F88AA0A5DE}"/>
              </c:ext>
            </c:extLst>
          </c:dPt>
          <c:dPt>
            <c:idx val="48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F8C6-4574-B3E5-B9F88AA0A5DE}"/>
              </c:ext>
            </c:extLst>
          </c:dPt>
          <c:dPt>
            <c:idx val="49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F8C6-4574-B3E5-B9F88AA0A5DE}"/>
              </c:ext>
            </c:extLst>
          </c:dPt>
          <c:dPt>
            <c:idx val="49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5-F8C6-4574-B3E5-B9F88AA0A5DE}"/>
              </c:ext>
            </c:extLst>
          </c:dPt>
          <c:dPt>
            <c:idx val="49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7-F8C6-4574-B3E5-B9F88AA0A5DE}"/>
              </c:ext>
            </c:extLst>
          </c:dPt>
          <c:dPt>
            <c:idx val="49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F8C6-4574-B3E5-B9F88AA0A5DE}"/>
              </c:ext>
            </c:extLst>
          </c:dPt>
          <c:dPt>
            <c:idx val="49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B-F8C6-4574-B3E5-B9F88AA0A5DE}"/>
              </c:ext>
            </c:extLst>
          </c:dPt>
          <c:dPt>
            <c:idx val="49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D-F8C6-4574-B3E5-B9F88AA0A5DE}"/>
              </c:ext>
            </c:extLst>
          </c:dPt>
          <c:dPt>
            <c:idx val="49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F-F8C6-4574-B3E5-B9F88AA0A5DE}"/>
              </c:ext>
            </c:extLst>
          </c:dPt>
          <c:dPt>
            <c:idx val="49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1-F8C6-4574-B3E5-B9F88AA0A5DE}"/>
              </c:ext>
            </c:extLst>
          </c:dPt>
          <c:dPt>
            <c:idx val="49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3-F8C6-4574-B3E5-B9F88AA0A5DE}"/>
              </c:ext>
            </c:extLst>
          </c:dPt>
          <c:dPt>
            <c:idx val="49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5-F8C6-4574-B3E5-B9F88AA0A5DE}"/>
              </c:ext>
            </c:extLst>
          </c:dPt>
          <c:dPt>
            <c:idx val="50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7-F8C6-4574-B3E5-B9F88AA0A5DE}"/>
              </c:ext>
            </c:extLst>
          </c:dPt>
          <c:dPt>
            <c:idx val="50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9-F8C6-4574-B3E5-B9F88AA0A5DE}"/>
              </c:ext>
            </c:extLst>
          </c:dPt>
          <c:dPt>
            <c:idx val="50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B-F8C6-4574-B3E5-B9F88AA0A5DE}"/>
              </c:ext>
            </c:extLst>
          </c:dPt>
          <c:dPt>
            <c:idx val="50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D-F8C6-4574-B3E5-B9F88AA0A5DE}"/>
              </c:ext>
            </c:extLst>
          </c:dPt>
          <c:dPt>
            <c:idx val="50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F-F8C6-4574-B3E5-B9F88AA0A5DE}"/>
              </c:ext>
            </c:extLst>
          </c:dPt>
          <c:dPt>
            <c:idx val="50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1-F8C6-4574-B3E5-B9F88AA0A5DE}"/>
              </c:ext>
            </c:extLst>
          </c:dPt>
          <c:dPt>
            <c:idx val="50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3-F8C6-4574-B3E5-B9F88AA0A5DE}"/>
              </c:ext>
            </c:extLst>
          </c:dPt>
          <c:dPt>
            <c:idx val="50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5-F8C6-4574-B3E5-B9F88AA0A5DE}"/>
              </c:ext>
            </c:extLst>
          </c:dPt>
          <c:dPt>
            <c:idx val="50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7-F8C6-4574-B3E5-B9F88AA0A5DE}"/>
              </c:ext>
            </c:extLst>
          </c:dPt>
          <c:dPt>
            <c:idx val="50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9-F8C6-4574-B3E5-B9F88AA0A5DE}"/>
              </c:ext>
            </c:extLst>
          </c:dPt>
          <c:dPt>
            <c:idx val="51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B-F8C6-4574-B3E5-B9F88AA0A5DE}"/>
              </c:ext>
            </c:extLst>
          </c:dPt>
          <c:dPt>
            <c:idx val="51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D-F8C6-4574-B3E5-B9F88AA0A5DE}"/>
              </c:ext>
            </c:extLst>
          </c:dPt>
          <c:dPt>
            <c:idx val="51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F-F8C6-4574-B3E5-B9F88AA0A5DE}"/>
              </c:ext>
            </c:extLst>
          </c:dPt>
          <c:dPt>
            <c:idx val="51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1-F8C6-4574-B3E5-B9F88AA0A5DE}"/>
              </c:ext>
            </c:extLst>
          </c:dPt>
          <c:dPt>
            <c:idx val="51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3-F8C6-4574-B3E5-B9F88AA0A5DE}"/>
              </c:ext>
            </c:extLst>
          </c:dPt>
          <c:dPt>
            <c:idx val="51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5-F8C6-4574-B3E5-B9F88AA0A5DE}"/>
              </c:ext>
            </c:extLst>
          </c:dPt>
          <c:dPt>
            <c:idx val="51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7-F8C6-4574-B3E5-B9F88AA0A5DE}"/>
              </c:ext>
            </c:extLst>
          </c:dPt>
          <c:dPt>
            <c:idx val="51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9-F8C6-4574-B3E5-B9F88AA0A5DE}"/>
              </c:ext>
            </c:extLst>
          </c:dPt>
          <c:dPt>
            <c:idx val="51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B-F8C6-4574-B3E5-B9F88AA0A5DE}"/>
              </c:ext>
            </c:extLst>
          </c:dPt>
          <c:dPt>
            <c:idx val="51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D-F8C6-4574-B3E5-B9F88AA0A5DE}"/>
              </c:ext>
            </c:extLst>
          </c:dPt>
          <c:dPt>
            <c:idx val="52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F-F8C6-4574-B3E5-B9F88AA0A5DE}"/>
              </c:ext>
            </c:extLst>
          </c:dPt>
          <c:dPt>
            <c:idx val="52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1-F8C6-4574-B3E5-B9F88AA0A5DE}"/>
              </c:ext>
            </c:extLst>
          </c:dPt>
          <c:dPt>
            <c:idx val="52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3-F8C6-4574-B3E5-B9F88AA0A5DE}"/>
              </c:ext>
            </c:extLst>
          </c:dPt>
          <c:dPt>
            <c:idx val="52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5-F8C6-4574-B3E5-B9F88AA0A5DE}"/>
              </c:ext>
            </c:extLst>
          </c:dPt>
          <c:dPt>
            <c:idx val="52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7-F8C6-4574-B3E5-B9F88AA0A5DE}"/>
              </c:ext>
            </c:extLst>
          </c:dPt>
          <c:dPt>
            <c:idx val="52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9-F8C6-4574-B3E5-B9F88AA0A5DE}"/>
              </c:ext>
            </c:extLst>
          </c:dPt>
          <c:dPt>
            <c:idx val="52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B-F8C6-4574-B3E5-B9F88AA0A5DE}"/>
              </c:ext>
            </c:extLst>
          </c:dPt>
          <c:dPt>
            <c:idx val="52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D-F8C6-4574-B3E5-B9F88AA0A5DE}"/>
              </c:ext>
            </c:extLst>
          </c:dPt>
          <c:dPt>
            <c:idx val="52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F-F8C6-4574-B3E5-B9F88AA0A5DE}"/>
              </c:ext>
            </c:extLst>
          </c:dPt>
          <c:dPt>
            <c:idx val="53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1-F8C6-4574-B3E5-B9F88AA0A5DE}"/>
              </c:ext>
            </c:extLst>
          </c:dPt>
          <c:dPt>
            <c:idx val="53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3-F8C6-4574-B3E5-B9F88AA0A5DE}"/>
              </c:ext>
            </c:extLst>
          </c:dPt>
          <c:dPt>
            <c:idx val="53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5-F8C6-4574-B3E5-B9F88AA0A5DE}"/>
              </c:ext>
            </c:extLst>
          </c:dPt>
          <c:dPt>
            <c:idx val="53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7-F8C6-4574-B3E5-B9F88AA0A5DE}"/>
              </c:ext>
            </c:extLst>
          </c:dPt>
          <c:dPt>
            <c:idx val="53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9-F8C6-4574-B3E5-B9F88AA0A5DE}"/>
              </c:ext>
            </c:extLst>
          </c:dPt>
          <c:dPt>
            <c:idx val="53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B-F8C6-4574-B3E5-B9F88AA0A5DE}"/>
              </c:ext>
            </c:extLst>
          </c:dPt>
          <c:dPt>
            <c:idx val="53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D-F8C6-4574-B3E5-B9F88AA0A5DE}"/>
              </c:ext>
            </c:extLst>
          </c:dPt>
          <c:dPt>
            <c:idx val="53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F-F8C6-4574-B3E5-B9F88AA0A5DE}"/>
              </c:ext>
            </c:extLst>
          </c:dPt>
          <c:dPt>
            <c:idx val="53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1-F8C6-4574-B3E5-B9F88AA0A5DE}"/>
              </c:ext>
            </c:extLst>
          </c:dPt>
          <c:dPt>
            <c:idx val="53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3-F8C6-4574-B3E5-B9F88AA0A5DE}"/>
              </c:ext>
            </c:extLst>
          </c:dPt>
          <c:dPt>
            <c:idx val="54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5-F8C6-4574-B3E5-B9F88AA0A5DE}"/>
              </c:ext>
            </c:extLst>
          </c:dPt>
          <c:dPt>
            <c:idx val="54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7-F8C6-4574-B3E5-B9F88AA0A5DE}"/>
              </c:ext>
            </c:extLst>
          </c:dPt>
          <c:dPt>
            <c:idx val="54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9-F8C6-4574-B3E5-B9F88AA0A5DE}"/>
              </c:ext>
            </c:extLst>
          </c:dPt>
          <c:dPt>
            <c:idx val="54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B-F8C6-4574-B3E5-B9F88AA0A5DE}"/>
              </c:ext>
            </c:extLst>
          </c:dPt>
          <c:dPt>
            <c:idx val="54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D-F8C6-4574-B3E5-B9F88AA0A5DE}"/>
              </c:ext>
            </c:extLst>
          </c:dPt>
          <c:dPt>
            <c:idx val="54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F-F8C6-4574-B3E5-B9F88AA0A5DE}"/>
              </c:ext>
            </c:extLst>
          </c:dPt>
          <c:dPt>
            <c:idx val="54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1-F8C6-4574-B3E5-B9F88AA0A5DE}"/>
              </c:ext>
            </c:extLst>
          </c:dPt>
          <c:dPt>
            <c:idx val="54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3-F8C6-4574-B3E5-B9F88AA0A5DE}"/>
              </c:ext>
            </c:extLst>
          </c:dPt>
          <c:dPt>
            <c:idx val="54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5-F8C6-4574-B3E5-B9F88AA0A5DE}"/>
              </c:ext>
            </c:extLst>
          </c:dPt>
          <c:dPt>
            <c:idx val="54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7-F8C6-4574-B3E5-B9F88AA0A5DE}"/>
              </c:ext>
            </c:extLst>
          </c:dPt>
          <c:dPt>
            <c:idx val="55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9-F8C6-4574-B3E5-B9F88AA0A5DE}"/>
              </c:ext>
            </c:extLst>
          </c:dPt>
          <c:dPt>
            <c:idx val="55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B-F8C6-4574-B3E5-B9F88AA0A5DE}"/>
              </c:ext>
            </c:extLst>
          </c:dPt>
          <c:dPt>
            <c:idx val="55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D-F8C6-4574-B3E5-B9F88AA0A5DE}"/>
              </c:ext>
            </c:extLst>
          </c:dPt>
          <c:dPt>
            <c:idx val="55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F-F8C6-4574-B3E5-B9F88AA0A5DE}"/>
              </c:ext>
            </c:extLst>
          </c:dPt>
          <c:dPt>
            <c:idx val="55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1-F8C6-4574-B3E5-B9F88AA0A5DE}"/>
              </c:ext>
            </c:extLst>
          </c:dPt>
          <c:dPt>
            <c:idx val="55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3-F8C6-4574-B3E5-B9F88AA0A5DE}"/>
              </c:ext>
            </c:extLst>
          </c:dPt>
          <c:dPt>
            <c:idx val="55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5-F8C6-4574-B3E5-B9F88AA0A5DE}"/>
              </c:ext>
            </c:extLst>
          </c:dPt>
          <c:dPt>
            <c:idx val="55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7-F8C6-4574-B3E5-B9F88AA0A5DE}"/>
              </c:ext>
            </c:extLst>
          </c:dPt>
          <c:dPt>
            <c:idx val="55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9-F8C6-4574-B3E5-B9F88AA0A5DE}"/>
              </c:ext>
            </c:extLst>
          </c:dPt>
          <c:dPt>
            <c:idx val="55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B-F8C6-4574-B3E5-B9F88AA0A5DE}"/>
              </c:ext>
            </c:extLst>
          </c:dPt>
          <c:dPt>
            <c:idx val="56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D-F8C6-4574-B3E5-B9F88AA0A5DE}"/>
              </c:ext>
            </c:extLst>
          </c:dPt>
          <c:dPt>
            <c:idx val="56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F-F8C6-4574-B3E5-B9F88AA0A5DE}"/>
              </c:ext>
            </c:extLst>
          </c:dPt>
          <c:dPt>
            <c:idx val="56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1-F8C6-4574-B3E5-B9F88AA0A5DE}"/>
              </c:ext>
            </c:extLst>
          </c:dPt>
          <c:dPt>
            <c:idx val="56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3-F8C6-4574-B3E5-B9F88AA0A5DE}"/>
              </c:ext>
            </c:extLst>
          </c:dPt>
          <c:dPt>
            <c:idx val="56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5-F8C6-4574-B3E5-B9F88AA0A5DE}"/>
              </c:ext>
            </c:extLst>
          </c:dPt>
          <c:dPt>
            <c:idx val="56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7-F8C6-4574-B3E5-B9F88AA0A5DE}"/>
              </c:ext>
            </c:extLst>
          </c:dPt>
          <c:dPt>
            <c:idx val="56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9-F8C6-4574-B3E5-B9F88AA0A5DE}"/>
              </c:ext>
            </c:extLst>
          </c:dPt>
          <c:dPt>
            <c:idx val="56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B-F8C6-4574-B3E5-B9F88AA0A5DE}"/>
              </c:ext>
            </c:extLst>
          </c:dPt>
          <c:dPt>
            <c:idx val="56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D-F8C6-4574-B3E5-B9F88AA0A5DE}"/>
              </c:ext>
            </c:extLst>
          </c:dPt>
          <c:dPt>
            <c:idx val="56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F-F8C6-4574-B3E5-B9F88AA0A5DE}"/>
              </c:ext>
            </c:extLst>
          </c:dPt>
          <c:dPt>
            <c:idx val="57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1-F8C6-4574-B3E5-B9F88AA0A5DE}"/>
              </c:ext>
            </c:extLst>
          </c:dPt>
          <c:dPt>
            <c:idx val="57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3-F8C6-4574-B3E5-B9F88AA0A5DE}"/>
              </c:ext>
            </c:extLst>
          </c:dPt>
          <c:dPt>
            <c:idx val="57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5-F8C6-4574-B3E5-B9F88AA0A5DE}"/>
              </c:ext>
            </c:extLst>
          </c:dPt>
          <c:dPt>
            <c:idx val="57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7-F8C6-4574-B3E5-B9F88AA0A5DE}"/>
              </c:ext>
            </c:extLst>
          </c:dPt>
          <c:dPt>
            <c:idx val="57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9-F8C6-4574-B3E5-B9F88AA0A5DE}"/>
              </c:ext>
            </c:extLst>
          </c:dPt>
          <c:dPt>
            <c:idx val="57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B-F8C6-4574-B3E5-B9F88AA0A5DE}"/>
              </c:ext>
            </c:extLst>
          </c:dPt>
          <c:dPt>
            <c:idx val="57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D-F8C6-4574-B3E5-B9F88AA0A5DE}"/>
              </c:ext>
            </c:extLst>
          </c:dPt>
          <c:dPt>
            <c:idx val="57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F-F8C6-4574-B3E5-B9F88AA0A5DE}"/>
              </c:ext>
            </c:extLst>
          </c:dPt>
          <c:dPt>
            <c:idx val="57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C1-F8C6-4574-B3E5-B9F88AA0A5DE}"/>
              </c:ext>
            </c:extLst>
          </c:dPt>
          <c:dPt>
            <c:idx val="57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C3-F8C6-4574-B3E5-B9F88AA0A5DE}"/>
              </c:ext>
            </c:extLst>
          </c:dPt>
          <c:dPt>
            <c:idx val="58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C5-F8C6-4574-B3E5-B9F88AA0A5DE}"/>
              </c:ext>
            </c:extLst>
          </c:dPt>
          <c:dPt>
            <c:idx val="58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C7-F8C6-4574-B3E5-B9F88AA0A5DE}"/>
              </c:ext>
            </c:extLst>
          </c:dPt>
          <c:dPt>
            <c:idx val="58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C9-F8C6-4574-B3E5-B9F88AA0A5DE}"/>
              </c:ext>
            </c:extLst>
          </c:dPt>
          <c:dPt>
            <c:idx val="58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CB-F8C6-4574-B3E5-B9F88AA0A5DE}"/>
              </c:ext>
            </c:extLst>
          </c:dPt>
          <c:dPt>
            <c:idx val="58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CD-F8C6-4574-B3E5-B9F88AA0A5DE}"/>
              </c:ext>
            </c:extLst>
          </c:dPt>
          <c:dPt>
            <c:idx val="58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CF-F8C6-4574-B3E5-B9F88AA0A5DE}"/>
              </c:ext>
            </c:extLst>
          </c:dPt>
          <c:dPt>
            <c:idx val="58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D1-F8C6-4574-B3E5-B9F88AA0A5DE}"/>
              </c:ext>
            </c:extLst>
          </c:dPt>
          <c:dPt>
            <c:idx val="58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D3-F8C6-4574-B3E5-B9F88AA0A5DE}"/>
              </c:ext>
            </c:extLst>
          </c:dPt>
          <c:dPt>
            <c:idx val="58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D5-F8C6-4574-B3E5-B9F88AA0A5DE}"/>
              </c:ext>
            </c:extLst>
          </c:dPt>
          <c:dPt>
            <c:idx val="58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D7-F8C6-4574-B3E5-B9F88AA0A5DE}"/>
              </c:ext>
            </c:extLst>
          </c:dPt>
          <c:dPt>
            <c:idx val="59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D9-F8C6-4574-B3E5-B9F88AA0A5DE}"/>
              </c:ext>
            </c:extLst>
          </c:dPt>
          <c:dPt>
            <c:idx val="59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DB-F8C6-4574-B3E5-B9F88AA0A5DE}"/>
              </c:ext>
            </c:extLst>
          </c:dPt>
          <c:dPt>
            <c:idx val="59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DD-F8C6-4574-B3E5-B9F88AA0A5DE}"/>
              </c:ext>
            </c:extLst>
          </c:dPt>
          <c:dPt>
            <c:idx val="59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DF-F8C6-4574-B3E5-B9F88AA0A5DE}"/>
              </c:ext>
            </c:extLst>
          </c:dPt>
          <c:dPt>
            <c:idx val="59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E1-F8C6-4574-B3E5-B9F88AA0A5DE}"/>
              </c:ext>
            </c:extLst>
          </c:dPt>
          <c:dPt>
            <c:idx val="59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E3-F8C6-4574-B3E5-B9F88AA0A5DE}"/>
              </c:ext>
            </c:extLst>
          </c:dPt>
          <c:dPt>
            <c:idx val="59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E5-F8C6-4574-B3E5-B9F88AA0A5DE}"/>
              </c:ext>
            </c:extLst>
          </c:dPt>
          <c:dPt>
            <c:idx val="59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E7-F8C6-4574-B3E5-B9F88AA0A5DE}"/>
              </c:ext>
            </c:extLst>
          </c:dPt>
          <c:dPt>
            <c:idx val="59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E9-F8C6-4574-B3E5-B9F88AA0A5DE}"/>
              </c:ext>
            </c:extLst>
          </c:dPt>
          <c:dPt>
            <c:idx val="59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EB-F8C6-4574-B3E5-B9F88AA0A5DE}"/>
              </c:ext>
            </c:extLst>
          </c:dPt>
          <c:dPt>
            <c:idx val="60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ED-F8C6-4574-B3E5-B9F88AA0A5DE}"/>
              </c:ext>
            </c:extLst>
          </c:dPt>
          <c:dPt>
            <c:idx val="60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EF-F8C6-4574-B3E5-B9F88AA0A5DE}"/>
              </c:ext>
            </c:extLst>
          </c:dPt>
          <c:dPt>
            <c:idx val="60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F1-F8C6-4574-B3E5-B9F88AA0A5DE}"/>
              </c:ext>
            </c:extLst>
          </c:dPt>
          <c:dPt>
            <c:idx val="60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F3-F8C6-4574-B3E5-B9F88AA0A5DE}"/>
              </c:ext>
            </c:extLst>
          </c:dPt>
          <c:dPt>
            <c:idx val="60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F5-F8C6-4574-B3E5-B9F88AA0A5DE}"/>
              </c:ext>
            </c:extLst>
          </c:dPt>
          <c:dPt>
            <c:idx val="60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F7-F8C6-4574-B3E5-B9F88AA0A5DE}"/>
              </c:ext>
            </c:extLst>
          </c:dPt>
          <c:dPt>
            <c:idx val="60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F9-F8C6-4574-B3E5-B9F88AA0A5DE}"/>
              </c:ext>
            </c:extLst>
          </c:dPt>
          <c:dPt>
            <c:idx val="60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FB-F8C6-4574-B3E5-B9F88AA0A5DE}"/>
              </c:ext>
            </c:extLst>
          </c:dPt>
          <c:dPt>
            <c:idx val="60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FD-F8C6-4574-B3E5-B9F88AA0A5DE}"/>
              </c:ext>
            </c:extLst>
          </c:dPt>
          <c:dPt>
            <c:idx val="60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FF-F8C6-4574-B3E5-B9F88AA0A5DE}"/>
              </c:ext>
            </c:extLst>
          </c:dPt>
          <c:dPt>
            <c:idx val="61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01-F8C6-4574-B3E5-B9F88AA0A5DE}"/>
              </c:ext>
            </c:extLst>
          </c:dPt>
          <c:dPt>
            <c:idx val="61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03-F8C6-4574-B3E5-B9F88AA0A5DE}"/>
              </c:ext>
            </c:extLst>
          </c:dPt>
          <c:dPt>
            <c:idx val="61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05-F8C6-4574-B3E5-B9F88AA0A5DE}"/>
              </c:ext>
            </c:extLst>
          </c:dPt>
          <c:dPt>
            <c:idx val="61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07-F8C6-4574-B3E5-B9F88AA0A5DE}"/>
              </c:ext>
            </c:extLst>
          </c:dPt>
          <c:dPt>
            <c:idx val="61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09-F8C6-4574-B3E5-B9F88AA0A5DE}"/>
              </c:ext>
            </c:extLst>
          </c:dPt>
          <c:dPt>
            <c:idx val="61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0B-F8C6-4574-B3E5-B9F88AA0A5DE}"/>
              </c:ext>
            </c:extLst>
          </c:dPt>
          <c:dPt>
            <c:idx val="61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0D-F8C6-4574-B3E5-B9F88AA0A5DE}"/>
              </c:ext>
            </c:extLst>
          </c:dPt>
          <c:dPt>
            <c:idx val="61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0F-F8C6-4574-B3E5-B9F88AA0A5DE}"/>
              </c:ext>
            </c:extLst>
          </c:dPt>
          <c:dPt>
            <c:idx val="61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11-F8C6-4574-B3E5-B9F88AA0A5DE}"/>
              </c:ext>
            </c:extLst>
          </c:dPt>
          <c:dPt>
            <c:idx val="61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13-F8C6-4574-B3E5-B9F88AA0A5DE}"/>
              </c:ext>
            </c:extLst>
          </c:dPt>
          <c:dPt>
            <c:idx val="62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15-F8C6-4574-B3E5-B9F88AA0A5DE}"/>
              </c:ext>
            </c:extLst>
          </c:dPt>
          <c:dPt>
            <c:idx val="62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17-F8C6-4574-B3E5-B9F88AA0A5DE}"/>
              </c:ext>
            </c:extLst>
          </c:dPt>
          <c:dPt>
            <c:idx val="62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19-F8C6-4574-B3E5-B9F88AA0A5DE}"/>
              </c:ext>
            </c:extLst>
          </c:dPt>
          <c:dPt>
            <c:idx val="62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1B-F8C6-4574-B3E5-B9F88AA0A5DE}"/>
              </c:ext>
            </c:extLst>
          </c:dPt>
          <c:dPt>
            <c:idx val="62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1D-F8C6-4574-B3E5-B9F88AA0A5DE}"/>
              </c:ext>
            </c:extLst>
          </c:dPt>
          <c:dPt>
            <c:idx val="62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1F-F8C6-4574-B3E5-B9F88AA0A5DE}"/>
              </c:ext>
            </c:extLst>
          </c:dPt>
          <c:dPt>
            <c:idx val="62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21-F8C6-4574-B3E5-B9F88AA0A5DE}"/>
              </c:ext>
            </c:extLst>
          </c:dPt>
          <c:dPt>
            <c:idx val="62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23-F8C6-4574-B3E5-B9F88AA0A5DE}"/>
              </c:ext>
            </c:extLst>
          </c:dPt>
          <c:dPt>
            <c:idx val="62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25-F8C6-4574-B3E5-B9F88AA0A5DE}"/>
              </c:ext>
            </c:extLst>
          </c:dPt>
          <c:dPt>
            <c:idx val="62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27-F8C6-4574-B3E5-B9F88AA0A5DE}"/>
              </c:ext>
            </c:extLst>
          </c:dPt>
          <c:dPt>
            <c:idx val="63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29-F8C6-4574-B3E5-B9F88AA0A5DE}"/>
              </c:ext>
            </c:extLst>
          </c:dPt>
          <c:dPt>
            <c:idx val="63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2B-F8C6-4574-B3E5-B9F88AA0A5DE}"/>
              </c:ext>
            </c:extLst>
          </c:dPt>
          <c:dPt>
            <c:idx val="63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2D-F8C6-4574-B3E5-B9F88AA0A5DE}"/>
              </c:ext>
            </c:extLst>
          </c:dPt>
          <c:dPt>
            <c:idx val="63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2F-F8C6-4574-B3E5-B9F88AA0A5DE}"/>
              </c:ext>
            </c:extLst>
          </c:dPt>
          <c:dPt>
            <c:idx val="63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31-F8C6-4574-B3E5-B9F88AA0A5DE}"/>
              </c:ext>
            </c:extLst>
          </c:dPt>
          <c:dPt>
            <c:idx val="63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33-F8C6-4574-B3E5-B9F88AA0A5DE}"/>
              </c:ext>
            </c:extLst>
          </c:dPt>
          <c:dPt>
            <c:idx val="63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35-F8C6-4574-B3E5-B9F88AA0A5DE}"/>
              </c:ext>
            </c:extLst>
          </c:dPt>
          <c:dPt>
            <c:idx val="63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37-F8C6-4574-B3E5-B9F88AA0A5DE}"/>
              </c:ext>
            </c:extLst>
          </c:dPt>
          <c:dPt>
            <c:idx val="63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39-F8C6-4574-B3E5-B9F88AA0A5DE}"/>
              </c:ext>
            </c:extLst>
          </c:dPt>
          <c:dPt>
            <c:idx val="63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3B-F8C6-4574-B3E5-B9F88AA0A5DE}"/>
              </c:ext>
            </c:extLst>
          </c:dPt>
          <c:dPt>
            <c:idx val="64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3D-F8C6-4574-B3E5-B9F88AA0A5DE}"/>
              </c:ext>
            </c:extLst>
          </c:dPt>
          <c:dPt>
            <c:idx val="64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3F-F8C6-4574-B3E5-B9F88AA0A5DE}"/>
              </c:ext>
            </c:extLst>
          </c:dPt>
          <c:dPt>
            <c:idx val="64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41-F8C6-4574-B3E5-B9F88AA0A5DE}"/>
              </c:ext>
            </c:extLst>
          </c:dPt>
          <c:dPt>
            <c:idx val="64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43-F8C6-4574-B3E5-B9F88AA0A5DE}"/>
              </c:ext>
            </c:extLst>
          </c:dPt>
          <c:dPt>
            <c:idx val="64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45-F8C6-4574-B3E5-B9F88AA0A5DE}"/>
              </c:ext>
            </c:extLst>
          </c:dPt>
          <c:dPt>
            <c:idx val="64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47-F8C6-4574-B3E5-B9F88AA0A5DE}"/>
              </c:ext>
            </c:extLst>
          </c:dPt>
          <c:dPt>
            <c:idx val="64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49-F8C6-4574-B3E5-B9F88AA0A5DE}"/>
              </c:ext>
            </c:extLst>
          </c:dPt>
          <c:dPt>
            <c:idx val="64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4B-F8C6-4574-B3E5-B9F88AA0A5DE}"/>
              </c:ext>
            </c:extLst>
          </c:dPt>
          <c:dPt>
            <c:idx val="64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4D-F8C6-4574-B3E5-B9F88AA0A5DE}"/>
              </c:ext>
            </c:extLst>
          </c:dPt>
          <c:dPt>
            <c:idx val="64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4F-F8C6-4574-B3E5-B9F88AA0A5DE}"/>
              </c:ext>
            </c:extLst>
          </c:dPt>
          <c:dPt>
            <c:idx val="65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51-F8C6-4574-B3E5-B9F88AA0A5DE}"/>
              </c:ext>
            </c:extLst>
          </c:dPt>
          <c:dPt>
            <c:idx val="65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53-F8C6-4574-B3E5-B9F88AA0A5DE}"/>
              </c:ext>
            </c:extLst>
          </c:dPt>
          <c:dPt>
            <c:idx val="65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55-F8C6-4574-B3E5-B9F88AA0A5DE}"/>
              </c:ext>
            </c:extLst>
          </c:dPt>
          <c:dPt>
            <c:idx val="65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57-F8C6-4574-B3E5-B9F88AA0A5DE}"/>
              </c:ext>
            </c:extLst>
          </c:dPt>
          <c:dPt>
            <c:idx val="65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59-F8C6-4574-B3E5-B9F88AA0A5DE}"/>
              </c:ext>
            </c:extLst>
          </c:dPt>
          <c:dPt>
            <c:idx val="65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5B-F8C6-4574-B3E5-B9F88AA0A5DE}"/>
              </c:ext>
            </c:extLst>
          </c:dPt>
          <c:dPt>
            <c:idx val="65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5D-F8C6-4574-B3E5-B9F88AA0A5DE}"/>
              </c:ext>
            </c:extLst>
          </c:dPt>
          <c:dPt>
            <c:idx val="65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5F-F8C6-4574-B3E5-B9F88AA0A5DE}"/>
              </c:ext>
            </c:extLst>
          </c:dPt>
          <c:dPt>
            <c:idx val="65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61-F8C6-4574-B3E5-B9F88AA0A5DE}"/>
              </c:ext>
            </c:extLst>
          </c:dPt>
          <c:dPt>
            <c:idx val="65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63-F8C6-4574-B3E5-B9F88AA0A5DE}"/>
              </c:ext>
            </c:extLst>
          </c:dPt>
          <c:dPt>
            <c:idx val="66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65-F8C6-4574-B3E5-B9F88AA0A5DE}"/>
              </c:ext>
            </c:extLst>
          </c:dPt>
          <c:dPt>
            <c:idx val="66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67-F8C6-4574-B3E5-B9F88AA0A5DE}"/>
              </c:ext>
            </c:extLst>
          </c:dPt>
          <c:dPt>
            <c:idx val="66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69-F8C6-4574-B3E5-B9F88AA0A5DE}"/>
              </c:ext>
            </c:extLst>
          </c:dPt>
          <c:dPt>
            <c:idx val="66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6B-F8C6-4574-B3E5-B9F88AA0A5DE}"/>
              </c:ext>
            </c:extLst>
          </c:dPt>
          <c:dPt>
            <c:idx val="66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6D-F8C6-4574-B3E5-B9F88AA0A5DE}"/>
              </c:ext>
            </c:extLst>
          </c:dPt>
          <c:dPt>
            <c:idx val="66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6F-F8C6-4574-B3E5-B9F88AA0A5DE}"/>
              </c:ext>
            </c:extLst>
          </c:dPt>
          <c:dPt>
            <c:idx val="66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71-F8C6-4574-B3E5-B9F88AA0A5DE}"/>
              </c:ext>
            </c:extLst>
          </c:dPt>
          <c:dPt>
            <c:idx val="66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73-F8C6-4574-B3E5-B9F88AA0A5DE}"/>
              </c:ext>
            </c:extLst>
          </c:dPt>
          <c:dPt>
            <c:idx val="66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75-F8C6-4574-B3E5-B9F88AA0A5DE}"/>
              </c:ext>
            </c:extLst>
          </c:dPt>
          <c:dPt>
            <c:idx val="66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77-F8C6-4574-B3E5-B9F88AA0A5DE}"/>
              </c:ext>
            </c:extLst>
          </c:dPt>
          <c:dPt>
            <c:idx val="67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79-F8C6-4574-B3E5-B9F88AA0A5DE}"/>
              </c:ext>
            </c:extLst>
          </c:dPt>
          <c:dPt>
            <c:idx val="67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7B-F8C6-4574-B3E5-B9F88AA0A5DE}"/>
              </c:ext>
            </c:extLst>
          </c:dPt>
          <c:dPt>
            <c:idx val="67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7D-F8C6-4574-B3E5-B9F88AA0A5DE}"/>
              </c:ext>
            </c:extLst>
          </c:dPt>
          <c:dPt>
            <c:idx val="67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7F-F8C6-4574-B3E5-B9F88AA0A5DE}"/>
              </c:ext>
            </c:extLst>
          </c:dPt>
          <c:dPt>
            <c:idx val="67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81-F8C6-4574-B3E5-B9F88AA0A5DE}"/>
              </c:ext>
            </c:extLst>
          </c:dPt>
          <c:dPt>
            <c:idx val="67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83-F8C6-4574-B3E5-B9F88AA0A5DE}"/>
              </c:ext>
            </c:extLst>
          </c:dPt>
          <c:dPt>
            <c:idx val="67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85-F8C6-4574-B3E5-B9F88AA0A5DE}"/>
              </c:ext>
            </c:extLst>
          </c:dPt>
          <c:dPt>
            <c:idx val="67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87-F8C6-4574-B3E5-B9F88AA0A5DE}"/>
              </c:ext>
            </c:extLst>
          </c:dPt>
          <c:dPt>
            <c:idx val="67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89-F8C6-4574-B3E5-B9F88AA0A5DE}"/>
              </c:ext>
            </c:extLst>
          </c:dPt>
          <c:dPt>
            <c:idx val="67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8B-F8C6-4574-B3E5-B9F88AA0A5DE}"/>
              </c:ext>
            </c:extLst>
          </c:dPt>
          <c:dPt>
            <c:idx val="68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8D-F8C6-4574-B3E5-B9F88AA0A5DE}"/>
              </c:ext>
            </c:extLst>
          </c:dPt>
          <c:dPt>
            <c:idx val="68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8F-F8C6-4574-B3E5-B9F88AA0A5DE}"/>
              </c:ext>
            </c:extLst>
          </c:dPt>
          <c:dPt>
            <c:idx val="68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91-F8C6-4574-B3E5-B9F88AA0A5DE}"/>
              </c:ext>
            </c:extLst>
          </c:dPt>
          <c:dPt>
            <c:idx val="68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93-F8C6-4574-B3E5-B9F88AA0A5DE}"/>
              </c:ext>
            </c:extLst>
          </c:dPt>
          <c:dPt>
            <c:idx val="68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95-F8C6-4574-B3E5-B9F88AA0A5DE}"/>
              </c:ext>
            </c:extLst>
          </c:dPt>
          <c:dPt>
            <c:idx val="68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97-F8C6-4574-B3E5-B9F88AA0A5DE}"/>
              </c:ext>
            </c:extLst>
          </c:dPt>
          <c:dPt>
            <c:idx val="68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99-F8C6-4574-B3E5-B9F88AA0A5DE}"/>
              </c:ext>
            </c:extLst>
          </c:dPt>
          <c:dPt>
            <c:idx val="68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9B-F8C6-4574-B3E5-B9F88AA0A5DE}"/>
              </c:ext>
            </c:extLst>
          </c:dPt>
          <c:dPt>
            <c:idx val="68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9D-F8C6-4574-B3E5-B9F88AA0A5DE}"/>
              </c:ext>
            </c:extLst>
          </c:dPt>
          <c:dPt>
            <c:idx val="68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9F-F8C6-4574-B3E5-B9F88AA0A5DE}"/>
              </c:ext>
            </c:extLst>
          </c:dPt>
          <c:dPt>
            <c:idx val="69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A1-F8C6-4574-B3E5-B9F88AA0A5DE}"/>
              </c:ext>
            </c:extLst>
          </c:dPt>
          <c:dPt>
            <c:idx val="69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A3-F8C6-4574-B3E5-B9F88AA0A5DE}"/>
              </c:ext>
            </c:extLst>
          </c:dPt>
          <c:dPt>
            <c:idx val="69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A5-F8C6-4574-B3E5-B9F88AA0A5DE}"/>
              </c:ext>
            </c:extLst>
          </c:dPt>
          <c:dPt>
            <c:idx val="69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A7-F8C6-4574-B3E5-B9F88AA0A5DE}"/>
              </c:ext>
            </c:extLst>
          </c:dPt>
          <c:dPt>
            <c:idx val="69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A9-F8C6-4574-B3E5-B9F88AA0A5DE}"/>
              </c:ext>
            </c:extLst>
          </c:dPt>
          <c:dPt>
            <c:idx val="69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AB-F8C6-4574-B3E5-B9F88AA0A5DE}"/>
              </c:ext>
            </c:extLst>
          </c:dPt>
          <c:dPt>
            <c:idx val="69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AD-F8C6-4574-B3E5-B9F88AA0A5DE}"/>
              </c:ext>
            </c:extLst>
          </c:dPt>
          <c:dPt>
            <c:idx val="69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AF-F8C6-4574-B3E5-B9F88AA0A5DE}"/>
              </c:ext>
            </c:extLst>
          </c:dPt>
          <c:dPt>
            <c:idx val="69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B1-F8C6-4574-B3E5-B9F88AA0A5DE}"/>
              </c:ext>
            </c:extLst>
          </c:dPt>
          <c:dPt>
            <c:idx val="69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B3-F8C6-4574-B3E5-B9F88AA0A5DE}"/>
              </c:ext>
            </c:extLst>
          </c:dPt>
          <c:dPt>
            <c:idx val="70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B5-F8C6-4574-B3E5-B9F88AA0A5DE}"/>
              </c:ext>
            </c:extLst>
          </c:dPt>
          <c:dPt>
            <c:idx val="70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B7-F8C6-4574-B3E5-B9F88AA0A5DE}"/>
              </c:ext>
            </c:extLst>
          </c:dPt>
          <c:dPt>
            <c:idx val="70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B9-F8C6-4574-B3E5-B9F88AA0A5DE}"/>
              </c:ext>
            </c:extLst>
          </c:dPt>
          <c:dPt>
            <c:idx val="70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BB-F8C6-4574-B3E5-B9F88AA0A5DE}"/>
              </c:ext>
            </c:extLst>
          </c:dPt>
          <c:dPt>
            <c:idx val="70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BD-F8C6-4574-B3E5-B9F88AA0A5DE}"/>
              </c:ext>
            </c:extLst>
          </c:dPt>
          <c:dPt>
            <c:idx val="70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BF-F8C6-4574-B3E5-B9F88AA0A5DE}"/>
              </c:ext>
            </c:extLst>
          </c:dPt>
          <c:dPt>
            <c:idx val="70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C1-F8C6-4574-B3E5-B9F88AA0A5DE}"/>
              </c:ext>
            </c:extLst>
          </c:dPt>
          <c:dPt>
            <c:idx val="70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C3-F8C6-4574-B3E5-B9F88AA0A5DE}"/>
              </c:ext>
            </c:extLst>
          </c:dPt>
          <c:dPt>
            <c:idx val="70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C5-F8C6-4574-B3E5-B9F88AA0A5DE}"/>
              </c:ext>
            </c:extLst>
          </c:dPt>
          <c:dPt>
            <c:idx val="70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C7-F8C6-4574-B3E5-B9F88AA0A5DE}"/>
              </c:ext>
            </c:extLst>
          </c:dPt>
          <c:dPt>
            <c:idx val="71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C9-F8C6-4574-B3E5-B9F88AA0A5DE}"/>
              </c:ext>
            </c:extLst>
          </c:dPt>
          <c:dPt>
            <c:idx val="71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CB-F8C6-4574-B3E5-B9F88AA0A5DE}"/>
              </c:ext>
            </c:extLst>
          </c:dPt>
          <c:dPt>
            <c:idx val="71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CD-F8C6-4574-B3E5-B9F88AA0A5DE}"/>
              </c:ext>
            </c:extLst>
          </c:dPt>
          <c:dPt>
            <c:idx val="71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CF-F8C6-4574-B3E5-B9F88AA0A5DE}"/>
              </c:ext>
            </c:extLst>
          </c:dPt>
          <c:dPt>
            <c:idx val="71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D1-F8C6-4574-B3E5-B9F88AA0A5DE}"/>
              </c:ext>
            </c:extLst>
          </c:dPt>
          <c:dPt>
            <c:idx val="71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D3-F8C6-4574-B3E5-B9F88AA0A5DE}"/>
              </c:ext>
            </c:extLst>
          </c:dPt>
          <c:dPt>
            <c:idx val="71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D5-F8C6-4574-B3E5-B9F88AA0A5DE}"/>
              </c:ext>
            </c:extLst>
          </c:dPt>
          <c:dPt>
            <c:idx val="71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D7-F8C6-4574-B3E5-B9F88AA0A5DE}"/>
              </c:ext>
            </c:extLst>
          </c:dPt>
          <c:dPt>
            <c:idx val="71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D9-F8C6-4574-B3E5-B9F88AA0A5DE}"/>
              </c:ext>
            </c:extLst>
          </c:dPt>
          <c:dPt>
            <c:idx val="71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DB-F8C6-4574-B3E5-B9F88AA0A5DE}"/>
              </c:ext>
            </c:extLst>
          </c:dPt>
          <c:dPt>
            <c:idx val="72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DD-F8C6-4574-B3E5-B9F88AA0A5DE}"/>
              </c:ext>
            </c:extLst>
          </c:dPt>
          <c:dPt>
            <c:idx val="72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DF-F8C6-4574-B3E5-B9F88AA0A5DE}"/>
              </c:ext>
            </c:extLst>
          </c:dPt>
          <c:dPt>
            <c:idx val="72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E1-F8C6-4574-B3E5-B9F88AA0A5DE}"/>
              </c:ext>
            </c:extLst>
          </c:dPt>
          <c:dPt>
            <c:idx val="72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E3-F8C6-4574-B3E5-B9F88AA0A5DE}"/>
              </c:ext>
            </c:extLst>
          </c:dPt>
          <c:dPt>
            <c:idx val="72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E5-F8C6-4574-B3E5-B9F88AA0A5DE}"/>
              </c:ext>
            </c:extLst>
          </c:dPt>
          <c:dPt>
            <c:idx val="72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E7-F8C6-4574-B3E5-B9F88AA0A5DE}"/>
              </c:ext>
            </c:extLst>
          </c:dPt>
          <c:dPt>
            <c:idx val="72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E9-F8C6-4574-B3E5-B9F88AA0A5DE}"/>
              </c:ext>
            </c:extLst>
          </c:dPt>
          <c:dPt>
            <c:idx val="72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EB-F8C6-4574-B3E5-B9F88AA0A5DE}"/>
              </c:ext>
            </c:extLst>
          </c:dPt>
          <c:dPt>
            <c:idx val="72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ED-F8C6-4574-B3E5-B9F88AA0A5DE}"/>
              </c:ext>
            </c:extLst>
          </c:dPt>
          <c:dPt>
            <c:idx val="72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EF-F8C6-4574-B3E5-B9F88AA0A5DE}"/>
              </c:ext>
            </c:extLst>
          </c:dPt>
          <c:dPt>
            <c:idx val="73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F1-F8C6-4574-B3E5-B9F88AA0A5DE}"/>
              </c:ext>
            </c:extLst>
          </c:dPt>
          <c:dPt>
            <c:idx val="73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F3-F8C6-4574-B3E5-B9F88AA0A5DE}"/>
              </c:ext>
            </c:extLst>
          </c:dPt>
          <c:dPt>
            <c:idx val="73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F5-F8C6-4574-B3E5-B9F88AA0A5DE}"/>
              </c:ext>
            </c:extLst>
          </c:dPt>
          <c:dPt>
            <c:idx val="73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F7-F8C6-4574-B3E5-B9F88AA0A5DE}"/>
              </c:ext>
            </c:extLst>
          </c:dPt>
          <c:dPt>
            <c:idx val="73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F9-F8C6-4574-B3E5-B9F88AA0A5DE}"/>
              </c:ext>
            </c:extLst>
          </c:dPt>
          <c:dPt>
            <c:idx val="73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FB-F8C6-4574-B3E5-B9F88AA0A5DE}"/>
              </c:ext>
            </c:extLst>
          </c:dPt>
          <c:dPt>
            <c:idx val="73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FD-F8C6-4574-B3E5-B9F88AA0A5DE}"/>
              </c:ext>
            </c:extLst>
          </c:dPt>
          <c:dPt>
            <c:idx val="73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FF-F8C6-4574-B3E5-B9F88AA0A5DE}"/>
              </c:ext>
            </c:extLst>
          </c:dPt>
          <c:dPt>
            <c:idx val="73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01-F8C6-4574-B3E5-B9F88AA0A5DE}"/>
              </c:ext>
            </c:extLst>
          </c:dPt>
          <c:dPt>
            <c:idx val="73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03-F8C6-4574-B3E5-B9F88AA0A5DE}"/>
              </c:ext>
            </c:extLst>
          </c:dPt>
          <c:dPt>
            <c:idx val="74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05-F8C6-4574-B3E5-B9F88AA0A5DE}"/>
              </c:ext>
            </c:extLst>
          </c:dPt>
          <c:dPt>
            <c:idx val="74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07-F8C6-4574-B3E5-B9F88AA0A5DE}"/>
              </c:ext>
            </c:extLst>
          </c:dPt>
          <c:dPt>
            <c:idx val="74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09-F8C6-4574-B3E5-B9F88AA0A5DE}"/>
              </c:ext>
            </c:extLst>
          </c:dPt>
          <c:dPt>
            <c:idx val="74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0B-F8C6-4574-B3E5-B9F88AA0A5DE}"/>
              </c:ext>
            </c:extLst>
          </c:dPt>
          <c:dPt>
            <c:idx val="74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0D-F8C6-4574-B3E5-B9F88AA0A5DE}"/>
              </c:ext>
            </c:extLst>
          </c:dPt>
          <c:dPt>
            <c:idx val="74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0F-F8C6-4574-B3E5-B9F88AA0A5DE}"/>
              </c:ext>
            </c:extLst>
          </c:dPt>
          <c:dPt>
            <c:idx val="74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11-F8C6-4574-B3E5-B9F88AA0A5DE}"/>
              </c:ext>
            </c:extLst>
          </c:dPt>
          <c:dPt>
            <c:idx val="74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13-F8C6-4574-B3E5-B9F88AA0A5DE}"/>
              </c:ext>
            </c:extLst>
          </c:dPt>
          <c:dPt>
            <c:idx val="74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15-F8C6-4574-B3E5-B9F88AA0A5DE}"/>
              </c:ext>
            </c:extLst>
          </c:dPt>
          <c:dPt>
            <c:idx val="74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17-F8C6-4574-B3E5-B9F88AA0A5DE}"/>
              </c:ext>
            </c:extLst>
          </c:dPt>
          <c:dPt>
            <c:idx val="75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19-F8C6-4574-B3E5-B9F88AA0A5DE}"/>
              </c:ext>
            </c:extLst>
          </c:dPt>
          <c:dPt>
            <c:idx val="75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1B-F8C6-4574-B3E5-B9F88AA0A5DE}"/>
              </c:ext>
            </c:extLst>
          </c:dPt>
          <c:dPt>
            <c:idx val="75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1D-F8C6-4574-B3E5-B9F88AA0A5DE}"/>
              </c:ext>
            </c:extLst>
          </c:dPt>
          <c:dPt>
            <c:idx val="75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1F-F8C6-4574-B3E5-B9F88AA0A5DE}"/>
              </c:ext>
            </c:extLst>
          </c:dPt>
          <c:dPt>
            <c:idx val="75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21-F8C6-4574-B3E5-B9F88AA0A5DE}"/>
              </c:ext>
            </c:extLst>
          </c:dPt>
          <c:dPt>
            <c:idx val="75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23-F8C6-4574-B3E5-B9F88AA0A5DE}"/>
              </c:ext>
            </c:extLst>
          </c:dPt>
          <c:dPt>
            <c:idx val="75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25-F8C6-4574-B3E5-B9F88AA0A5DE}"/>
              </c:ext>
            </c:extLst>
          </c:dPt>
          <c:dPt>
            <c:idx val="75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27-F8C6-4574-B3E5-B9F88AA0A5DE}"/>
              </c:ext>
            </c:extLst>
          </c:dPt>
          <c:dPt>
            <c:idx val="75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29-F8C6-4574-B3E5-B9F88AA0A5DE}"/>
              </c:ext>
            </c:extLst>
          </c:dPt>
          <c:dPt>
            <c:idx val="75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2B-F8C6-4574-B3E5-B9F88AA0A5DE}"/>
              </c:ext>
            </c:extLst>
          </c:dPt>
          <c:dPt>
            <c:idx val="76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2D-F8C6-4574-B3E5-B9F88AA0A5DE}"/>
              </c:ext>
            </c:extLst>
          </c:dPt>
          <c:dPt>
            <c:idx val="76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2F-F8C6-4574-B3E5-B9F88AA0A5DE}"/>
              </c:ext>
            </c:extLst>
          </c:dPt>
          <c:dPt>
            <c:idx val="76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31-F8C6-4574-B3E5-B9F88AA0A5DE}"/>
              </c:ext>
            </c:extLst>
          </c:dPt>
          <c:dPt>
            <c:idx val="76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33-F8C6-4574-B3E5-B9F88AA0A5DE}"/>
              </c:ext>
            </c:extLst>
          </c:dPt>
          <c:dPt>
            <c:idx val="76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35-F8C6-4574-B3E5-B9F88AA0A5DE}"/>
              </c:ext>
            </c:extLst>
          </c:dPt>
          <c:dPt>
            <c:idx val="76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37-F8C6-4574-B3E5-B9F88AA0A5DE}"/>
              </c:ext>
            </c:extLst>
          </c:dPt>
          <c:dPt>
            <c:idx val="76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39-F8C6-4574-B3E5-B9F88AA0A5DE}"/>
              </c:ext>
            </c:extLst>
          </c:dPt>
          <c:dPt>
            <c:idx val="76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3B-F8C6-4574-B3E5-B9F88AA0A5DE}"/>
              </c:ext>
            </c:extLst>
          </c:dPt>
          <c:dPt>
            <c:idx val="76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3D-F8C6-4574-B3E5-B9F88AA0A5DE}"/>
              </c:ext>
            </c:extLst>
          </c:dPt>
          <c:dPt>
            <c:idx val="76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3F-F8C6-4574-B3E5-B9F88AA0A5DE}"/>
              </c:ext>
            </c:extLst>
          </c:dPt>
          <c:dPt>
            <c:idx val="77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41-F8C6-4574-B3E5-B9F88AA0A5DE}"/>
              </c:ext>
            </c:extLst>
          </c:dPt>
          <c:dPt>
            <c:idx val="77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43-F8C6-4574-B3E5-B9F88AA0A5DE}"/>
              </c:ext>
            </c:extLst>
          </c:dPt>
          <c:dPt>
            <c:idx val="77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45-F8C6-4574-B3E5-B9F88AA0A5DE}"/>
              </c:ext>
            </c:extLst>
          </c:dPt>
          <c:dPt>
            <c:idx val="77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47-F8C6-4574-B3E5-B9F88AA0A5DE}"/>
              </c:ext>
            </c:extLst>
          </c:dPt>
          <c:dPt>
            <c:idx val="77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49-F8C6-4574-B3E5-B9F88AA0A5DE}"/>
              </c:ext>
            </c:extLst>
          </c:dPt>
          <c:dPt>
            <c:idx val="77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4B-F8C6-4574-B3E5-B9F88AA0A5DE}"/>
              </c:ext>
            </c:extLst>
          </c:dPt>
          <c:dPt>
            <c:idx val="77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4D-F8C6-4574-B3E5-B9F88AA0A5DE}"/>
              </c:ext>
            </c:extLst>
          </c:dPt>
          <c:dPt>
            <c:idx val="77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4F-F8C6-4574-B3E5-B9F88AA0A5DE}"/>
              </c:ext>
            </c:extLst>
          </c:dPt>
          <c:dPt>
            <c:idx val="77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51-F8C6-4574-B3E5-B9F88AA0A5DE}"/>
              </c:ext>
            </c:extLst>
          </c:dPt>
          <c:dPt>
            <c:idx val="77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53-F8C6-4574-B3E5-B9F88AA0A5DE}"/>
              </c:ext>
            </c:extLst>
          </c:dPt>
          <c:dPt>
            <c:idx val="78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55-F8C6-4574-B3E5-B9F88AA0A5DE}"/>
              </c:ext>
            </c:extLst>
          </c:dPt>
          <c:dPt>
            <c:idx val="78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57-F8C6-4574-B3E5-B9F88AA0A5DE}"/>
              </c:ext>
            </c:extLst>
          </c:dPt>
          <c:dPt>
            <c:idx val="78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59-F8C6-4574-B3E5-B9F88AA0A5DE}"/>
              </c:ext>
            </c:extLst>
          </c:dPt>
          <c:dPt>
            <c:idx val="78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5B-F8C6-4574-B3E5-B9F88AA0A5DE}"/>
              </c:ext>
            </c:extLst>
          </c:dPt>
          <c:dPt>
            <c:idx val="78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5D-F8C6-4574-B3E5-B9F88AA0A5DE}"/>
              </c:ext>
            </c:extLst>
          </c:dPt>
          <c:dPt>
            <c:idx val="78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5F-F8C6-4574-B3E5-B9F88AA0A5DE}"/>
              </c:ext>
            </c:extLst>
          </c:dPt>
          <c:dPt>
            <c:idx val="78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61-F8C6-4574-B3E5-B9F88AA0A5DE}"/>
              </c:ext>
            </c:extLst>
          </c:dPt>
          <c:dPt>
            <c:idx val="78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63-F8C6-4574-B3E5-B9F88AA0A5DE}"/>
              </c:ext>
            </c:extLst>
          </c:dPt>
          <c:dPt>
            <c:idx val="78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65-F8C6-4574-B3E5-B9F88AA0A5DE}"/>
              </c:ext>
            </c:extLst>
          </c:dPt>
          <c:dPt>
            <c:idx val="78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67-F8C6-4574-B3E5-B9F88AA0A5DE}"/>
              </c:ext>
            </c:extLst>
          </c:dPt>
          <c:dPt>
            <c:idx val="79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69-F8C6-4574-B3E5-B9F88AA0A5DE}"/>
              </c:ext>
            </c:extLst>
          </c:dPt>
          <c:dPt>
            <c:idx val="79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6B-F8C6-4574-B3E5-B9F88AA0A5DE}"/>
              </c:ext>
            </c:extLst>
          </c:dPt>
          <c:dPt>
            <c:idx val="79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6D-F8C6-4574-B3E5-B9F88AA0A5DE}"/>
              </c:ext>
            </c:extLst>
          </c:dPt>
          <c:dPt>
            <c:idx val="79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6F-F8C6-4574-B3E5-B9F88AA0A5DE}"/>
              </c:ext>
            </c:extLst>
          </c:dPt>
          <c:dPt>
            <c:idx val="79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71-F8C6-4574-B3E5-B9F88AA0A5DE}"/>
              </c:ext>
            </c:extLst>
          </c:dPt>
          <c:dPt>
            <c:idx val="795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73-F8C6-4574-B3E5-B9F88AA0A5DE}"/>
              </c:ext>
            </c:extLst>
          </c:dPt>
          <c:dPt>
            <c:idx val="796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75-F8C6-4574-B3E5-B9F88AA0A5DE}"/>
              </c:ext>
            </c:extLst>
          </c:dPt>
          <c:dPt>
            <c:idx val="797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77-F8C6-4574-B3E5-B9F88AA0A5DE}"/>
              </c:ext>
            </c:extLst>
          </c:dPt>
          <c:dPt>
            <c:idx val="798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79-F8C6-4574-B3E5-B9F88AA0A5DE}"/>
              </c:ext>
            </c:extLst>
          </c:dPt>
          <c:dPt>
            <c:idx val="799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7B-F8C6-4574-B3E5-B9F88AA0A5DE}"/>
              </c:ext>
            </c:extLst>
          </c:dPt>
          <c:dPt>
            <c:idx val="800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7D-F8C6-4574-B3E5-B9F88AA0A5DE}"/>
              </c:ext>
            </c:extLst>
          </c:dPt>
          <c:dPt>
            <c:idx val="801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7F-F8C6-4574-B3E5-B9F88AA0A5DE}"/>
              </c:ext>
            </c:extLst>
          </c:dPt>
          <c:dPt>
            <c:idx val="802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81-F8C6-4574-B3E5-B9F88AA0A5DE}"/>
              </c:ext>
            </c:extLst>
          </c:dPt>
          <c:dPt>
            <c:idx val="803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83-F8C6-4574-B3E5-B9F88AA0A5DE}"/>
              </c:ext>
            </c:extLst>
          </c:dPt>
          <c:dPt>
            <c:idx val="804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85-F8C6-4574-B3E5-B9F88AA0A5DE}"/>
              </c:ext>
            </c:extLst>
          </c:dPt>
          <c:dPt>
            <c:idx val="805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87-F8C6-4574-B3E5-B9F88AA0A5DE}"/>
              </c:ext>
            </c:extLst>
          </c:dPt>
          <c:dPt>
            <c:idx val="806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89-F8C6-4574-B3E5-B9F88AA0A5DE}"/>
              </c:ext>
            </c:extLst>
          </c:dPt>
          <c:dPt>
            <c:idx val="807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8B-F8C6-4574-B3E5-B9F88AA0A5DE}"/>
              </c:ext>
            </c:extLst>
          </c:dPt>
          <c:dPt>
            <c:idx val="808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8D-F8C6-4574-B3E5-B9F88AA0A5DE}"/>
              </c:ext>
            </c:extLst>
          </c:dPt>
          <c:xVal>
            <c:numRef>
              <c:f>Sheet1!$A$2:$A$810</c:f>
              <c:numCache>
                <c:formatCode>General</c:formatCode>
                <c:ptCount val="809"/>
                <c:pt idx="0">
                  <c:v>0.0</c:v>
                </c:pt>
              </c:numCache>
            </c:numRef>
          </c:xVal>
          <c:yVal>
            <c:numRef>
              <c:f>Sheet1!$B$2:$B$810</c:f>
              <c:numCache>
                <c:formatCode>General</c:formatCode>
                <c:ptCount val="809"/>
                <c:pt idx="0">
                  <c:v>0.0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28E-F8C6-4574-B3E5-B9F88AA0A5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43635352"/>
        <c:axId val="2143626744"/>
      </c:scatterChart>
      <c:valAx>
        <c:axId val="2143635352"/>
        <c:scaling>
          <c:orientation val="minMax"/>
          <c:max val="30.0"/>
          <c:min val="0.0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rgbClr val="00196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1965"/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2143626744"/>
        <c:crosses val="autoZero"/>
        <c:crossBetween val="midCat"/>
        <c:majorUnit val="6.0"/>
      </c:valAx>
      <c:valAx>
        <c:axId val="2143626744"/>
        <c:scaling>
          <c:orientation val="minMax"/>
          <c:max val="20.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9050">
            <a:solidFill>
              <a:srgbClr val="00196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1965"/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2143635352"/>
        <c:crossesAt val="0.0"/>
        <c:crossBetween val="midCat"/>
        <c:majorUnit val="5.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l-NL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iraglutide</c:v>
                </c:pt>
              </c:strCache>
            </c:strRef>
          </c:tx>
          <c:spPr>
            <a:ln w="25400" cap="rnd">
              <a:solidFill>
                <a:srgbClr val="001965"/>
              </a:solidFill>
              <a:round/>
            </a:ln>
            <a:effectLst/>
          </c:spPr>
          <c:marker>
            <c:symbol val="none"/>
          </c:marker>
          <c:dPt>
            <c:idx val="478"/>
            <c:bubble3D val="0"/>
            <c:spPr>
              <a:ln w="25400" cap="rnd">
                <a:noFill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42D-4DD3-9A04-47B1DB91E018}"/>
              </c:ext>
            </c:extLst>
          </c:dPt>
          <c:dPt>
            <c:idx val="48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42D-4DD3-9A04-47B1DB91E018}"/>
              </c:ext>
            </c:extLst>
          </c:dPt>
          <c:dPt>
            <c:idx val="48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542D-4DD3-9A04-47B1DB91E018}"/>
              </c:ext>
            </c:extLst>
          </c:dPt>
          <c:dPt>
            <c:idx val="48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542D-4DD3-9A04-47B1DB91E018}"/>
              </c:ext>
            </c:extLst>
          </c:dPt>
          <c:dPt>
            <c:idx val="48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542D-4DD3-9A04-47B1DB91E018}"/>
              </c:ext>
            </c:extLst>
          </c:dPt>
          <c:dPt>
            <c:idx val="48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542D-4DD3-9A04-47B1DB91E018}"/>
              </c:ext>
            </c:extLst>
          </c:dPt>
          <c:dPt>
            <c:idx val="48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542D-4DD3-9A04-47B1DB91E018}"/>
              </c:ext>
            </c:extLst>
          </c:dPt>
          <c:dPt>
            <c:idx val="48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542D-4DD3-9A04-47B1DB91E018}"/>
              </c:ext>
            </c:extLst>
          </c:dPt>
          <c:dPt>
            <c:idx val="48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542D-4DD3-9A04-47B1DB91E018}"/>
              </c:ext>
            </c:extLst>
          </c:dPt>
          <c:dPt>
            <c:idx val="49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542D-4DD3-9A04-47B1DB91E018}"/>
              </c:ext>
            </c:extLst>
          </c:dPt>
          <c:dPt>
            <c:idx val="49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5-542D-4DD3-9A04-47B1DB91E018}"/>
              </c:ext>
            </c:extLst>
          </c:dPt>
          <c:dPt>
            <c:idx val="49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7-542D-4DD3-9A04-47B1DB91E018}"/>
              </c:ext>
            </c:extLst>
          </c:dPt>
          <c:dPt>
            <c:idx val="49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542D-4DD3-9A04-47B1DB91E018}"/>
              </c:ext>
            </c:extLst>
          </c:dPt>
          <c:dPt>
            <c:idx val="49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B-542D-4DD3-9A04-47B1DB91E018}"/>
              </c:ext>
            </c:extLst>
          </c:dPt>
          <c:dPt>
            <c:idx val="49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D-542D-4DD3-9A04-47B1DB91E018}"/>
              </c:ext>
            </c:extLst>
          </c:dPt>
          <c:dPt>
            <c:idx val="49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F-542D-4DD3-9A04-47B1DB91E018}"/>
              </c:ext>
            </c:extLst>
          </c:dPt>
          <c:dPt>
            <c:idx val="49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1-542D-4DD3-9A04-47B1DB91E018}"/>
              </c:ext>
            </c:extLst>
          </c:dPt>
          <c:dPt>
            <c:idx val="49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3-542D-4DD3-9A04-47B1DB91E018}"/>
              </c:ext>
            </c:extLst>
          </c:dPt>
          <c:dPt>
            <c:idx val="49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5-542D-4DD3-9A04-47B1DB91E018}"/>
              </c:ext>
            </c:extLst>
          </c:dPt>
          <c:dPt>
            <c:idx val="50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7-542D-4DD3-9A04-47B1DB91E018}"/>
              </c:ext>
            </c:extLst>
          </c:dPt>
          <c:dPt>
            <c:idx val="50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9-542D-4DD3-9A04-47B1DB91E018}"/>
              </c:ext>
            </c:extLst>
          </c:dPt>
          <c:dPt>
            <c:idx val="50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B-542D-4DD3-9A04-47B1DB91E018}"/>
              </c:ext>
            </c:extLst>
          </c:dPt>
          <c:dPt>
            <c:idx val="50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D-542D-4DD3-9A04-47B1DB91E018}"/>
              </c:ext>
            </c:extLst>
          </c:dPt>
          <c:dPt>
            <c:idx val="50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F-542D-4DD3-9A04-47B1DB91E018}"/>
              </c:ext>
            </c:extLst>
          </c:dPt>
          <c:dPt>
            <c:idx val="50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1-542D-4DD3-9A04-47B1DB91E018}"/>
              </c:ext>
            </c:extLst>
          </c:dPt>
          <c:dPt>
            <c:idx val="50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3-542D-4DD3-9A04-47B1DB91E018}"/>
              </c:ext>
            </c:extLst>
          </c:dPt>
          <c:dPt>
            <c:idx val="50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5-542D-4DD3-9A04-47B1DB91E018}"/>
              </c:ext>
            </c:extLst>
          </c:dPt>
          <c:dPt>
            <c:idx val="50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7-542D-4DD3-9A04-47B1DB91E018}"/>
              </c:ext>
            </c:extLst>
          </c:dPt>
          <c:dPt>
            <c:idx val="50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9-542D-4DD3-9A04-47B1DB91E018}"/>
              </c:ext>
            </c:extLst>
          </c:dPt>
          <c:dPt>
            <c:idx val="51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B-542D-4DD3-9A04-47B1DB91E018}"/>
              </c:ext>
            </c:extLst>
          </c:dPt>
          <c:dPt>
            <c:idx val="51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D-542D-4DD3-9A04-47B1DB91E018}"/>
              </c:ext>
            </c:extLst>
          </c:dPt>
          <c:dPt>
            <c:idx val="51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F-542D-4DD3-9A04-47B1DB91E018}"/>
              </c:ext>
            </c:extLst>
          </c:dPt>
          <c:dPt>
            <c:idx val="51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1-542D-4DD3-9A04-47B1DB91E018}"/>
              </c:ext>
            </c:extLst>
          </c:dPt>
          <c:dPt>
            <c:idx val="51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3-542D-4DD3-9A04-47B1DB91E018}"/>
              </c:ext>
            </c:extLst>
          </c:dPt>
          <c:dPt>
            <c:idx val="51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5-542D-4DD3-9A04-47B1DB91E018}"/>
              </c:ext>
            </c:extLst>
          </c:dPt>
          <c:dPt>
            <c:idx val="51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7-542D-4DD3-9A04-47B1DB91E018}"/>
              </c:ext>
            </c:extLst>
          </c:dPt>
          <c:dPt>
            <c:idx val="51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9-542D-4DD3-9A04-47B1DB91E018}"/>
              </c:ext>
            </c:extLst>
          </c:dPt>
          <c:dPt>
            <c:idx val="51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B-542D-4DD3-9A04-47B1DB91E018}"/>
              </c:ext>
            </c:extLst>
          </c:dPt>
          <c:dPt>
            <c:idx val="51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D-542D-4DD3-9A04-47B1DB91E018}"/>
              </c:ext>
            </c:extLst>
          </c:dPt>
          <c:dPt>
            <c:idx val="52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F-542D-4DD3-9A04-47B1DB91E018}"/>
              </c:ext>
            </c:extLst>
          </c:dPt>
          <c:dPt>
            <c:idx val="52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1-542D-4DD3-9A04-47B1DB91E018}"/>
              </c:ext>
            </c:extLst>
          </c:dPt>
          <c:dPt>
            <c:idx val="52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3-542D-4DD3-9A04-47B1DB91E018}"/>
              </c:ext>
            </c:extLst>
          </c:dPt>
          <c:dPt>
            <c:idx val="52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5-542D-4DD3-9A04-47B1DB91E018}"/>
              </c:ext>
            </c:extLst>
          </c:dPt>
          <c:dPt>
            <c:idx val="52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7-542D-4DD3-9A04-47B1DB91E018}"/>
              </c:ext>
            </c:extLst>
          </c:dPt>
          <c:dPt>
            <c:idx val="52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9-542D-4DD3-9A04-47B1DB91E018}"/>
              </c:ext>
            </c:extLst>
          </c:dPt>
          <c:dPt>
            <c:idx val="52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B-542D-4DD3-9A04-47B1DB91E018}"/>
              </c:ext>
            </c:extLst>
          </c:dPt>
          <c:dPt>
            <c:idx val="52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D-542D-4DD3-9A04-47B1DB91E018}"/>
              </c:ext>
            </c:extLst>
          </c:dPt>
          <c:dPt>
            <c:idx val="52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F-542D-4DD3-9A04-47B1DB91E018}"/>
              </c:ext>
            </c:extLst>
          </c:dPt>
          <c:dPt>
            <c:idx val="53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1-542D-4DD3-9A04-47B1DB91E018}"/>
              </c:ext>
            </c:extLst>
          </c:dPt>
          <c:dPt>
            <c:idx val="53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3-542D-4DD3-9A04-47B1DB91E018}"/>
              </c:ext>
            </c:extLst>
          </c:dPt>
          <c:dPt>
            <c:idx val="53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5-542D-4DD3-9A04-47B1DB91E018}"/>
              </c:ext>
            </c:extLst>
          </c:dPt>
          <c:dPt>
            <c:idx val="53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7-542D-4DD3-9A04-47B1DB91E018}"/>
              </c:ext>
            </c:extLst>
          </c:dPt>
          <c:dPt>
            <c:idx val="53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9-542D-4DD3-9A04-47B1DB91E018}"/>
              </c:ext>
            </c:extLst>
          </c:dPt>
          <c:dPt>
            <c:idx val="53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B-542D-4DD3-9A04-47B1DB91E018}"/>
              </c:ext>
            </c:extLst>
          </c:dPt>
          <c:dPt>
            <c:idx val="53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D-542D-4DD3-9A04-47B1DB91E018}"/>
              </c:ext>
            </c:extLst>
          </c:dPt>
          <c:dPt>
            <c:idx val="53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F-542D-4DD3-9A04-47B1DB91E018}"/>
              </c:ext>
            </c:extLst>
          </c:dPt>
          <c:dPt>
            <c:idx val="53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1-542D-4DD3-9A04-47B1DB91E018}"/>
              </c:ext>
            </c:extLst>
          </c:dPt>
          <c:dPt>
            <c:idx val="53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3-542D-4DD3-9A04-47B1DB91E018}"/>
              </c:ext>
            </c:extLst>
          </c:dPt>
          <c:dPt>
            <c:idx val="54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5-542D-4DD3-9A04-47B1DB91E018}"/>
              </c:ext>
            </c:extLst>
          </c:dPt>
          <c:dPt>
            <c:idx val="54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7-542D-4DD3-9A04-47B1DB91E018}"/>
              </c:ext>
            </c:extLst>
          </c:dPt>
          <c:dPt>
            <c:idx val="54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9-542D-4DD3-9A04-47B1DB91E018}"/>
              </c:ext>
            </c:extLst>
          </c:dPt>
          <c:dPt>
            <c:idx val="54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B-542D-4DD3-9A04-47B1DB91E018}"/>
              </c:ext>
            </c:extLst>
          </c:dPt>
          <c:dPt>
            <c:idx val="54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D-542D-4DD3-9A04-47B1DB91E018}"/>
              </c:ext>
            </c:extLst>
          </c:dPt>
          <c:dPt>
            <c:idx val="54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F-542D-4DD3-9A04-47B1DB91E018}"/>
              </c:ext>
            </c:extLst>
          </c:dPt>
          <c:dPt>
            <c:idx val="54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1-542D-4DD3-9A04-47B1DB91E018}"/>
              </c:ext>
            </c:extLst>
          </c:dPt>
          <c:dPt>
            <c:idx val="54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3-542D-4DD3-9A04-47B1DB91E018}"/>
              </c:ext>
            </c:extLst>
          </c:dPt>
          <c:dPt>
            <c:idx val="54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5-542D-4DD3-9A04-47B1DB91E018}"/>
              </c:ext>
            </c:extLst>
          </c:dPt>
          <c:dPt>
            <c:idx val="54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7-542D-4DD3-9A04-47B1DB91E018}"/>
              </c:ext>
            </c:extLst>
          </c:dPt>
          <c:dPt>
            <c:idx val="55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9-542D-4DD3-9A04-47B1DB91E018}"/>
              </c:ext>
            </c:extLst>
          </c:dPt>
          <c:dPt>
            <c:idx val="55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B-542D-4DD3-9A04-47B1DB91E018}"/>
              </c:ext>
            </c:extLst>
          </c:dPt>
          <c:dPt>
            <c:idx val="55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D-542D-4DD3-9A04-47B1DB91E018}"/>
              </c:ext>
            </c:extLst>
          </c:dPt>
          <c:dPt>
            <c:idx val="55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F-542D-4DD3-9A04-47B1DB91E018}"/>
              </c:ext>
            </c:extLst>
          </c:dPt>
          <c:dPt>
            <c:idx val="55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1-542D-4DD3-9A04-47B1DB91E018}"/>
              </c:ext>
            </c:extLst>
          </c:dPt>
          <c:dPt>
            <c:idx val="55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3-542D-4DD3-9A04-47B1DB91E018}"/>
              </c:ext>
            </c:extLst>
          </c:dPt>
          <c:dPt>
            <c:idx val="55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5-542D-4DD3-9A04-47B1DB91E018}"/>
              </c:ext>
            </c:extLst>
          </c:dPt>
          <c:dPt>
            <c:idx val="55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7-542D-4DD3-9A04-47B1DB91E018}"/>
              </c:ext>
            </c:extLst>
          </c:dPt>
          <c:dPt>
            <c:idx val="55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9-542D-4DD3-9A04-47B1DB91E018}"/>
              </c:ext>
            </c:extLst>
          </c:dPt>
          <c:dPt>
            <c:idx val="55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B-542D-4DD3-9A04-47B1DB91E018}"/>
              </c:ext>
            </c:extLst>
          </c:dPt>
          <c:dPt>
            <c:idx val="56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D-542D-4DD3-9A04-47B1DB91E018}"/>
              </c:ext>
            </c:extLst>
          </c:dPt>
          <c:dPt>
            <c:idx val="56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F-542D-4DD3-9A04-47B1DB91E018}"/>
              </c:ext>
            </c:extLst>
          </c:dPt>
          <c:dPt>
            <c:idx val="56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1-542D-4DD3-9A04-47B1DB91E018}"/>
              </c:ext>
            </c:extLst>
          </c:dPt>
          <c:dPt>
            <c:idx val="56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3-542D-4DD3-9A04-47B1DB91E018}"/>
              </c:ext>
            </c:extLst>
          </c:dPt>
          <c:dPt>
            <c:idx val="56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5-542D-4DD3-9A04-47B1DB91E018}"/>
              </c:ext>
            </c:extLst>
          </c:dPt>
          <c:dPt>
            <c:idx val="56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7-542D-4DD3-9A04-47B1DB91E018}"/>
              </c:ext>
            </c:extLst>
          </c:dPt>
          <c:dPt>
            <c:idx val="56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9-542D-4DD3-9A04-47B1DB91E018}"/>
              </c:ext>
            </c:extLst>
          </c:dPt>
          <c:dPt>
            <c:idx val="56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B-542D-4DD3-9A04-47B1DB91E018}"/>
              </c:ext>
            </c:extLst>
          </c:dPt>
          <c:dPt>
            <c:idx val="56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D-542D-4DD3-9A04-47B1DB91E018}"/>
              </c:ext>
            </c:extLst>
          </c:dPt>
          <c:dPt>
            <c:idx val="56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F-542D-4DD3-9A04-47B1DB91E018}"/>
              </c:ext>
            </c:extLst>
          </c:dPt>
          <c:dPt>
            <c:idx val="57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1-542D-4DD3-9A04-47B1DB91E018}"/>
              </c:ext>
            </c:extLst>
          </c:dPt>
          <c:dPt>
            <c:idx val="57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3-542D-4DD3-9A04-47B1DB91E018}"/>
              </c:ext>
            </c:extLst>
          </c:dPt>
          <c:dPt>
            <c:idx val="57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5-542D-4DD3-9A04-47B1DB91E018}"/>
              </c:ext>
            </c:extLst>
          </c:dPt>
          <c:dPt>
            <c:idx val="57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7-542D-4DD3-9A04-47B1DB91E018}"/>
              </c:ext>
            </c:extLst>
          </c:dPt>
          <c:dPt>
            <c:idx val="57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9-542D-4DD3-9A04-47B1DB91E018}"/>
              </c:ext>
            </c:extLst>
          </c:dPt>
          <c:dPt>
            <c:idx val="57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B-542D-4DD3-9A04-47B1DB91E018}"/>
              </c:ext>
            </c:extLst>
          </c:dPt>
          <c:dPt>
            <c:idx val="57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D-542D-4DD3-9A04-47B1DB91E018}"/>
              </c:ext>
            </c:extLst>
          </c:dPt>
          <c:dPt>
            <c:idx val="57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F-542D-4DD3-9A04-47B1DB91E018}"/>
              </c:ext>
            </c:extLst>
          </c:dPt>
          <c:dPt>
            <c:idx val="57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C1-542D-4DD3-9A04-47B1DB91E018}"/>
              </c:ext>
            </c:extLst>
          </c:dPt>
          <c:dPt>
            <c:idx val="57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C3-542D-4DD3-9A04-47B1DB91E018}"/>
              </c:ext>
            </c:extLst>
          </c:dPt>
          <c:dPt>
            <c:idx val="58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C5-542D-4DD3-9A04-47B1DB91E018}"/>
              </c:ext>
            </c:extLst>
          </c:dPt>
          <c:dPt>
            <c:idx val="58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C7-542D-4DD3-9A04-47B1DB91E018}"/>
              </c:ext>
            </c:extLst>
          </c:dPt>
          <c:dPt>
            <c:idx val="58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C9-542D-4DD3-9A04-47B1DB91E018}"/>
              </c:ext>
            </c:extLst>
          </c:dPt>
          <c:dPt>
            <c:idx val="58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CB-542D-4DD3-9A04-47B1DB91E018}"/>
              </c:ext>
            </c:extLst>
          </c:dPt>
          <c:dPt>
            <c:idx val="58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CD-542D-4DD3-9A04-47B1DB91E018}"/>
              </c:ext>
            </c:extLst>
          </c:dPt>
          <c:dPt>
            <c:idx val="58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CF-542D-4DD3-9A04-47B1DB91E018}"/>
              </c:ext>
            </c:extLst>
          </c:dPt>
          <c:dPt>
            <c:idx val="58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D1-542D-4DD3-9A04-47B1DB91E018}"/>
              </c:ext>
            </c:extLst>
          </c:dPt>
          <c:dPt>
            <c:idx val="58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D3-542D-4DD3-9A04-47B1DB91E018}"/>
              </c:ext>
            </c:extLst>
          </c:dPt>
          <c:dPt>
            <c:idx val="58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D5-542D-4DD3-9A04-47B1DB91E018}"/>
              </c:ext>
            </c:extLst>
          </c:dPt>
          <c:dPt>
            <c:idx val="58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D7-542D-4DD3-9A04-47B1DB91E018}"/>
              </c:ext>
            </c:extLst>
          </c:dPt>
          <c:dPt>
            <c:idx val="59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D9-542D-4DD3-9A04-47B1DB91E018}"/>
              </c:ext>
            </c:extLst>
          </c:dPt>
          <c:dPt>
            <c:idx val="59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DB-542D-4DD3-9A04-47B1DB91E018}"/>
              </c:ext>
            </c:extLst>
          </c:dPt>
          <c:dPt>
            <c:idx val="59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DD-542D-4DD3-9A04-47B1DB91E018}"/>
              </c:ext>
            </c:extLst>
          </c:dPt>
          <c:dPt>
            <c:idx val="59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DF-542D-4DD3-9A04-47B1DB91E018}"/>
              </c:ext>
            </c:extLst>
          </c:dPt>
          <c:dPt>
            <c:idx val="59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E1-542D-4DD3-9A04-47B1DB91E018}"/>
              </c:ext>
            </c:extLst>
          </c:dPt>
          <c:dPt>
            <c:idx val="59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E3-542D-4DD3-9A04-47B1DB91E018}"/>
              </c:ext>
            </c:extLst>
          </c:dPt>
          <c:dPt>
            <c:idx val="59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E5-542D-4DD3-9A04-47B1DB91E018}"/>
              </c:ext>
            </c:extLst>
          </c:dPt>
          <c:dPt>
            <c:idx val="59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E7-542D-4DD3-9A04-47B1DB91E018}"/>
              </c:ext>
            </c:extLst>
          </c:dPt>
          <c:dPt>
            <c:idx val="59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E9-542D-4DD3-9A04-47B1DB91E018}"/>
              </c:ext>
            </c:extLst>
          </c:dPt>
          <c:dPt>
            <c:idx val="59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EB-542D-4DD3-9A04-47B1DB91E018}"/>
              </c:ext>
            </c:extLst>
          </c:dPt>
          <c:dPt>
            <c:idx val="60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ED-542D-4DD3-9A04-47B1DB91E018}"/>
              </c:ext>
            </c:extLst>
          </c:dPt>
          <c:dPt>
            <c:idx val="60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EF-542D-4DD3-9A04-47B1DB91E018}"/>
              </c:ext>
            </c:extLst>
          </c:dPt>
          <c:dPt>
            <c:idx val="60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F1-542D-4DD3-9A04-47B1DB91E018}"/>
              </c:ext>
            </c:extLst>
          </c:dPt>
          <c:dPt>
            <c:idx val="60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F3-542D-4DD3-9A04-47B1DB91E018}"/>
              </c:ext>
            </c:extLst>
          </c:dPt>
          <c:dPt>
            <c:idx val="60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F5-542D-4DD3-9A04-47B1DB91E018}"/>
              </c:ext>
            </c:extLst>
          </c:dPt>
          <c:dPt>
            <c:idx val="60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F7-542D-4DD3-9A04-47B1DB91E018}"/>
              </c:ext>
            </c:extLst>
          </c:dPt>
          <c:dPt>
            <c:idx val="60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F9-542D-4DD3-9A04-47B1DB91E018}"/>
              </c:ext>
            </c:extLst>
          </c:dPt>
          <c:dPt>
            <c:idx val="60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FB-542D-4DD3-9A04-47B1DB91E018}"/>
              </c:ext>
            </c:extLst>
          </c:dPt>
          <c:dPt>
            <c:idx val="60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FD-542D-4DD3-9A04-47B1DB91E018}"/>
              </c:ext>
            </c:extLst>
          </c:dPt>
          <c:dPt>
            <c:idx val="60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FF-542D-4DD3-9A04-47B1DB91E018}"/>
              </c:ext>
            </c:extLst>
          </c:dPt>
          <c:dPt>
            <c:idx val="61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01-542D-4DD3-9A04-47B1DB91E018}"/>
              </c:ext>
            </c:extLst>
          </c:dPt>
          <c:dPt>
            <c:idx val="61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03-542D-4DD3-9A04-47B1DB91E018}"/>
              </c:ext>
            </c:extLst>
          </c:dPt>
          <c:dPt>
            <c:idx val="61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05-542D-4DD3-9A04-47B1DB91E018}"/>
              </c:ext>
            </c:extLst>
          </c:dPt>
          <c:dPt>
            <c:idx val="61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07-542D-4DD3-9A04-47B1DB91E018}"/>
              </c:ext>
            </c:extLst>
          </c:dPt>
          <c:dPt>
            <c:idx val="61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09-542D-4DD3-9A04-47B1DB91E018}"/>
              </c:ext>
            </c:extLst>
          </c:dPt>
          <c:dPt>
            <c:idx val="61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0B-542D-4DD3-9A04-47B1DB91E018}"/>
              </c:ext>
            </c:extLst>
          </c:dPt>
          <c:dPt>
            <c:idx val="61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0D-542D-4DD3-9A04-47B1DB91E018}"/>
              </c:ext>
            </c:extLst>
          </c:dPt>
          <c:dPt>
            <c:idx val="61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0F-542D-4DD3-9A04-47B1DB91E018}"/>
              </c:ext>
            </c:extLst>
          </c:dPt>
          <c:dPt>
            <c:idx val="61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11-542D-4DD3-9A04-47B1DB91E018}"/>
              </c:ext>
            </c:extLst>
          </c:dPt>
          <c:dPt>
            <c:idx val="61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13-542D-4DD3-9A04-47B1DB91E018}"/>
              </c:ext>
            </c:extLst>
          </c:dPt>
          <c:dPt>
            <c:idx val="62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15-542D-4DD3-9A04-47B1DB91E018}"/>
              </c:ext>
            </c:extLst>
          </c:dPt>
          <c:dPt>
            <c:idx val="62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17-542D-4DD3-9A04-47B1DB91E018}"/>
              </c:ext>
            </c:extLst>
          </c:dPt>
          <c:dPt>
            <c:idx val="62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19-542D-4DD3-9A04-47B1DB91E018}"/>
              </c:ext>
            </c:extLst>
          </c:dPt>
          <c:dPt>
            <c:idx val="62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1B-542D-4DD3-9A04-47B1DB91E018}"/>
              </c:ext>
            </c:extLst>
          </c:dPt>
          <c:dPt>
            <c:idx val="62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1D-542D-4DD3-9A04-47B1DB91E018}"/>
              </c:ext>
            </c:extLst>
          </c:dPt>
          <c:dPt>
            <c:idx val="62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1F-542D-4DD3-9A04-47B1DB91E018}"/>
              </c:ext>
            </c:extLst>
          </c:dPt>
          <c:dPt>
            <c:idx val="62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21-542D-4DD3-9A04-47B1DB91E018}"/>
              </c:ext>
            </c:extLst>
          </c:dPt>
          <c:dPt>
            <c:idx val="62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23-542D-4DD3-9A04-47B1DB91E018}"/>
              </c:ext>
            </c:extLst>
          </c:dPt>
          <c:dPt>
            <c:idx val="62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25-542D-4DD3-9A04-47B1DB91E018}"/>
              </c:ext>
            </c:extLst>
          </c:dPt>
          <c:dPt>
            <c:idx val="62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27-542D-4DD3-9A04-47B1DB91E018}"/>
              </c:ext>
            </c:extLst>
          </c:dPt>
          <c:dPt>
            <c:idx val="63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29-542D-4DD3-9A04-47B1DB91E018}"/>
              </c:ext>
            </c:extLst>
          </c:dPt>
          <c:dPt>
            <c:idx val="63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2B-542D-4DD3-9A04-47B1DB91E018}"/>
              </c:ext>
            </c:extLst>
          </c:dPt>
          <c:dPt>
            <c:idx val="63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2D-542D-4DD3-9A04-47B1DB91E018}"/>
              </c:ext>
            </c:extLst>
          </c:dPt>
          <c:dPt>
            <c:idx val="63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2F-542D-4DD3-9A04-47B1DB91E018}"/>
              </c:ext>
            </c:extLst>
          </c:dPt>
          <c:dPt>
            <c:idx val="63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31-542D-4DD3-9A04-47B1DB91E018}"/>
              </c:ext>
            </c:extLst>
          </c:dPt>
          <c:dPt>
            <c:idx val="63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33-542D-4DD3-9A04-47B1DB91E018}"/>
              </c:ext>
            </c:extLst>
          </c:dPt>
          <c:dPt>
            <c:idx val="63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35-542D-4DD3-9A04-47B1DB91E018}"/>
              </c:ext>
            </c:extLst>
          </c:dPt>
          <c:dPt>
            <c:idx val="63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37-542D-4DD3-9A04-47B1DB91E018}"/>
              </c:ext>
            </c:extLst>
          </c:dPt>
          <c:dPt>
            <c:idx val="63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39-542D-4DD3-9A04-47B1DB91E018}"/>
              </c:ext>
            </c:extLst>
          </c:dPt>
          <c:dPt>
            <c:idx val="63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3B-542D-4DD3-9A04-47B1DB91E018}"/>
              </c:ext>
            </c:extLst>
          </c:dPt>
          <c:dPt>
            <c:idx val="64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3D-542D-4DD3-9A04-47B1DB91E018}"/>
              </c:ext>
            </c:extLst>
          </c:dPt>
          <c:dPt>
            <c:idx val="64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3F-542D-4DD3-9A04-47B1DB91E018}"/>
              </c:ext>
            </c:extLst>
          </c:dPt>
          <c:dPt>
            <c:idx val="64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41-542D-4DD3-9A04-47B1DB91E018}"/>
              </c:ext>
            </c:extLst>
          </c:dPt>
          <c:dPt>
            <c:idx val="64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43-542D-4DD3-9A04-47B1DB91E018}"/>
              </c:ext>
            </c:extLst>
          </c:dPt>
          <c:dPt>
            <c:idx val="64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45-542D-4DD3-9A04-47B1DB91E018}"/>
              </c:ext>
            </c:extLst>
          </c:dPt>
          <c:dPt>
            <c:idx val="64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47-542D-4DD3-9A04-47B1DB91E018}"/>
              </c:ext>
            </c:extLst>
          </c:dPt>
          <c:dPt>
            <c:idx val="64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49-542D-4DD3-9A04-47B1DB91E018}"/>
              </c:ext>
            </c:extLst>
          </c:dPt>
          <c:dPt>
            <c:idx val="64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4B-542D-4DD3-9A04-47B1DB91E018}"/>
              </c:ext>
            </c:extLst>
          </c:dPt>
          <c:dPt>
            <c:idx val="64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4D-542D-4DD3-9A04-47B1DB91E018}"/>
              </c:ext>
            </c:extLst>
          </c:dPt>
          <c:dPt>
            <c:idx val="64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4F-542D-4DD3-9A04-47B1DB91E018}"/>
              </c:ext>
            </c:extLst>
          </c:dPt>
          <c:dPt>
            <c:idx val="65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51-542D-4DD3-9A04-47B1DB91E018}"/>
              </c:ext>
            </c:extLst>
          </c:dPt>
          <c:dPt>
            <c:idx val="65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53-542D-4DD3-9A04-47B1DB91E018}"/>
              </c:ext>
            </c:extLst>
          </c:dPt>
          <c:dPt>
            <c:idx val="65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55-542D-4DD3-9A04-47B1DB91E018}"/>
              </c:ext>
            </c:extLst>
          </c:dPt>
          <c:dPt>
            <c:idx val="65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57-542D-4DD3-9A04-47B1DB91E018}"/>
              </c:ext>
            </c:extLst>
          </c:dPt>
          <c:dPt>
            <c:idx val="65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59-542D-4DD3-9A04-47B1DB91E018}"/>
              </c:ext>
            </c:extLst>
          </c:dPt>
          <c:dPt>
            <c:idx val="65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5B-542D-4DD3-9A04-47B1DB91E018}"/>
              </c:ext>
            </c:extLst>
          </c:dPt>
          <c:dPt>
            <c:idx val="65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5D-542D-4DD3-9A04-47B1DB91E018}"/>
              </c:ext>
            </c:extLst>
          </c:dPt>
          <c:dPt>
            <c:idx val="65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5F-542D-4DD3-9A04-47B1DB91E018}"/>
              </c:ext>
            </c:extLst>
          </c:dPt>
          <c:dPt>
            <c:idx val="65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61-542D-4DD3-9A04-47B1DB91E018}"/>
              </c:ext>
            </c:extLst>
          </c:dPt>
          <c:dPt>
            <c:idx val="65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63-542D-4DD3-9A04-47B1DB91E018}"/>
              </c:ext>
            </c:extLst>
          </c:dPt>
          <c:dPt>
            <c:idx val="66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65-542D-4DD3-9A04-47B1DB91E018}"/>
              </c:ext>
            </c:extLst>
          </c:dPt>
          <c:dPt>
            <c:idx val="66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67-542D-4DD3-9A04-47B1DB91E018}"/>
              </c:ext>
            </c:extLst>
          </c:dPt>
          <c:dPt>
            <c:idx val="66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69-542D-4DD3-9A04-47B1DB91E018}"/>
              </c:ext>
            </c:extLst>
          </c:dPt>
          <c:dPt>
            <c:idx val="66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6B-542D-4DD3-9A04-47B1DB91E018}"/>
              </c:ext>
            </c:extLst>
          </c:dPt>
          <c:dPt>
            <c:idx val="66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6D-542D-4DD3-9A04-47B1DB91E018}"/>
              </c:ext>
            </c:extLst>
          </c:dPt>
          <c:dPt>
            <c:idx val="66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6F-542D-4DD3-9A04-47B1DB91E018}"/>
              </c:ext>
            </c:extLst>
          </c:dPt>
          <c:dPt>
            <c:idx val="66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71-542D-4DD3-9A04-47B1DB91E018}"/>
              </c:ext>
            </c:extLst>
          </c:dPt>
          <c:dPt>
            <c:idx val="66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73-542D-4DD3-9A04-47B1DB91E018}"/>
              </c:ext>
            </c:extLst>
          </c:dPt>
          <c:dPt>
            <c:idx val="66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75-542D-4DD3-9A04-47B1DB91E018}"/>
              </c:ext>
            </c:extLst>
          </c:dPt>
          <c:dPt>
            <c:idx val="66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77-542D-4DD3-9A04-47B1DB91E018}"/>
              </c:ext>
            </c:extLst>
          </c:dPt>
          <c:dPt>
            <c:idx val="67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79-542D-4DD3-9A04-47B1DB91E018}"/>
              </c:ext>
            </c:extLst>
          </c:dPt>
          <c:dPt>
            <c:idx val="67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7B-542D-4DD3-9A04-47B1DB91E018}"/>
              </c:ext>
            </c:extLst>
          </c:dPt>
          <c:dPt>
            <c:idx val="67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7D-542D-4DD3-9A04-47B1DB91E018}"/>
              </c:ext>
            </c:extLst>
          </c:dPt>
          <c:dPt>
            <c:idx val="67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7F-542D-4DD3-9A04-47B1DB91E018}"/>
              </c:ext>
            </c:extLst>
          </c:dPt>
          <c:dPt>
            <c:idx val="67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81-542D-4DD3-9A04-47B1DB91E018}"/>
              </c:ext>
            </c:extLst>
          </c:dPt>
          <c:dPt>
            <c:idx val="67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83-542D-4DD3-9A04-47B1DB91E018}"/>
              </c:ext>
            </c:extLst>
          </c:dPt>
          <c:dPt>
            <c:idx val="67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85-542D-4DD3-9A04-47B1DB91E018}"/>
              </c:ext>
            </c:extLst>
          </c:dPt>
          <c:dPt>
            <c:idx val="67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87-542D-4DD3-9A04-47B1DB91E018}"/>
              </c:ext>
            </c:extLst>
          </c:dPt>
          <c:dPt>
            <c:idx val="67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89-542D-4DD3-9A04-47B1DB91E018}"/>
              </c:ext>
            </c:extLst>
          </c:dPt>
          <c:dPt>
            <c:idx val="67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8B-542D-4DD3-9A04-47B1DB91E018}"/>
              </c:ext>
            </c:extLst>
          </c:dPt>
          <c:dPt>
            <c:idx val="68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8D-542D-4DD3-9A04-47B1DB91E018}"/>
              </c:ext>
            </c:extLst>
          </c:dPt>
          <c:dPt>
            <c:idx val="68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8F-542D-4DD3-9A04-47B1DB91E018}"/>
              </c:ext>
            </c:extLst>
          </c:dPt>
          <c:dPt>
            <c:idx val="68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91-542D-4DD3-9A04-47B1DB91E018}"/>
              </c:ext>
            </c:extLst>
          </c:dPt>
          <c:dPt>
            <c:idx val="68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93-542D-4DD3-9A04-47B1DB91E018}"/>
              </c:ext>
            </c:extLst>
          </c:dPt>
          <c:dPt>
            <c:idx val="68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95-542D-4DD3-9A04-47B1DB91E018}"/>
              </c:ext>
            </c:extLst>
          </c:dPt>
          <c:dPt>
            <c:idx val="68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97-542D-4DD3-9A04-47B1DB91E018}"/>
              </c:ext>
            </c:extLst>
          </c:dPt>
          <c:dPt>
            <c:idx val="68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99-542D-4DD3-9A04-47B1DB91E018}"/>
              </c:ext>
            </c:extLst>
          </c:dPt>
          <c:dPt>
            <c:idx val="68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9B-542D-4DD3-9A04-47B1DB91E018}"/>
              </c:ext>
            </c:extLst>
          </c:dPt>
          <c:dPt>
            <c:idx val="68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9D-542D-4DD3-9A04-47B1DB91E018}"/>
              </c:ext>
            </c:extLst>
          </c:dPt>
          <c:dPt>
            <c:idx val="68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9F-542D-4DD3-9A04-47B1DB91E018}"/>
              </c:ext>
            </c:extLst>
          </c:dPt>
          <c:dPt>
            <c:idx val="69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A1-542D-4DD3-9A04-47B1DB91E018}"/>
              </c:ext>
            </c:extLst>
          </c:dPt>
          <c:dPt>
            <c:idx val="69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A3-542D-4DD3-9A04-47B1DB91E018}"/>
              </c:ext>
            </c:extLst>
          </c:dPt>
          <c:dPt>
            <c:idx val="69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A5-542D-4DD3-9A04-47B1DB91E018}"/>
              </c:ext>
            </c:extLst>
          </c:dPt>
          <c:dPt>
            <c:idx val="69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A7-542D-4DD3-9A04-47B1DB91E018}"/>
              </c:ext>
            </c:extLst>
          </c:dPt>
          <c:dPt>
            <c:idx val="69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A9-542D-4DD3-9A04-47B1DB91E018}"/>
              </c:ext>
            </c:extLst>
          </c:dPt>
          <c:dPt>
            <c:idx val="69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AB-542D-4DD3-9A04-47B1DB91E018}"/>
              </c:ext>
            </c:extLst>
          </c:dPt>
          <c:dPt>
            <c:idx val="69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AD-542D-4DD3-9A04-47B1DB91E018}"/>
              </c:ext>
            </c:extLst>
          </c:dPt>
          <c:dPt>
            <c:idx val="69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AF-542D-4DD3-9A04-47B1DB91E018}"/>
              </c:ext>
            </c:extLst>
          </c:dPt>
          <c:dPt>
            <c:idx val="69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B1-542D-4DD3-9A04-47B1DB91E018}"/>
              </c:ext>
            </c:extLst>
          </c:dPt>
          <c:dPt>
            <c:idx val="69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B3-542D-4DD3-9A04-47B1DB91E018}"/>
              </c:ext>
            </c:extLst>
          </c:dPt>
          <c:dPt>
            <c:idx val="70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B5-542D-4DD3-9A04-47B1DB91E018}"/>
              </c:ext>
            </c:extLst>
          </c:dPt>
          <c:dPt>
            <c:idx val="70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B7-542D-4DD3-9A04-47B1DB91E018}"/>
              </c:ext>
            </c:extLst>
          </c:dPt>
          <c:dPt>
            <c:idx val="70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B9-542D-4DD3-9A04-47B1DB91E018}"/>
              </c:ext>
            </c:extLst>
          </c:dPt>
          <c:dPt>
            <c:idx val="70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BB-542D-4DD3-9A04-47B1DB91E018}"/>
              </c:ext>
            </c:extLst>
          </c:dPt>
          <c:dPt>
            <c:idx val="70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BD-542D-4DD3-9A04-47B1DB91E018}"/>
              </c:ext>
            </c:extLst>
          </c:dPt>
          <c:dPt>
            <c:idx val="70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BF-542D-4DD3-9A04-47B1DB91E018}"/>
              </c:ext>
            </c:extLst>
          </c:dPt>
          <c:dPt>
            <c:idx val="70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C1-542D-4DD3-9A04-47B1DB91E018}"/>
              </c:ext>
            </c:extLst>
          </c:dPt>
          <c:dPt>
            <c:idx val="70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C3-542D-4DD3-9A04-47B1DB91E018}"/>
              </c:ext>
            </c:extLst>
          </c:dPt>
          <c:dPt>
            <c:idx val="70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C5-542D-4DD3-9A04-47B1DB91E018}"/>
              </c:ext>
            </c:extLst>
          </c:dPt>
          <c:dPt>
            <c:idx val="70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C7-542D-4DD3-9A04-47B1DB91E018}"/>
              </c:ext>
            </c:extLst>
          </c:dPt>
          <c:dPt>
            <c:idx val="71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C9-542D-4DD3-9A04-47B1DB91E018}"/>
              </c:ext>
            </c:extLst>
          </c:dPt>
          <c:dPt>
            <c:idx val="71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CB-542D-4DD3-9A04-47B1DB91E018}"/>
              </c:ext>
            </c:extLst>
          </c:dPt>
          <c:dPt>
            <c:idx val="71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CD-542D-4DD3-9A04-47B1DB91E018}"/>
              </c:ext>
            </c:extLst>
          </c:dPt>
          <c:dPt>
            <c:idx val="71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CF-542D-4DD3-9A04-47B1DB91E018}"/>
              </c:ext>
            </c:extLst>
          </c:dPt>
          <c:dPt>
            <c:idx val="71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D1-542D-4DD3-9A04-47B1DB91E018}"/>
              </c:ext>
            </c:extLst>
          </c:dPt>
          <c:dPt>
            <c:idx val="71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D3-542D-4DD3-9A04-47B1DB91E018}"/>
              </c:ext>
            </c:extLst>
          </c:dPt>
          <c:dPt>
            <c:idx val="71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D5-542D-4DD3-9A04-47B1DB91E018}"/>
              </c:ext>
            </c:extLst>
          </c:dPt>
          <c:dPt>
            <c:idx val="71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D7-542D-4DD3-9A04-47B1DB91E018}"/>
              </c:ext>
            </c:extLst>
          </c:dPt>
          <c:dPt>
            <c:idx val="71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D9-542D-4DD3-9A04-47B1DB91E018}"/>
              </c:ext>
            </c:extLst>
          </c:dPt>
          <c:dPt>
            <c:idx val="71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DB-542D-4DD3-9A04-47B1DB91E018}"/>
              </c:ext>
            </c:extLst>
          </c:dPt>
          <c:dPt>
            <c:idx val="72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DD-542D-4DD3-9A04-47B1DB91E018}"/>
              </c:ext>
            </c:extLst>
          </c:dPt>
          <c:dPt>
            <c:idx val="72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DF-542D-4DD3-9A04-47B1DB91E018}"/>
              </c:ext>
            </c:extLst>
          </c:dPt>
          <c:dPt>
            <c:idx val="72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E1-542D-4DD3-9A04-47B1DB91E018}"/>
              </c:ext>
            </c:extLst>
          </c:dPt>
          <c:dPt>
            <c:idx val="72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E3-542D-4DD3-9A04-47B1DB91E018}"/>
              </c:ext>
            </c:extLst>
          </c:dPt>
          <c:dPt>
            <c:idx val="72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E5-542D-4DD3-9A04-47B1DB91E018}"/>
              </c:ext>
            </c:extLst>
          </c:dPt>
          <c:dPt>
            <c:idx val="72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E7-542D-4DD3-9A04-47B1DB91E018}"/>
              </c:ext>
            </c:extLst>
          </c:dPt>
          <c:dPt>
            <c:idx val="72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E9-542D-4DD3-9A04-47B1DB91E018}"/>
              </c:ext>
            </c:extLst>
          </c:dPt>
          <c:dPt>
            <c:idx val="72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EB-542D-4DD3-9A04-47B1DB91E018}"/>
              </c:ext>
            </c:extLst>
          </c:dPt>
          <c:dPt>
            <c:idx val="72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ED-542D-4DD3-9A04-47B1DB91E018}"/>
              </c:ext>
            </c:extLst>
          </c:dPt>
          <c:dPt>
            <c:idx val="72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EF-542D-4DD3-9A04-47B1DB91E018}"/>
              </c:ext>
            </c:extLst>
          </c:dPt>
          <c:dPt>
            <c:idx val="73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F1-542D-4DD3-9A04-47B1DB91E018}"/>
              </c:ext>
            </c:extLst>
          </c:dPt>
          <c:dPt>
            <c:idx val="73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F3-542D-4DD3-9A04-47B1DB91E018}"/>
              </c:ext>
            </c:extLst>
          </c:dPt>
          <c:dPt>
            <c:idx val="73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F5-542D-4DD3-9A04-47B1DB91E018}"/>
              </c:ext>
            </c:extLst>
          </c:dPt>
          <c:dPt>
            <c:idx val="73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F7-542D-4DD3-9A04-47B1DB91E018}"/>
              </c:ext>
            </c:extLst>
          </c:dPt>
          <c:dPt>
            <c:idx val="73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F9-542D-4DD3-9A04-47B1DB91E018}"/>
              </c:ext>
            </c:extLst>
          </c:dPt>
          <c:dPt>
            <c:idx val="73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FB-542D-4DD3-9A04-47B1DB91E018}"/>
              </c:ext>
            </c:extLst>
          </c:dPt>
          <c:dPt>
            <c:idx val="73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FD-542D-4DD3-9A04-47B1DB91E018}"/>
              </c:ext>
            </c:extLst>
          </c:dPt>
          <c:dPt>
            <c:idx val="73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FF-542D-4DD3-9A04-47B1DB91E018}"/>
              </c:ext>
            </c:extLst>
          </c:dPt>
          <c:dPt>
            <c:idx val="73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01-542D-4DD3-9A04-47B1DB91E018}"/>
              </c:ext>
            </c:extLst>
          </c:dPt>
          <c:dPt>
            <c:idx val="73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03-542D-4DD3-9A04-47B1DB91E018}"/>
              </c:ext>
            </c:extLst>
          </c:dPt>
          <c:dPt>
            <c:idx val="74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05-542D-4DD3-9A04-47B1DB91E018}"/>
              </c:ext>
            </c:extLst>
          </c:dPt>
          <c:dPt>
            <c:idx val="74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07-542D-4DD3-9A04-47B1DB91E018}"/>
              </c:ext>
            </c:extLst>
          </c:dPt>
          <c:dPt>
            <c:idx val="74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09-542D-4DD3-9A04-47B1DB91E018}"/>
              </c:ext>
            </c:extLst>
          </c:dPt>
          <c:dPt>
            <c:idx val="74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0B-542D-4DD3-9A04-47B1DB91E018}"/>
              </c:ext>
            </c:extLst>
          </c:dPt>
          <c:dPt>
            <c:idx val="74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0D-542D-4DD3-9A04-47B1DB91E018}"/>
              </c:ext>
            </c:extLst>
          </c:dPt>
          <c:dPt>
            <c:idx val="74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0F-542D-4DD3-9A04-47B1DB91E018}"/>
              </c:ext>
            </c:extLst>
          </c:dPt>
          <c:dPt>
            <c:idx val="74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11-542D-4DD3-9A04-47B1DB91E018}"/>
              </c:ext>
            </c:extLst>
          </c:dPt>
          <c:dPt>
            <c:idx val="74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13-542D-4DD3-9A04-47B1DB91E018}"/>
              </c:ext>
            </c:extLst>
          </c:dPt>
          <c:dPt>
            <c:idx val="74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15-542D-4DD3-9A04-47B1DB91E018}"/>
              </c:ext>
            </c:extLst>
          </c:dPt>
          <c:dPt>
            <c:idx val="74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17-542D-4DD3-9A04-47B1DB91E018}"/>
              </c:ext>
            </c:extLst>
          </c:dPt>
          <c:dPt>
            <c:idx val="75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19-542D-4DD3-9A04-47B1DB91E018}"/>
              </c:ext>
            </c:extLst>
          </c:dPt>
          <c:dPt>
            <c:idx val="75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1B-542D-4DD3-9A04-47B1DB91E018}"/>
              </c:ext>
            </c:extLst>
          </c:dPt>
          <c:dPt>
            <c:idx val="75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1D-542D-4DD3-9A04-47B1DB91E018}"/>
              </c:ext>
            </c:extLst>
          </c:dPt>
          <c:dPt>
            <c:idx val="75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1F-542D-4DD3-9A04-47B1DB91E018}"/>
              </c:ext>
            </c:extLst>
          </c:dPt>
          <c:dPt>
            <c:idx val="75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21-542D-4DD3-9A04-47B1DB91E018}"/>
              </c:ext>
            </c:extLst>
          </c:dPt>
          <c:dPt>
            <c:idx val="75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23-542D-4DD3-9A04-47B1DB91E018}"/>
              </c:ext>
            </c:extLst>
          </c:dPt>
          <c:dPt>
            <c:idx val="75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25-542D-4DD3-9A04-47B1DB91E018}"/>
              </c:ext>
            </c:extLst>
          </c:dPt>
          <c:dPt>
            <c:idx val="75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27-542D-4DD3-9A04-47B1DB91E018}"/>
              </c:ext>
            </c:extLst>
          </c:dPt>
          <c:dPt>
            <c:idx val="75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29-542D-4DD3-9A04-47B1DB91E018}"/>
              </c:ext>
            </c:extLst>
          </c:dPt>
          <c:dPt>
            <c:idx val="75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2B-542D-4DD3-9A04-47B1DB91E018}"/>
              </c:ext>
            </c:extLst>
          </c:dPt>
          <c:dPt>
            <c:idx val="76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2D-542D-4DD3-9A04-47B1DB91E018}"/>
              </c:ext>
            </c:extLst>
          </c:dPt>
          <c:dPt>
            <c:idx val="76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2F-542D-4DD3-9A04-47B1DB91E018}"/>
              </c:ext>
            </c:extLst>
          </c:dPt>
          <c:dPt>
            <c:idx val="76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31-542D-4DD3-9A04-47B1DB91E018}"/>
              </c:ext>
            </c:extLst>
          </c:dPt>
          <c:dPt>
            <c:idx val="76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33-542D-4DD3-9A04-47B1DB91E018}"/>
              </c:ext>
            </c:extLst>
          </c:dPt>
          <c:dPt>
            <c:idx val="76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35-542D-4DD3-9A04-47B1DB91E018}"/>
              </c:ext>
            </c:extLst>
          </c:dPt>
          <c:dPt>
            <c:idx val="76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37-542D-4DD3-9A04-47B1DB91E018}"/>
              </c:ext>
            </c:extLst>
          </c:dPt>
          <c:dPt>
            <c:idx val="76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39-542D-4DD3-9A04-47B1DB91E018}"/>
              </c:ext>
            </c:extLst>
          </c:dPt>
          <c:dPt>
            <c:idx val="76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3B-542D-4DD3-9A04-47B1DB91E018}"/>
              </c:ext>
            </c:extLst>
          </c:dPt>
          <c:dPt>
            <c:idx val="76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3D-542D-4DD3-9A04-47B1DB91E018}"/>
              </c:ext>
            </c:extLst>
          </c:dPt>
          <c:dPt>
            <c:idx val="76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3F-542D-4DD3-9A04-47B1DB91E018}"/>
              </c:ext>
            </c:extLst>
          </c:dPt>
          <c:dPt>
            <c:idx val="77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41-542D-4DD3-9A04-47B1DB91E018}"/>
              </c:ext>
            </c:extLst>
          </c:dPt>
          <c:dPt>
            <c:idx val="77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43-542D-4DD3-9A04-47B1DB91E018}"/>
              </c:ext>
            </c:extLst>
          </c:dPt>
          <c:dPt>
            <c:idx val="77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45-542D-4DD3-9A04-47B1DB91E018}"/>
              </c:ext>
            </c:extLst>
          </c:dPt>
          <c:dPt>
            <c:idx val="77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47-542D-4DD3-9A04-47B1DB91E018}"/>
              </c:ext>
            </c:extLst>
          </c:dPt>
          <c:dPt>
            <c:idx val="77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49-542D-4DD3-9A04-47B1DB91E018}"/>
              </c:ext>
            </c:extLst>
          </c:dPt>
          <c:dPt>
            <c:idx val="77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4B-542D-4DD3-9A04-47B1DB91E018}"/>
              </c:ext>
            </c:extLst>
          </c:dPt>
          <c:dPt>
            <c:idx val="77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4D-542D-4DD3-9A04-47B1DB91E018}"/>
              </c:ext>
            </c:extLst>
          </c:dPt>
          <c:dPt>
            <c:idx val="77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4F-542D-4DD3-9A04-47B1DB91E018}"/>
              </c:ext>
            </c:extLst>
          </c:dPt>
          <c:dPt>
            <c:idx val="77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51-542D-4DD3-9A04-47B1DB91E018}"/>
              </c:ext>
            </c:extLst>
          </c:dPt>
          <c:dPt>
            <c:idx val="77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53-542D-4DD3-9A04-47B1DB91E018}"/>
              </c:ext>
            </c:extLst>
          </c:dPt>
          <c:dPt>
            <c:idx val="78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55-542D-4DD3-9A04-47B1DB91E018}"/>
              </c:ext>
            </c:extLst>
          </c:dPt>
          <c:dPt>
            <c:idx val="78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57-542D-4DD3-9A04-47B1DB91E018}"/>
              </c:ext>
            </c:extLst>
          </c:dPt>
          <c:dPt>
            <c:idx val="78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59-542D-4DD3-9A04-47B1DB91E018}"/>
              </c:ext>
            </c:extLst>
          </c:dPt>
          <c:dPt>
            <c:idx val="78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5B-542D-4DD3-9A04-47B1DB91E018}"/>
              </c:ext>
            </c:extLst>
          </c:dPt>
          <c:dPt>
            <c:idx val="78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5D-542D-4DD3-9A04-47B1DB91E018}"/>
              </c:ext>
            </c:extLst>
          </c:dPt>
          <c:dPt>
            <c:idx val="78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5F-542D-4DD3-9A04-47B1DB91E018}"/>
              </c:ext>
            </c:extLst>
          </c:dPt>
          <c:dPt>
            <c:idx val="78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61-542D-4DD3-9A04-47B1DB91E018}"/>
              </c:ext>
            </c:extLst>
          </c:dPt>
          <c:dPt>
            <c:idx val="78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63-542D-4DD3-9A04-47B1DB91E018}"/>
              </c:ext>
            </c:extLst>
          </c:dPt>
          <c:dPt>
            <c:idx val="78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65-542D-4DD3-9A04-47B1DB91E018}"/>
              </c:ext>
            </c:extLst>
          </c:dPt>
          <c:dPt>
            <c:idx val="78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67-542D-4DD3-9A04-47B1DB91E018}"/>
              </c:ext>
            </c:extLst>
          </c:dPt>
          <c:dPt>
            <c:idx val="79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69-542D-4DD3-9A04-47B1DB91E018}"/>
              </c:ext>
            </c:extLst>
          </c:dPt>
          <c:dPt>
            <c:idx val="79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6B-542D-4DD3-9A04-47B1DB91E018}"/>
              </c:ext>
            </c:extLst>
          </c:dPt>
          <c:dPt>
            <c:idx val="79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6D-542D-4DD3-9A04-47B1DB91E018}"/>
              </c:ext>
            </c:extLst>
          </c:dPt>
          <c:dPt>
            <c:idx val="79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6F-542D-4DD3-9A04-47B1DB91E018}"/>
              </c:ext>
            </c:extLst>
          </c:dPt>
          <c:dPt>
            <c:idx val="79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71-542D-4DD3-9A04-47B1DB91E018}"/>
              </c:ext>
            </c:extLst>
          </c:dPt>
          <c:dPt>
            <c:idx val="795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73-542D-4DD3-9A04-47B1DB91E018}"/>
              </c:ext>
            </c:extLst>
          </c:dPt>
          <c:dPt>
            <c:idx val="796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75-542D-4DD3-9A04-47B1DB91E018}"/>
              </c:ext>
            </c:extLst>
          </c:dPt>
          <c:dPt>
            <c:idx val="797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77-542D-4DD3-9A04-47B1DB91E018}"/>
              </c:ext>
            </c:extLst>
          </c:dPt>
          <c:dPt>
            <c:idx val="798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79-542D-4DD3-9A04-47B1DB91E018}"/>
              </c:ext>
            </c:extLst>
          </c:dPt>
          <c:dPt>
            <c:idx val="799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7B-542D-4DD3-9A04-47B1DB91E018}"/>
              </c:ext>
            </c:extLst>
          </c:dPt>
          <c:dPt>
            <c:idx val="800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7D-542D-4DD3-9A04-47B1DB91E018}"/>
              </c:ext>
            </c:extLst>
          </c:dPt>
          <c:dPt>
            <c:idx val="801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7F-542D-4DD3-9A04-47B1DB91E018}"/>
              </c:ext>
            </c:extLst>
          </c:dPt>
          <c:dPt>
            <c:idx val="802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81-542D-4DD3-9A04-47B1DB91E018}"/>
              </c:ext>
            </c:extLst>
          </c:dPt>
          <c:dPt>
            <c:idx val="803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83-542D-4DD3-9A04-47B1DB91E018}"/>
              </c:ext>
            </c:extLst>
          </c:dPt>
          <c:dPt>
            <c:idx val="804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85-542D-4DD3-9A04-47B1DB91E018}"/>
              </c:ext>
            </c:extLst>
          </c:dPt>
          <c:dPt>
            <c:idx val="805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87-542D-4DD3-9A04-47B1DB91E018}"/>
              </c:ext>
            </c:extLst>
          </c:dPt>
          <c:dPt>
            <c:idx val="806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89-542D-4DD3-9A04-47B1DB91E018}"/>
              </c:ext>
            </c:extLst>
          </c:dPt>
          <c:dPt>
            <c:idx val="807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8B-542D-4DD3-9A04-47B1DB91E018}"/>
              </c:ext>
            </c:extLst>
          </c:dPt>
          <c:dPt>
            <c:idx val="808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8D-542D-4DD3-9A04-47B1DB91E018}"/>
              </c:ext>
            </c:extLst>
          </c:dPt>
          <c:xVal>
            <c:numRef>
              <c:f>Sheet1!$A$2:$A$810</c:f>
              <c:numCache>
                <c:formatCode>General</c:formatCode>
                <c:ptCount val="809"/>
                <c:pt idx="0">
                  <c:v>0.0</c:v>
                </c:pt>
              </c:numCache>
            </c:numRef>
          </c:xVal>
          <c:yVal>
            <c:numRef>
              <c:f>Sheet1!$B$2:$B$810</c:f>
              <c:numCache>
                <c:formatCode>General</c:formatCode>
                <c:ptCount val="809"/>
                <c:pt idx="0">
                  <c:v>0.0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28E-542D-4DD3-9A04-47B1DB91E0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047794968"/>
        <c:axId val="-2047796680"/>
      </c:scatterChart>
      <c:valAx>
        <c:axId val="-2047794968"/>
        <c:scaling>
          <c:orientation val="minMax"/>
          <c:max val="30.0"/>
          <c:min val="0.0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rgbClr val="00196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1965"/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-2047796680"/>
        <c:crosses val="autoZero"/>
        <c:crossBetween val="midCat"/>
        <c:majorUnit val="6.0"/>
      </c:valAx>
      <c:valAx>
        <c:axId val="-2047796680"/>
        <c:scaling>
          <c:orientation val="minMax"/>
          <c:max val="20.0"/>
          <c:min val="0.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9050">
            <a:solidFill>
              <a:srgbClr val="00196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1965"/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-2047794968"/>
        <c:crossesAt val="0.0"/>
        <c:crossBetween val="midCat"/>
        <c:majorUnit val="5.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l-NL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iraglutide</c:v>
                </c:pt>
              </c:strCache>
            </c:strRef>
          </c:tx>
          <c:spPr>
            <a:ln w="25400" cap="rnd">
              <a:solidFill>
                <a:srgbClr val="001965"/>
              </a:solidFill>
              <a:round/>
            </a:ln>
            <a:effectLst/>
          </c:spPr>
          <c:marker>
            <c:symbol val="none"/>
          </c:marker>
          <c:dPt>
            <c:idx val="478"/>
            <c:bubble3D val="0"/>
            <c:spPr>
              <a:ln w="25400" cap="rnd">
                <a:noFill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F44-46BB-83EC-A9A6374BC748}"/>
              </c:ext>
            </c:extLst>
          </c:dPt>
          <c:dPt>
            <c:idx val="48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F44-46BB-83EC-A9A6374BC748}"/>
              </c:ext>
            </c:extLst>
          </c:dPt>
          <c:dPt>
            <c:idx val="48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0F44-46BB-83EC-A9A6374BC748}"/>
              </c:ext>
            </c:extLst>
          </c:dPt>
          <c:dPt>
            <c:idx val="48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0F44-46BB-83EC-A9A6374BC748}"/>
              </c:ext>
            </c:extLst>
          </c:dPt>
          <c:dPt>
            <c:idx val="48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0F44-46BB-83EC-A9A6374BC748}"/>
              </c:ext>
            </c:extLst>
          </c:dPt>
          <c:dPt>
            <c:idx val="48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0F44-46BB-83EC-A9A6374BC748}"/>
              </c:ext>
            </c:extLst>
          </c:dPt>
          <c:dPt>
            <c:idx val="48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0F44-46BB-83EC-A9A6374BC748}"/>
              </c:ext>
            </c:extLst>
          </c:dPt>
          <c:dPt>
            <c:idx val="48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0F44-46BB-83EC-A9A6374BC748}"/>
              </c:ext>
            </c:extLst>
          </c:dPt>
          <c:dPt>
            <c:idx val="48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0F44-46BB-83EC-A9A6374BC748}"/>
              </c:ext>
            </c:extLst>
          </c:dPt>
          <c:dPt>
            <c:idx val="49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0F44-46BB-83EC-A9A6374BC748}"/>
              </c:ext>
            </c:extLst>
          </c:dPt>
          <c:dPt>
            <c:idx val="49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5-0F44-46BB-83EC-A9A6374BC748}"/>
              </c:ext>
            </c:extLst>
          </c:dPt>
          <c:dPt>
            <c:idx val="49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7-0F44-46BB-83EC-A9A6374BC748}"/>
              </c:ext>
            </c:extLst>
          </c:dPt>
          <c:dPt>
            <c:idx val="49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0F44-46BB-83EC-A9A6374BC748}"/>
              </c:ext>
            </c:extLst>
          </c:dPt>
          <c:dPt>
            <c:idx val="49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B-0F44-46BB-83EC-A9A6374BC748}"/>
              </c:ext>
            </c:extLst>
          </c:dPt>
          <c:dPt>
            <c:idx val="49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D-0F44-46BB-83EC-A9A6374BC748}"/>
              </c:ext>
            </c:extLst>
          </c:dPt>
          <c:dPt>
            <c:idx val="49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F-0F44-46BB-83EC-A9A6374BC748}"/>
              </c:ext>
            </c:extLst>
          </c:dPt>
          <c:dPt>
            <c:idx val="49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1-0F44-46BB-83EC-A9A6374BC748}"/>
              </c:ext>
            </c:extLst>
          </c:dPt>
          <c:dPt>
            <c:idx val="49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3-0F44-46BB-83EC-A9A6374BC748}"/>
              </c:ext>
            </c:extLst>
          </c:dPt>
          <c:dPt>
            <c:idx val="49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5-0F44-46BB-83EC-A9A6374BC748}"/>
              </c:ext>
            </c:extLst>
          </c:dPt>
          <c:dPt>
            <c:idx val="50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7-0F44-46BB-83EC-A9A6374BC748}"/>
              </c:ext>
            </c:extLst>
          </c:dPt>
          <c:dPt>
            <c:idx val="50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9-0F44-46BB-83EC-A9A6374BC748}"/>
              </c:ext>
            </c:extLst>
          </c:dPt>
          <c:dPt>
            <c:idx val="50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B-0F44-46BB-83EC-A9A6374BC748}"/>
              </c:ext>
            </c:extLst>
          </c:dPt>
          <c:dPt>
            <c:idx val="50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D-0F44-46BB-83EC-A9A6374BC748}"/>
              </c:ext>
            </c:extLst>
          </c:dPt>
          <c:dPt>
            <c:idx val="50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F-0F44-46BB-83EC-A9A6374BC748}"/>
              </c:ext>
            </c:extLst>
          </c:dPt>
          <c:dPt>
            <c:idx val="50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1-0F44-46BB-83EC-A9A6374BC748}"/>
              </c:ext>
            </c:extLst>
          </c:dPt>
          <c:dPt>
            <c:idx val="50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3-0F44-46BB-83EC-A9A6374BC748}"/>
              </c:ext>
            </c:extLst>
          </c:dPt>
          <c:dPt>
            <c:idx val="50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5-0F44-46BB-83EC-A9A6374BC748}"/>
              </c:ext>
            </c:extLst>
          </c:dPt>
          <c:dPt>
            <c:idx val="50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7-0F44-46BB-83EC-A9A6374BC748}"/>
              </c:ext>
            </c:extLst>
          </c:dPt>
          <c:dPt>
            <c:idx val="50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9-0F44-46BB-83EC-A9A6374BC748}"/>
              </c:ext>
            </c:extLst>
          </c:dPt>
          <c:dPt>
            <c:idx val="51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B-0F44-46BB-83EC-A9A6374BC748}"/>
              </c:ext>
            </c:extLst>
          </c:dPt>
          <c:dPt>
            <c:idx val="51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D-0F44-46BB-83EC-A9A6374BC748}"/>
              </c:ext>
            </c:extLst>
          </c:dPt>
          <c:dPt>
            <c:idx val="51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F-0F44-46BB-83EC-A9A6374BC748}"/>
              </c:ext>
            </c:extLst>
          </c:dPt>
          <c:dPt>
            <c:idx val="51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1-0F44-46BB-83EC-A9A6374BC748}"/>
              </c:ext>
            </c:extLst>
          </c:dPt>
          <c:dPt>
            <c:idx val="51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3-0F44-46BB-83EC-A9A6374BC748}"/>
              </c:ext>
            </c:extLst>
          </c:dPt>
          <c:dPt>
            <c:idx val="51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5-0F44-46BB-83EC-A9A6374BC748}"/>
              </c:ext>
            </c:extLst>
          </c:dPt>
          <c:dPt>
            <c:idx val="51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7-0F44-46BB-83EC-A9A6374BC748}"/>
              </c:ext>
            </c:extLst>
          </c:dPt>
          <c:dPt>
            <c:idx val="51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9-0F44-46BB-83EC-A9A6374BC748}"/>
              </c:ext>
            </c:extLst>
          </c:dPt>
          <c:dPt>
            <c:idx val="51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B-0F44-46BB-83EC-A9A6374BC748}"/>
              </c:ext>
            </c:extLst>
          </c:dPt>
          <c:dPt>
            <c:idx val="51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D-0F44-46BB-83EC-A9A6374BC748}"/>
              </c:ext>
            </c:extLst>
          </c:dPt>
          <c:dPt>
            <c:idx val="52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F-0F44-46BB-83EC-A9A6374BC748}"/>
              </c:ext>
            </c:extLst>
          </c:dPt>
          <c:dPt>
            <c:idx val="52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1-0F44-46BB-83EC-A9A6374BC748}"/>
              </c:ext>
            </c:extLst>
          </c:dPt>
          <c:dPt>
            <c:idx val="52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3-0F44-46BB-83EC-A9A6374BC748}"/>
              </c:ext>
            </c:extLst>
          </c:dPt>
          <c:dPt>
            <c:idx val="52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5-0F44-46BB-83EC-A9A6374BC748}"/>
              </c:ext>
            </c:extLst>
          </c:dPt>
          <c:dPt>
            <c:idx val="52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7-0F44-46BB-83EC-A9A6374BC748}"/>
              </c:ext>
            </c:extLst>
          </c:dPt>
          <c:dPt>
            <c:idx val="52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9-0F44-46BB-83EC-A9A6374BC748}"/>
              </c:ext>
            </c:extLst>
          </c:dPt>
          <c:dPt>
            <c:idx val="52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B-0F44-46BB-83EC-A9A6374BC748}"/>
              </c:ext>
            </c:extLst>
          </c:dPt>
          <c:dPt>
            <c:idx val="52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D-0F44-46BB-83EC-A9A6374BC748}"/>
              </c:ext>
            </c:extLst>
          </c:dPt>
          <c:dPt>
            <c:idx val="52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F-0F44-46BB-83EC-A9A6374BC748}"/>
              </c:ext>
            </c:extLst>
          </c:dPt>
          <c:dPt>
            <c:idx val="53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1-0F44-46BB-83EC-A9A6374BC748}"/>
              </c:ext>
            </c:extLst>
          </c:dPt>
          <c:dPt>
            <c:idx val="53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3-0F44-46BB-83EC-A9A6374BC748}"/>
              </c:ext>
            </c:extLst>
          </c:dPt>
          <c:dPt>
            <c:idx val="53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5-0F44-46BB-83EC-A9A6374BC748}"/>
              </c:ext>
            </c:extLst>
          </c:dPt>
          <c:dPt>
            <c:idx val="53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7-0F44-46BB-83EC-A9A6374BC748}"/>
              </c:ext>
            </c:extLst>
          </c:dPt>
          <c:dPt>
            <c:idx val="53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9-0F44-46BB-83EC-A9A6374BC748}"/>
              </c:ext>
            </c:extLst>
          </c:dPt>
          <c:dPt>
            <c:idx val="53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B-0F44-46BB-83EC-A9A6374BC748}"/>
              </c:ext>
            </c:extLst>
          </c:dPt>
          <c:dPt>
            <c:idx val="53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D-0F44-46BB-83EC-A9A6374BC748}"/>
              </c:ext>
            </c:extLst>
          </c:dPt>
          <c:dPt>
            <c:idx val="53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F-0F44-46BB-83EC-A9A6374BC748}"/>
              </c:ext>
            </c:extLst>
          </c:dPt>
          <c:dPt>
            <c:idx val="53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1-0F44-46BB-83EC-A9A6374BC748}"/>
              </c:ext>
            </c:extLst>
          </c:dPt>
          <c:dPt>
            <c:idx val="53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3-0F44-46BB-83EC-A9A6374BC748}"/>
              </c:ext>
            </c:extLst>
          </c:dPt>
          <c:dPt>
            <c:idx val="54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5-0F44-46BB-83EC-A9A6374BC748}"/>
              </c:ext>
            </c:extLst>
          </c:dPt>
          <c:dPt>
            <c:idx val="54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7-0F44-46BB-83EC-A9A6374BC748}"/>
              </c:ext>
            </c:extLst>
          </c:dPt>
          <c:dPt>
            <c:idx val="54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9-0F44-46BB-83EC-A9A6374BC748}"/>
              </c:ext>
            </c:extLst>
          </c:dPt>
          <c:dPt>
            <c:idx val="54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B-0F44-46BB-83EC-A9A6374BC748}"/>
              </c:ext>
            </c:extLst>
          </c:dPt>
          <c:dPt>
            <c:idx val="54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D-0F44-46BB-83EC-A9A6374BC748}"/>
              </c:ext>
            </c:extLst>
          </c:dPt>
          <c:dPt>
            <c:idx val="54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F-0F44-46BB-83EC-A9A6374BC748}"/>
              </c:ext>
            </c:extLst>
          </c:dPt>
          <c:dPt>
            <c:idx val="54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1-0F44-46BB-83EC-A9A6374BC748}"/>
              </c:ext>
            </c:extLst>
          </c:dPt>
          <c:dPt>
            <c:idx val="54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3-0F44-46BB-83EC-A9A6374BC748}"/>
              </c:ext>
            </c:extLst>
          </c:dPt>
          <c:dPt>
            <c:idx val="54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5-0F44-46BB-83EC-A9A6374BC748}"/>
              </c:ext>
            </c:extLst>
          </c:dPt>
          <c:dPt>
            <c:idx val="54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7-0F44-46BB-83EC-A9A6374BC748}"/>
              </c:ext>
            </c:extLst>
          </c:dPt>
          <c:dPt>
            <c:idx val="55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9-0F44-46BB-83EC-A9A6374BC748}"/>
              </c:ext>
            </c:extLst>
          </c:dPt>
          <c:dPt>
            <c:idx val="55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B-0F44-46BB-83EC-A9A6374BC748}"/>
              </c:ext>
            </c:extLst>
          </c:dPt>
          <c:dPt>
            <c:idx val="55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D-0F44-46BB-83EC-A9A6374BC748}"/>
              </c:ext>
            </c:extLst>
          </c:dPt>
          <c:dPt>
            <c:idx val="55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F-0F44-46BB-83EC-A9A6374BC748}"/>
              </c:ext>
            </c:extLst>
          </c:dPt>
          <c:dPt>
            <c:idx val="55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1-0F44-46BB-83EC-A9A6374BC748}"/>
              </c:ext>
            </c:extLst>
          </c:dPt>
          <c:dPt>
            <c:idx val="55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3-0F44-46BB-83EC-A9A6374BC748}"/>
              </c:ext>
            </c:extLst>
          </c:dPt>
          <c:dPt>
            <c:idx val="55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5-0F44-46BB-83EC-A9A6374BC748}"/>
              </c:ext>
            </c:extLst>
          </c:dPt>
          <c:dPt>
            <c:idx val="55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7-0F44-46BB-83EC-A9A6374BC748}"/>
              </c:ext>
            </c:extLst>
          </c:dPt>
          <c:dPt>
            <c:idx val="55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9-0F44-46BB-83EC-A9A6374BC748}"/>
              </c:ext>
            </c:extLst>
          </c:dPt>
          <c:dPt>
            <c:idx val="55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B-0F44-46BB-83EC-A9A6374BC748}"/>
              </c:ext>
            </c:extLst>
          </c:dPt>
          <c:dPt>
            <c:idx val="56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D-0F44-46BB-83EC-A9A6374BC748}"/>
              </c:ext>
            </c:extLst>
          </c:dPt>
          <c:dPt>
            <c:idx val="56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F-0F44-46BB-83EC-A9A6374BC748}"/>
              </c:ext>
            </c:extLst>
          </c:dPt>
          <c:dPt>
            <c:idx val="56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1-0F44-46BB-83EC-A9A6374BC748}"/>
              </c:ext>
            </c:extLst>
          </c:dPt>
          <c:dPt>
            <c:idx val="56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3-0F44-46BB-83EC-A9A6374BC748}"/>
              </c:ext>
            </c:extLst>
          </c:dPt>
          <c:dPt>
            <c:idx val="56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5-0F44-46BB-83EC-A9A6374BC748}"/>
              </c:ext>
            </c:extLst>
          </c:dPt>
          <c:dPt>
            <c:idx val="56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7-0F44-46BB-83EC-A9A6374BC748}"/>
              </c:ext>
            </c:extLst>
          </c:dPt>
          <c:dPt>
            <c:idx val="56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9-0F44-46BB-83EC-A9A6374BC748}"/>
              </c:ext>
            </c:extLst>
          </c:dPt>
          <c:dPt>
            <c:idx val="56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B-0F44-46BB-83EC-A9A6374BC748}"/>
              </c:ext>
            </c:extLst>
          </c:dPt>
          <c:dPt>
            <c:idx val="56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D-0F44-46BB-83EC-A9A6374BC748}"/>
              </c:ext>
            </c:extLst>
          </c:dPt>
          <c:dPt>
            <c:idx val="56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F-0F44-46BB-83EC-A9A6374BC748}"/>
              </c:ext>
            </c:extLst>
          </c:dPt>
          <c:dPt>
            <c:idx val="57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1-0F44-46BB-83EC-A9A6374BC748}"/>
              </c:ext>
            </c:extLst>
          </c:dPt>
          <c:dPt>
            <c:idx val="57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3-0F44-46BB-83EC-A9A6374BC748}"/>
              </c:ext>
            </c:extLst>
          </c:dPt>
          <c:dPt>
            <c:idx val="57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5-0F44-46BB-83EC-A9A6374BC748}"/>
              </c:ext>
            </c:extLst>
          </c:dPt>
          <c:dPt>
            <c:idx val="57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7-0F44-46BB-83EC-A9A6374BC748}"/>
              </c:ext>
            </c:extLst>
          </c:dPt>
          <c:dPt>
            <c:idx val="57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9-0F44-46BB-83EC-A9A6374BC748}"/>
              </c:ext>
            </c:extLst>
          </c:dPt>
          <c:dPt>
            <c:idx val="57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B-0F44-46BB-83EC-A9A6374BC748}"/>
              </c:ext>
            </c:extLst>
          </c:dPt>
          <c:dPt>
            <c:idx val="57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D-0F44-46BB-83EC-A9A6374BC748}"/>
              </c:ext>
            </c:extLst>
          </c:dPt>
          <c:dPt>
            <c:idx val="57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F-0F44-46BB-83EC-A9A6374BC748}"/>
              </c:ext>
            </c:extLst>
          </c:dPt>
          <c:dPt>
            <c:idx val="57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C1-0F44-46BB-83EC-A9A6374BC748}"/>
              </c:ext>
            </c:extLst>
          </c:dPt>
          <c:dPt>
            <c:idx val="57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C3-0F44-46BB-83EC-A9A6374BC748}"/>
              </c:ext>
            </c:extLst>
          </c:dPt>
          <c:dPt>
            <c:idx val="58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C5-0F44-46BB-83EC-A9A6374BC748}"/>
              </c:ext>
            </c:extLst>
          </c:dPt>
          <c:dPt>
            <c:idx val="58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C7-0F44-46BB-83EC-A9A6374BC748}"/>
              </c:ext>
            </c:extLst>
          </c:dPt>
          <c:dPt>
            <c:idx val="58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C9-0F44-46BB-83EC-A9A6374BC748}"/>
              </c:ext>
            </c:extLst>
          </c:dPt>
          <c:dPt>
            <c:idx val="58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CB-0F44-46BB-83EC-A9A6374BC748}"/>
              </c:ext>
            </c:extLst>
          </c:dPt>
          <c:dPt>
            <c:idx val="58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CD-0F44-46BB-83EC-A9A6374BC748}"/>
              </c:ext>
            </c:extLst>
          </c:dPt>
          <c:dPt>
            <c:idx val="58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CF-0F44-46BB-83EC-A9A6374BC748}"/>
              </c:ext>
            </c:extLst>
          </c:dPt>
          <c:dPt>
            <c:idx val="58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D1-0F44-46BB-83EC-A9A6374BC748}"/>
              </c:ext>
            </c:extLst>
          </c:dPt>
          <c:dPt>
            <c:idx val="58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D3-0F44-46BB-83EC-A9A6374BC748}"/>
              </c:ext>
            </c:extLst>
          </c:dPt>
          <c:dPt>
            <c:idx val="58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D5-0F44-46BB-83EC-A9A6374BC748}"/>
              </c:ext>
            </c:extLst>
          </c:dPt>
          <c:dPt>
            <c:idx val="58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D7-0F44-46BB-83EC-A9A6374BC748}"/>
              </c:ext>
            </c:extLst>
          </c:dPt>
          <c:dPt>
            <c:idx val="59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D9-0F44-46BB-83EC-A9A6374BC748}"/>
              </c:ext>
            </c:extLst>
          </c:dPt>
          <c:dPt>
            <c:idx val="59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DB-0F44-46BB-83EC-A9A6374BC748}"/>
              </c:ext>
            </c:extLst>
          </c:dPt>
          <c:dPt>
            <c:idx val="59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DD-0F44-46BB-83EC-A9A6374BC748}"/>
              </c:ext>
            </c:extLst>
          </c:dPt>
          <c:dPt>
            <c:idx val="59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DF-0F44-46BB-83EC-A9A6374BC748}"/>
              </c:ext>
            </c:extLst>
          </c:dPt>
          <c:dPt>
            <c:idx val="59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E1-0F44-46BB-83EC-A9A6374BC748}"/>
              </c:ext>
            </c:extLst>
          </c:dPt>
          <c:dPt>
            <c:idx val="59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E3-0F44-46BB-83EC-A9A6374BC748}"/>
              </c:ext>
            </c:extLst>
          </c:dPt>
          <c:dPt>
            <c:idx val="59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E5-0F44-46BB-83EC-A9A6374BC748}"/>
              </c:ext>
            </c:extLst>
          </c:dPt>
          <c:dPt>
            <c:idx val="59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E7-0F44-46BB-83EC-A9A6374BC748}"/>
              </c:ext>
            </c:extLst>
          </c:dPt>
          <c:dPt>
            <c:idx val="59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E9-0F44-46BB-83EC-A9A6374BC748}"/>
              </c:ext>
            </c:extLst>
          </c:dPt>
          <c:dPt>
            <c:idx val="59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EB-0F44-46BB-83EC-A9A6374BC748}"/>
              </c:ext>
            </c:extLst>
          </c:dPt>
          <c:dPt>
            <c:idx val="60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ED-0F44-46BB-83EC-A9A6374BC748}"/>
              </c:ext>
            </c:extLst>
          </c:dPt>
          <c:dPt>
            <c:idx val="60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EF-0F44-46BB-83EC-A9A6374BC748}"/>
              </c:ext>
            </c:extLst>
          </c:dPt>
          <c:dPt>
            <c:idx val="60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F1-0F44-46BB-83EC-A9A6374BC748}"/>
              </c:ext>
            </c:extLst>
          </c:dPt>
          <c:dPt>
            <c:idx val="60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F3-0F44-46BB-83EC-A9A6374BC748}"/>
              </c:ext>
            </c:extLst>
          </c:dPt>
          <c:dPt>
            <c:idx val="60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F5-0F44-46BB-83EC-A9A6374BC748}"/>
              </c:ext>
            </c:extLst>
          </c:dPt>
          <c:dPt>
            <c:idx val="60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F7-0F44-46BB-83EC-A9A6374BC748}"/>
              </c:ext>
            </c:extLst>
          </c:dPt>
          <c:dPt>
            <c:idx val="60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F9-0F44-46BB-83EC-A9A6374BC748}"/>
              </c:ext>
            </c:extLst>
          </c:dPt>
          <c:dPt>
            <c:idx val="60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FB-0F44-46BB-83EC-A9A6374BC748}"/>
              </c:ext>
            </c:extLst>
          </c:dPt>
          <c:dPt>
            <c:idx val="60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FD-0F44-46BB-83EC-A9A6374BC748}"/>
              </c:ext>
            </c:extLst>
          </c:dPt>
          <c:dPt>
            <c:idx val="60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FF-0F44-46BB-83EC-A9A6374BC748}"/>
              </c:ext>
            </c:extLst>
          </c:dPt>
          <c:dPt>
            <c:idx val="61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01-0F44-46BB-83EC-A9A6374BC748}"/>
              </c:ext>
            </c:extLst>
          </c:dPt>
          <c:dPt>
            <c:idx val="61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03-0F44-46BB-83EC-A9A6374BC748}"/>
              </c:ext>
            </c:extLst>
          </c:dPt>
          <c:dPt>
            <c:idx val="61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05-0F44-46BB-83EC-A9A6374BC748}"/>
              </c:ext>
            </c:extLst>
          </c:dPt>
          <c:dPt>
            <c:idx val="61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07-0F44-46BB-83EC-A9A6374BC748}"/>
              </c:ext>
            </c:extLst>
          </c:dPt>
          <c:dPt>
            <c:idx val="61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09-0F44-46BB-83EC-A9A6374BC748}"/>
              </c:ext>
            </c:extLst>
          </c:dPt>
          <c:dPt>
            <c:idx val="61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0B-0F44-46BB-83EC-A9A6374BC748}"/>
              </c:ext>
            </c:extLst>
          </c:dPt>
          <c:dPt>
            <c:idx val="61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0D-0F44-46BB-83EC-A9A6374BC748}"/>
              </c:ext>
            </c:extLst>
          </c:dPt>
          <c:dPt>
            <c:idx val="61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0F-0F44-46BB-83EC-A9A6374BC748}"/>
              </c:ext>
            </c:extLst>
          </c:dPt>
          <c:dPt>
            <c:idx val="61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11-0F44-46BB-83EC-A9A6374BC748}"/>
              </c:ext>
            </c:extLst>
          </c:dPt>
          <c:dPt>
            <c:idx val="61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13-0F44-46BB-83EC-A9A6374BC748}"/>
              </c:ext>
            </c:extLst>
          </c:dPt>
          <c:dPt>
            <c:idx val="62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15-0F44-46BB-83EC-A9A6374BC748}"/>
              </c:ext>
            </c:extLst>
          </c:dPt>
          <c:dPt>
            <c:idx val="62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17-0F44-46BB-83EC-A9A6374BC748}"/>
              </c:ext>
            </c:extLst>
          </c:dPt>
          <c:dPt>
            <c:idx val="62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19-0F44-46BB-83EC-A9A6374BC748}"/>
              </c:ext>
            </c:extLst>
          </c:dPt>
          <c:dPt>
            <c:idx val="62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1B-0F44-46BB-83EC-A9A6374BC748}"/>
              </c:ext>
            </c:extLst>
          </c:dPt>
          <c:dPt>
            <c:idx val="62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1D-0F44-46BB-83EC-A9A6374BC748}"/>
              </c:ext>
            </c:extLst>
          </c:dPt>
          <c:dPt>
            <c:idx val="62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1F-0F44-46BB-83EC-A9A6374BC748}"/>
              </c:ext>
            </c:extLst>
          </c:dPt>
          <c:dPt>
            <c:idx val="62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21-0F44-46BB-83EC-A9A6374BC748}"/>
              </c:ext>
            </c:extLst>
          </c:dPt>
          <c:dPt>
            <c:idx val="62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23-0F44-46BB-83EC-A9A6374BC748}"/>
              </c:ext>
            </c:extLst>
          </c:dPt>
          <c:dPt>
            <c:idx val="62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25-0F44-46BB-83EC-A9A6374BC748}"/>
              </c:ext>
            </c:extLst>
          </c:dPt>
          <c:dPt>
            <c:idx val="62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27-0F44-46BB-83EC-A9A6374BC748}"/>
              </c:ext>
            </c:extLst>
          </c:dPt>
          <c:dPt>
            <c:idx val="63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29-0F44-46BB-83EC-A9A6374BC748}"/>
              </c:ext>
            </c:extLst>
          </c:dPt>
          <c:dPt>
            <c:idx val="63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2B-0F44-46BB-83EC-A9A6374BC748}"/>
              </c:ext>
            </c:extLst>
          </c:dPt>
          <c:dPt>
            <c:idx val="63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2D-0F44-46BB-83EC-A9A6374BC748}"/>
              </c:ext>
            </c:extLst>
          </c:dPt>
          <c:dPt>
            <c:idx val="63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2F-0F44-46BB-83EC-A9A6374BC748}"/>
              </c:ext>
            </c:extLst>
          </c:dPt>
          <c:dPt>
            <c:idx val="63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31-0F44-46BB-83EC-A9A6374BC748}"/>
              </c:ext>
            </c:extLst>
          </c:dPt>
          <c:dPt>
            <c:idx val="63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33-0F44-46BB-83EC-A9A6374BC748}"/>
              </c:ext>
            </c:extLst>
          </c:dPt>
          <c:dPt>
            <c:idx val="63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35-0F44-46BB-83EC-A9A6374BC748}"/>
              </c:ext>
            </c:extLst>
          </c:dPt>
          <c:dPt>
            <c:idx val="63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37-0F44-46BB-83EC-A9A6374BC748}"/>
              </c:ext>
            </c:extLst>
          </c:dPt>
          <c:dPt>
            <c:idx val="63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39-0F44-46BB-83EC-A9A6374BC748}"/>
              </c:ext>
            </c:extLst>
          </c:dPt>
          <c:dPt>
            <c:idx val="63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3B-0F44-46BB-83EC-A9A6374BC748}"/>
              </c:ext>
            </c:extLst>
          </c:dPt>
          <c:dPt>
            <c:idx val="64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3D-0F44-46BB-83EC-A9A6374BC748}"/>
              </c:ext>
            </c:extLst>
          </c:dPt>
          <c:dPt>
            <c:idx val="64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3F-0F44-46BB-83EC-A9A6374BC748}"/>
              </c:ext>
            </c:extLst>
          </c:dPt>
          <c:dPt>
            <c:idx val="64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41-0F44-46BB-83EC-A9A6374BC748}"/>
              </c:ext>
            </c:extLst>
          </c:dPt>
          <c:dPt>
            <c:idx val="64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43-0F44-46BB-83EC-A9A6374BC748}"/>
              </c:ext>
            </c:extLst>
          </c:dPt>
          <c:dPt>
            <c:idx val="64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45-0F44-46BB-83EC-A9A6374BC748}"/>
              </c:ext>
            </c:extLst>
          </c:dPt>
          <c:dPt>
            <c:idx val="64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47-0F44-46BB-83EC-A9A6374BC748}"/>
              </c:ext>
            </c:extLst>
          </c:dPt>
          <c:dPt>
            <c:idx val="64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49-0F44-46BB-83EC-A9A6374BC748}"/>
              </c:ext>
            </c:extLst>
          </c:dPt>
          <c:dPt>
            <c:idx val="64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4B-0F44-46BB-83EC-A9A6374BC748}"/>
              </c:ext>
            </c:extLst>
          </c:dPt>
          <c:dPt>
            <c:idx val="64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4D-0F44-46BB-83EC-A9A6374BC748}"/>
              </c:ext>
            </c:extLst>
          </c:dPt>
          <c:dPt>
            <c:idx val="64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4F-0F44-46BB-83EC-A9A6374BC748}"/>
              </c:ext>
            </c:extLst>
          </c:dPt>
          <c:dPt>
            <c:idx val="65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51-0F44-46BB-83EC-A9A6374BC748}"/>
              </c:ext>
            </c:extLst>
          </c:dPt>
          <c:dPt>
            <c:idx val="65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53-0F44-46BB-83EC-A9A6374BC748}"/>
              </c:ext>
            </c:extLst>
          </c:dPt>
          <c:dPt>
            <c:idx val="65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55-0F44-46BB-83EC-A9A6374BC748}"/>
              </c:ext>
            </c:extLst>
          </c:dPt>
          <c:dPt>
            <c:idx val="65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57-0F44-46BB-83EC-A9A6374BC748}"/>
              </c:ext>
            </c:extLst>
          </c:dPt>
          <c:dPt>
            <c:idx val="65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59-0F44-46BB-83EC-A9A6374BC748}"/>
              </c:ext>
            </c:extLst>
          </c:dPt>
          <c:dPt>
            <c:idx val="65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5B-0F44-46BB-83EC-A9A6374BC748}"/>
              </c:ext>
            </c:extLst>
          </c:dPt>
          <c:dPt>
            <c:idx val="65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5D-0F44-46BB-83EC-A9A6374BC748}"/>
              </c:ext>
            </c:extLst>
          </c:dPt>
          <c:dPt>
            <c:idx val="65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5F-0F44-46BB-83EC-A9A6374BC748}"/>
              </c:ext>
            </c:extLst>
          </c:dPt>
          <c:dPt>
            <c:idx val="65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61-0F44-46BB-83EC-A9A6374BC748}"/>
              </c:ext>
            </c:extLst>
          </c:dPt>
          <c:dPt>
            <c:idx val="65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63-0F44-46BB-83EC-A9A6374BC748}"/>
              </c:ext>
            </c:extLst>
          </c:dPt>
          <c:dPt>
            <c:idx val="66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65-0F44-46BB-83EC-A9A6374BC748}"/>
              </c:ext>
            </c:extLst>
          </c:dPt>
          <c:dPt>
            <c:idx val="66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67-0F44-46BB-83EC-A9A6374BC748}"/>
              </c:ext>
            </c:extLst>
          </c:dPt>
          <c:dPt>
            <c:idx val="66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69-0F44-46BB-83EC-A9A6374BC748}"/>
              </c:ext>
            </c:extLst>
          </c:dPt>
          <c:dPt>
            <c:idx val="66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6B-0F44-46BB-83EC-A9A6374BC748}"/>
              </c:ext>
            </c:extLst>
          </c:dPt>
          <c:dPt>
            <c:idx val="66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6D-0F44-46BB-83EC-A9A6374BC748}"/>
              </c:ext>
            </c:extLst>
          </c:dPt>
          <c:dPt>
            <c:idx val="66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6F-0F44-46BB-83EC-A9A6374BC748}"/>
              </c:ext>
            </c:extLst>
          </c:dPt>
          <c:dPt>
            <c:idx val="66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71-0F44-46BB-83EC-A9A6374BC748}"/>
              </c:ext>
            </c:extLst>
          </c:dPt>
          <c:dPt>
            <c:idx val="66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73-0F44-46BB-83EC-A9A6374BC748}"/>
              </c:ext>
            </c:extLst>
          </c:dPt>
          <c:dPt>
            <c:idx val="66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75-0F44-46BB-83EC-A9A6374BC748}"/>
              </c:ext>
            </c:extLst>
          </c:dPt>
          <c:dPt>
            <c:idx val="66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77-0F44-46BB-83EC-A9A6374BC748}"/>
              </c:ext>
            </c:extLst>
          </c:dPt>
          <c:dPt>
            <c:idx val="67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79-0F44-46BB-83EC-A9A6374BC748}"/>
              </c:ext>
            </c:extLst>
          </c:dPt>
          <c:dPt>
            <c:idx val="67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7B-0F44-46BB-83EC-A9A6374BC748}"/>
              </c:ext>
            </c:extLst>
          </c:dPt>
          <c:dPt>
            <c:idx val="67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7D-0F44-46BB-83EC-A9A6374BC748}"/>
              </c:ext>
            </c:extLst>
          </c:dPt>
          <c:dPt>
            <c:idx val="67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7F-0F44-46BB-83EC-A9A6374BC748}"/>
              </c:ext>
            </c:extLst>
          </c:dPt>
          <c:dPt>
            <c:idx val="67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81-0F44-46BB-83EC-A9A6374BC748}"/>
              </c:ext>
            </c:extLst>
          </c:dPt>
          <c:dPt>
            <c:idx val="67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83-0F44-46BB-83EC-A9A6374BC748}"/>
              </c:ext>
            </c:extLst>
          </c:dPt>
          <c:dPt>
            <c:idx val="67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85-0F44-46BB-83EC-A9A6374BC748}"/>
              </c:ext>
            </c:extLst>
          </c:dPt>
          <c:dPt>
            <c:idx val="67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87-0F44-46BB-83EC-A9A6374BC748}"/>
              </c:ext>
            </c:extLst>
          </c:dPt>
          <c:dPt>
            <c:idx val="67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89-0F44-46BB-83EC-A9A6374BC748}"/>
              </c:ext>
            </c:extLst>
          </c:dPt>
          <c:dPt>
            <c:idx val="67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8B-0F44-46BB-83EC-A9A6374BC748}"/>
              </c:ext>
            </c:extLst>
          </c:dPt>
          <c:dPt>
            <c:idx val="68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8D-0F44-46BB-83EC-A9A6374BC748}"/>
              </c:ext>
            </c:extLst>
          </c:dPt>
          <c:dPt>
            <c:idx val="68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8F-0F44-46BB-83EC-A9A6374BC748}"/>
              </c:ext>
            </c:extLst>
          </c:dPt>
          <c:dPt>
            <c:idx val="68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91-0F44-46BB-83EC-A9A6374BC748}"/>
              </c:ext>
            </c:extLst>
          </c:dPt>
          <c:dPt>
            <c:idx val="68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93-0F44-46BB-83EC-A9A6374BC748}"/>
              </c:ext>
            </c:extLst>
          </c:dPt>
          <c:dPt>
            <c:idx val="68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95-0F44-46BB-83EC-A9A6374BC748}"/>
              </c:ext>
            </c:extLst>
          </c:dPt>
          <c:dPt>
            <c:idx val="68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97-0F44-46BB-83EC-A9A6374BC748}"/>
              </c:ext>
            </c:extLst>
          </c:dPt>
          <c:dPt>
            <c:idx val="68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99-0F44-46BB-83EC-A9A6374BC748}"/>
              </c:ext>
            </c:extLst>
          </c:dPt>
          <c:dPt>
            <c:idx val="68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9B-0F44-46BB-83EC-A9A6374BC748}"/>
              </c:ext>
            </c:extLst>
          </c:dPt>
          <c:dPt>
            <c:idx val="68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9D-0F44-46BB-83EC-A9A6374BC748}"/>
              </c:ext>
            </c:extLst>
          </c:dPt>
          <c:dPt>
            <c:idx val="68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9F-0F44-46BB-83EC-A9A6374BC748}"/>
              </c:ext>
            </c:extLst>
          </c:dPt>
          <c:dPt>
            <c:idx val="69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A1-0F44-46BB-83EC-A9A6374BC748}"/>
              </c:ext>
            </c:extLst>
          </c:dPt>
          <c:dPt>
            <c:idx val="69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A3-0F44-46BB-83EC-A9A6374BC748}"/>
              </c:ext>
            </c:extLst>
          </c:dPt>
          <c:dPt>
            <c:idx val="69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A5-0F44-46BB-83EC-A9A6374BC748}"/>
              </c:ext>
            </c:extLst>
          </c:dPt>
          <c:dPt>
            <c:idx val="69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A7-0F44-46BB-83EC-A9A6374BC748}"/>
              </c:ext>
            </c:extLst>
          </c:dPt>
          <c:dPt>
            <c:idx val="69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A9-0F44-46BB-83EC-A9A6374BC748}"/>
              </c:ext>
            </c:extLst>
          </c:dPt>
          <c:dPt>
            <c:idx val="69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AB-0F44-46BB-83EC-A9A6374BC748}"/>
              </c:ext>
            </c:extLst>
          </c:dPt>
          <c:dPt>
            <c:idx val="69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AD-0F44-46BB-83EC-A9A6374BC748}"/>
              </c:ext>
            </c:extLst>
          </c:dPt>
          <c:dPt>
            <c:idx val="69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AF-0F44-46BB-83EC-A9A6374BC748}"/>
              </c:ext>
            </c:extLst>
          </c:dPt>
          <c:dPt>
            <c:idx val="69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B1-0F44-46BB-83EC-A9A6374BC748}"/>
              </c:ext>
            </c:extLst>
          </c:dPt>
          <c:dPt>
            <c:idx val="69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B3-0F44-46BB-83EC-A9A6374BC748}"/>
              </c:ext>
            </c:extLst>
          </c:dPt>
          <c:dPt>
            <c:idx val="70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B5-0F44-46BB-83EC-A9A6374BC748}"/>
              </c:ext>
            </c:extLst>
          </c:dPt>
          <c:dPt>
            <c:idx val="70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B7-0F44-46BB-83EC-A9A6374BC748}"/>
              </c:ext>
            </c:extLst>
          </c:dPt>
          <c:dPt>
            <c:idx val="70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B9-0F44-46BB-83EC-A9A6374BC748}"/>
              </c:ext>
            </c:extLst>
          </c:dPt>
          <c:dPt>
            <c:idx val="70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BB-0F44-46BB-83EC-A9A6374BC748}"/>
              </c:ext>
            </c:extLst>
          </c:dPt>
          <c:dPt>
            <c:idx val="70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BD-0F44-46BB-83EC-A9A6374BC748}"/>
              </c:ext>
            </c:extLst>
          </c:dPt>
          <c:dPt>
            <c:idx val="70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BF-0F44-46BB-83EC-A9A6374BC748}"/>
              </c:ext>
            </c:extLst>
          </c:dPt>
          <c:dPt>
            <c:idx val="70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C1-0F44-46BB-83EC-A9A6374BC748}"/>
              </c:ext>
            </c:extLst>
          </c:dPt>
          <c:dPt>
            <c:idx val="70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C3-0F44-46BB-83EC-A9A6374BC748}"/>
              </c:ext>
            </c:extLst>
          </c:dPt>
          <c:dPt>
            <c:idx val="70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C5-0F44-46BB-83EC-A9A6374BC748}"/>
              </c:ext>
            </c:extLst>
          </c:dPt>
          <c:dPt>
            <c:idx val="70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C7-0F44-46BB-83EC-A9A6374BC748}"/>
              </c:ext>
            </c:extLst>
          </c:dPt>
          <c:dPt>
            <c:idx val="71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C9-0F44-46BB-83EC-A9A6374BC748}"/>
              </c:ext>
            </c:extLst>
          </c:dPt>
          <c:dPt>
            <c:idx val="71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CB-0F44-46BB-83EC-A9A6374BC748}"/>
              </c:ext>
            </c:extLst>
          </c:dPt>
          <c:dPt>
            <c:idx val="71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CD-0F44-46BB-83EC-A9A6374BC748}"/>
              </c:ext>
            </c:extLst>
          </c:dPt>
          <c:dPt>
            <c:idx val="71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CF-0F44-46BB-83EC-A9A6374BC748}"/>
              </c:ext>
            </c:extLst>
          </c:dPt>
          <c:dPt>
            <c:idx val="71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D1-0F44-46BB-83EC-A9A6374BC748}"/>
              </c:ext>
            </c:extLst>
          </c:dPt>
          <c:dPt>
            <c:idx val="71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D3-0F44-46BB-83EC-A9A6374BC748}"/>
              </c:ext>
            </c:extLst>
          </c:dPt>
          <c:dPt>
            <c:idx val="71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D5-0F44-46BB-83EC-A9A6374BC748}"/>
              </c:ext>
            </c:extLst>
          </c:dPt>
          <c:dPt>
            <c:idx val="71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D7-0F44-46BB-83EC-A9A6374BC748}"/>
              </c:ext>
            </c:extLst>
          </c:dPt>
          <c:dPt>
            <c:idx val="71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D9-0F44-46BB-83EC-A9A6374BC748}"/>
              </c:ext>
            </c:extLst>
          </c:dPt>
          <c:dPt>
            <c:idx val="71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DB-0F44-46BB-83EC-A9A6374BC748}"/>
              </c:ext>
            </c:extLst>
          </c:dPt>
          <c:dPt>
            <c:idx val="72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DD-0F44-46BB-83EC-A9A6374BC748}"/>
              </c:ext>
            </c:extLst>
          </c:dPt>
          <c:dPt>
            <c:idx val="72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DF-0F44-46BB-83EC-A9A6374BC748}"/>
              </c:ext>
            </c:extLst>
          </c:dPt>
          <c:dPt>
            <c:idx val="72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E1-0F44-46BB-83EC-A9A6374BC748}"/>
              </c:ext>
            </c:extLst>
          </c:dPt>
          <c:dPt>
            <c:idx val="72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E3-0F44-46BB-83EC-A9A6374BC748}"/>
              </c:ext>
            </c:extLst>
          </c:dPt>
          <c:dPt>
            <c:idx val="72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E5-0F44-46BB-83EC-A9A6374BC748}"/>
              </c:ext>
            </c:extLst>
          </c:dPt>
          <c:dPt>
            <c:idx val="72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E7-0F44-46BB-83EC-A9A6374BC748}"/>
              </c:ext>
            </c:extLst>
          </c:dPt>
          <c:dPt>
            <c:idx val="72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E9-0F44-46BB-83EC-A9A6374BC748}"/>
              </c:ext>
            </c:extLst>
          </c:dPt>
          <c:dPt>
            <c:idx val="72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EB-0F44-46BB-83EC-A9A6374BC748}"/>
              </c:ext>
            </c:extLst>
          </c:dPt>
          <c:dPt>
            <c:idx val="72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ED-0F44-46BB-83EC-A9A6374BC748}"/>
              </c:ext>
            </c:extLst>
          </c:dPt>
          <c:dPt>
            <c:idx val="72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EF-0F44-46BB-83EC-A9A6374BC748}"/>
              </c:ext>
            </c:extLst>
          </c:dPt>
          <c:dPt>
            <c:idx val="73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F1-0F44-46BB-83EC-A9A6374BC748}"/>
              </c:ext>
            </c:extLst>
          </c:dPt>
          <c:dPt>
            <c:idx val="73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F3-0F44-46BB-83EC-A9A6374BC748}"/>
              </c:ext>
            </c:extLst>
          </c:dPt>
          <c:dPt>
            <c:idx val="73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F5-0F44-46BB-83EC-A9A6374BC748}"/>
              </c:ext>
            </c:extLst>
          </c:dPt>
          <c:dPt>
            <c:idx val="73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F7-0F44-46BB-83EC-A9A6374BC748}"/>
              </c:ext>
            </c:extLst>
          </c:dPt>
          <c:dPt>
            <c:idx val="73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F9-0F44-46BB-83EC-A9A6374BC748}"/>
              </c:ext>
            </c:extLst>
          </c:dPt>
          <c:dPt>
            <c:idx val="73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FB-0F44-46BB-83EC-A9A6374BC748}"/>
              </c:ext>
            </c:extLst>
          </c:dPt>
          <c:dPt>
            <c:idx val="73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FD-0F44-46BB-83EC-A9A6374BC748}"/>
              </c:ext>
            </c:extLst>
          </c:dPt>
          <c:dPt>
            <c:idx val="73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1FF-0F44-46BB-83EC-A9A6374BC748}"/>
              </c:ext>
            </c:extLst>
          </c:dPt>
          <c:dPt>
            <c:idx val="73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01-0F44-46BB-83EC-A9A6374BC748}"/>
              </c:ext>
            </c:extLst>
          </c:dPt>
          <c:dPt>
            <c:idx val="73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03-0F44-46BB-83EC-A9A6374BC748}"/>
              </c:ext>
            </c:extLst>
          </c:dPt>
          <c:dPt>
            <c:idx val="74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05-0F44-46BB-83EC-A9A6374BC748}"/>
              </c:ext>
            </c:extLst>
          </c:dPt>
          <c:dPt>
            <c:idx val="74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07-0F44-46BB-83EC-A9A6374BC748}"/>
              </c:ext>
            </c:extLst>
          </c:dPt>
          <c:dPt>
            <c:idx val="74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09-0F44-46BB-83EC-A9A6374BC748}"/>
              </c:ext>
            </c:extLst>
          </c:dPt>
          <c:dPt>
            <c:idx val="74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0B-0F44-46BB-83EC-A9A6374BC748}"/>
              </c:ext>
            </c:extLst>
          </c:dPt>
          <c:dPt>
            <c:idx val="74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0D-0F44-46BB-83EC-A9A6374BC748}"/>
              </c:ext>
            </c:extLst>
          </c:dPt>
          <c:dPt>
            <c:idx val="74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0F-0F44-46BB-83EC-A9A6374BC748}"/>
              </c:ext>
            </c:extLst>
          </c:dPt>
          <c:dPt>
            <c:idx val="74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11-0F44-46BB-83EC-A9A6374BC748}"/>
              </c:ext>
            </c:extLst>
          </c:dPt>
          <c:dPt>
            <c:idx val="74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13-0F44-46BB-83EC-A9A6374BC748}"/>
              </c:ext>
            </c:extLst>
          </c:dPt>
          <c:dPt>
            <c:idx val="74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15-0F44-46BB-83EC-A9A6374BC748}"/>
              </c:ext>
            </c:extLst>
          </c:dPt>
          <c:dPt>
            <c:idx val="74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17-0F44-46BB-83EC-A9A6374BC748}"/>
              </c:ext>
            </c:extLst>
          </c:dPt>
          <c:dPt>
            <c:idx val="75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19-0F44-46BB-83EC-A9A6374BC748}"/>
              </c:ext>
            </c:extLst>
          </c:dPt>
          <c:dPt>
            <c:idx val="75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1B-0F44-46BB-83EC-A9A6374BC748}"/>
              </c:ext>
            </c:extLst>
          </c:dPt>
          <c:dPt>
            <c:idx val="75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1D-0F44-46BB-83EC-A9A6374BC748}"/>
              </c:ext>
            </c:extLst>
          </c:dPt>
          <c:dPt>
            <c:idx val="75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1F-0F44-46BB-83EC-A9A6374BC748}"/>
              </c:ext>
            </c:extLst>
          </c:dPt>
          <c:dPt>
            <c:idx val="75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21-0F44-46BB-83EC-A9A6374BC748}"/>
              </c:ext>
            </c:extLst>
          </c:dPt>
          <c:dPt>
            <c:idx val="75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23-0F44-46BB-83EC-A9A6374BC748}"/>
              </c:ext>
            </c:extLst>
          </c:dPt>
          <c:dPt>
            <c:idx val="75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25-0F44-46BB-83EC-A9A6374BC748}"/>
              </c:ext>
            </c:extLst>
          </c:dPt>
          <c:dPt>
            <c:idx val="75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27-0F44-46BB-83EC-A9A6374BC748}"/>
              </c:ext>
            </c:extLst>
          </c:dPt>
          <c:dPt>
            <c:idx val="75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29-0F44-46BB-83EC-A9A6374BC748}"/>
              </c:ext>
            </c:extLst>
          </c:dPt>
          <c:dPt>
            <c:idx val="75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2B-0F44-46BB-83EC-A9A6374BC748}"/>
              </c:ext>
            </c:extLst>
          </c:dPt>
          <c:dPt>
            <c:idx val="76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2D-0F44-46BB-83EC-A9A6374BC748}"/>
              </c:ext>
            </c:extLst>
          </c:dPt>
          <c:dPt>
            <c:idx val="76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2F-0F44-46BB-83EC-A9A6374BC748}"/>
              </c:ext>
            </c:extLst>
          </c:dPt>
          <c:dPt>
            <c:idx val="76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31-0F44-46BB-83EC-A9A6374BC748}"/>
              </c:ext>
            </c:extLst>
          </c:dPt>
          <c:dPt>
            <c:idx val="76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33-0F44-46BB-83EC-A9A6374BC748}"/>
              </c:ext>
            </c:extLst>
          </c:dPt>
          <c:dPt>
            <c:idx val="76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35-0F44-46BB-83EC-A9A6374BC748}"/>
              </c:ext>
            </c:extLst>
          </c:dPt>
          <c:dPt>
            <c:idx val="76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37-0F44-46BB-83EC-A9A6374BC748}"/>
              </c:ext>
            </c:extLst>
          </c:dPt>
          <c:dPt>
            <c:idx val="76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39-0F44-46BB-83EC-A9A6374BC748}"/>
              </c:ext>
            </c:extLst>
          </c:dPt>
          <c:dPt>
            <c:idx val="76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3B-0F44-46BB-83EC-A9A6374BC748}"/>
              </c:ext>
            </c:extLst>
          </c:dPt>
          <c:dPt>
            <c:idx val="76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3D-0F44-46BB-83EC-A9A6374BC748}"/>
              </c:ext>
            </c:extLst>
          </c:dPt>
          <c:dPt>
            <c:idx val="76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3F-0F44-46BB-83EC-A9A6374BC748}"/>
              </c:ext>
            </c:extLst>
          </c:dPt>
          <c:dPt>
            <c:idx val="77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41-0F44-46BB-83EC-A9A6374BC748}"/>
              </c:ext>
            </c:extLst>
          </c:dPt>
          <c:dPt>
            <c:idx val="77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43-0F44-46BB-83EC-A9A6374BC748}"/>
              </c:ext>
            </c:extLst>
          </c:dPt>
          <c:dPt>
            <c:idx val="77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45-0F44-46BB-83EC-A9A6374BC748}"/>
              </c:ext>
            </c:extLst>
          </c:dPt>
          <c:dPt>
            <c:idx val="77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47-0F44-46BB-83EC-A9A6374BC748}"/>
              </c:ext>
            </c:extLst>
          </c:dPt>
          <c:dPt>
            <c:idx val="77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49-0F44-46BB-83EC-A9A6374BC748}"/>
              </c:ext>
            </c:extLst>
          </c:dPt>
          <c:dPt>
            <c:idx val="77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4B-0F44-46BB-83EC-A9A6374BC748}"/>
              </c:ext>
            </c:extLst>
          </c:dPt>
          <c:dPt>
            <c:idx val="77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4D-0F44-46BB-83EC-A9A6374BC748}"/>
              </c:ext>
            </c:extLst>
          </c:dPt>
          <c:dPt>
            <c:idx val="77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4F-0F44-46BB-83EC-A9A6374BC748}"/>
              </c:ext>
            </c:extLst>
          </c:dPt>
          <c:dPt>
            <c:idx val="77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51-0F44-46BB-83EC-A9A6374BC748}"/>
              </c:ext>
            </c:extLst>
          </c:dPt>
          <c:dPt>
            <c:idx val="77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53-0F44-46BB-83EC-A9A6374BC748}"/>
              </c:ext>
            </c:extLst>
          </c:dPt>
          <c:dPt>
            <c:idx val="78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55-0F44-46BB-83EC-A9A6374BC748}"/>
              </c:ext>
            </c:extLst>
          </c:dPt>
          <c:dPt>
            <c:idx val="78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57-0F44-46BB-83EC-A9A6374BC748}"/>
              </c:ext>
            </c:extLst>
          </c:dPt>
          <c:dPt>
            <c:idx val="78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59-0F44-46BB-83EC-A9A6374BC748}"/>
              </c:ext>
            </c:extLst>
          </c:dPt>
          <c:dPt>
            <c:idx val="78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5B-0F44-46BB-83EC-A9A6374BC748}"/>
              </c:ext>
            </c:extLst>
          </c:dPt>
          <c:dPt>
            <c:idx val="78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5D-0F44-46BB-83EC-A9A6374BC748}"/>
              </c:ext>
            </c:extLst>
          </c:dPt>
          <c:dPt>
            <c:idx val="785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5F-0F44-46BB-83EC-A9A6374BC748}"/>
              </c:ext>
            </c:extLst>
          </c:dPt>
          <c:dPt>
            <c:idx val="786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61-0F44-46BB-83EC-A9A6374BC748}"/>
              </c:ext>
            </c:extLst>
          </c:dPt>
          <c:dPt>
            <c:idx val="787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63-0F44-46BB-83EC-A9A6374BC748}"/>
              </c:ext>
            </c:extLst>
          </c:dPt>
          <c:dPt>
            <c:idx val="788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65-0F44-46BB-83EC-A9A6374BC748}"/>
              </c:ext>
            </c:extLst>
          </c:dPt>
          <c:dPt>
            <c:idx val="789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67-0F44-46BB-83EC-A9A6374BC748}"/>
              </c:ext>
            </c:extLst>
          </c:dPt>
          <c:dPt>
            <c:idx val="790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69-0F44-46BB-83EC-A9A6374BC748}"/>
              </c:ext>
            </c:extLst>
          </c:dPt>
          <c:dPt>
            <c:idx val="791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6B-0F44-46BB-83EC-A9A6374BC748}"/>
              </c:ext>
            </c:extLst>
          </c:dPt>
          <c:dPt>
            <c:idx val="792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6D-0F44-46BB-83EC-A9A6374BC748}"/>
              </c:ext>
            </c:extLst>
          </c:dPt>
          <c:dPt>
            <c:idx val="793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6F-0F44-46BB-83EC-A9A6374BC748}"/>
              </c:ext>
            </c:extLst>
          </c:dPt>
          <c:dPt>
            <c:idx val="794"/>
            <c:bubble3D val="0"/>
            <c:spPr>
              <a:ln w="25400" cap="rnd">
                <a:solidFill>
                  <a:srgbClr val="82786F"/>
                </a:solidFill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71-0F44-46BB-83EC-A9A6374BC748}"/>
              </c:ext>
            </c:extLst>
          </c:dPt>
          <c:dPt>
            <c:idx val="795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73-0F44-46BB-83EC-A9A6374BC748}"/>
              </c:ext>
            </c:extLst>
          </c:dPt>
          <c:dPt>
            <c:idx val="796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75-0F44-46BB-83EC-A9A6374BC748}"/>
              </c:ext>
            </c:extLst>
          </c:dPt>
          <c:dPt>
            <c:idx val="797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77-0F44-46BB-83EC-A9A6374BC748}"/>
              </c:ext>
            </c:extLst>
          </c:dPt>
          <c:dPt>
            <c:idx val="798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79-0F44-46BB-83EC-A9A6374BC748}"/>
              </c:ext>
            </c:extLst>
          </c:dPt>
          <c:dPt>
            <c:idx val="799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7B-0F44-46BB-83EC-A9A6374BC748}"/>
              </c:ext>
            </c:extLst>
          </c:dPt>
          <c:dPt>
            <c:idx val="800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7D-0F44-46BB-83EC-A9A6374BC748}"/>
              </c:ext>
            </c:extLst>
          </c:dPt>
          <c:dPt>
            <c:idx val="801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7F-0F44-46BB-83EC-A9A6374BC748}"/>
              </c:ext>
            </c:extLst>
          </c:dPt>
          <c:dPt>
            <c:idx val="802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81-0F44-46BB-83EC-A9A6374BC748}"/>
              </c:ext>
            </c:extLst>
          </c:dPt>
          <c:dPt>
            <c:idx val="803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83-0F44-46BB-83EC-A9A6374BC748}"/>
              </c:ext>
            </c:extLst>
          </c:dPt>
          <c:dPt>
            <c:idx val="804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85-0F44-46BB-83EC-A9A6374BC748}"/>
              </c:ext>
            </c:extLst>
          </c:dPt>
          <c:dPt>
            <c:idx val="805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87-0F44-46BB-83EC-A9A6374BC748}"/>
              </c:ext>
            </c:extLst>
          </c:dPt>
          <c:dPt>
            <c:idx val="806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89-0F44-46BB-83EC-A9A6374BC748}"/>
              </c:ext>
            </c:extLst>
          </c:dPt>
          <c:dPt>
            <c:idx val="807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8B-0F44-46BB-83EC-A9A6374BC748}"/>
              </c:ext>
            </c:extLst>
          </c:dPt>
          <c:dPt>
            <c:idx val="808"/>
            <c:bubble3D val="0"/>
            <c:spPr>
              <a:ln w="25400" cap="rnd">
                <a:solidFill>
                  <a:srgbClr val="82786F"/>
                </a:solidFill>
                <a:prstDash val="sysDash"/>
                <a:round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28D-0F44-46BB-83EC-A9A6374BC748}"/>
              </c:ext>
            </c:extLst>
          </c:dPt>
          <c:xVal>
            <c:numRef>
              <c:f>Sheet1!$A$2:$A$810</c:f>
              <c:numCache>
                <c:formatCode>General</c:formatCode>
                <c:ptCount val="809"/>
                <c:pt idx="0">
                  <c:v>0.0</c:v>
                </c:pt>
              </c:numCache>
            </c:numRef>
          </c:xVal>
          <c:yVal>
            <c:numRef>
              <c:f>Sheet1!$B$2:$B$810</c:f>
              <c:numCache>
                <c:formatCode>General</c:formatCode>
                <c:ptCount val="809"/>
                <c:pt idx="0">
                  <c:v>0.0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28E-0F44-46BB-83EC-A9A6374BC7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034905800"/>
        <c:axId val="-2034902312"/>
      </c:scatterChart>
      <c:valAx>
        <c:axId val="-2034905800"/>
        <c:scaling>
          <c:orientation val="minMax"/>
          <c:max val="50.0"/>
          <c:min val="0.0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rgbClr val="00196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1965"/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-2034902312"/>
        <c:crosses val="autoZero"/>
        <c:crossBetween val="midCat"/>
        <c:majorUnit val="8.0"/>
      </c:valAx>
      <c:valAx>
        <c:axId val="-2034902312"/>
        <c:scaling>
          <c:orientation val="minMax"/>
          <c:max val="20.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9050">
            <a:solidFill>
              <a:srgbClr val="00196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1965"/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-2034905800"/>
        <c:crossesAt val="0.0"/>
        <c:crossBetween val="midCat"/>
        <c:majorUnit val="5.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l-NL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3194810255077"/>
          <c:y val="0.0916802721158596"/>
          <c:w val="0.800730142029769"/>
          <c:h val="0.658492395903273"/>
        </c:manualLayout>
      </c:layout>
      <c:scatterChart>
        <c:scatterStyle val="lineMarker"/>
        <c:varyColors val="0"/>
        <c:ser>
          <c:idx val="0"/>
          <c:order val="0"/>
          <c:tx>
            <c:strRef>
              <c:f>'Scatter chart - by week'!$C$1</c:f>
              <c:strCache>
                <c:ptCount val="1"/>
                <c:pt idx="0">
                  <c:v>Iglar</c:v>
                </c:pt>
              </c:strCache>
            </c:strRef>
          </c:tx>
          <c:spPr>
            <a:ln w="19050">
              <a:solidFill>
                <a:schemeClr val="accent1"/>
              </a:solidFill>
            </a:ln>
          </c:spPr>
          <c:marker>
            <c:symbol val="none"/>
          </c:marker>
          <c:xVal>
            <c:numRef>
              <c:f>'Scatter chart - by week'!$A$2:$A$1292</c:f>
              <c:numCache>
                <c:formatCode>General</c:formatCode>
                <c:ptCount val="1291"/>
                <c:pt idx="0">
                  <c:v>0.0</c:v>
                </c:pt>
                <c:pt idx="1">
                  <c:v>0.0327868852459016</c:v>
                </c:pt>
                <c:pt idx="2">
                  <c:v>0.0655737704918033</c:v>
                </c:pt>
                <c:pt idx="3">
                  <c:v>0.0655737704918033</c:v>
                </c:pt>
                <c:pt idx="4">
                  <c:v>0.0983606557377049</c:v>
                </c:pt>
                <c:pt idx="5">
                  <c:v>0.0983606557377049</c:v>
                </c:pt>
                <c:pt idx="6">
                  <c:v>0.19672131147541</c:v>
                </c:pt>
                <c:pt idx="7">
                  <c:v>0.19672131147541</c:v>
                </c:pt>
                <c:pt idx="8">
                  <c:v>0.262295081967213</c:v>
                </c:pt>
                <c:pt idx="9">
                  <c:v>0.262295081967213</c:v>
                </c:pt>
                <c:pt idx="10">
                  <c:v>0.295081967213115</c:v>
                </c:pt>
                <c:pt idx="11">
                  <c:v>0.327868852459016</c:v>
                </c:pt>
                <c:pt idx="12">
                  <c:v>0.327868852459016</c:v>
                </c:pt>
                <c:pt idx="13">
                  <c:v>0.360655737704918</c:v>
                </c:pt>
                <c:pt idx="14">
                  <c:v>0.360655737704918</c:v>
                </c:pt>
                <c:pt idx="15">
                  <c:v>0.39344262295082</c:v>
                </c:pt>
                <c:pt idx="16">
                  <c:v>0.39344262295082</c:v>
                </c:pt>
                <c:pt idx="17">
                  <c:v>0.426229508196721</c:v>
                </c:pt>
                <c:pt idx="18">
                  <c:v>0.426229508196721</c:v>
                </c:pt>
                <c:pt idx="19">
                  <c:v>0.459016393442623</c:v>
                </c:pt>
                <c:pt idx="20">
                  <c:v>0.491803278688525</c:v>
                </c:pt>
                <c:pt idx="21">
                  <c:v>0.491803278688525</c:v>
                </c:pt>
                <c:pt idx="22">
                  <c:v>0.557377049180328</c:v>
                </c:pt>
                <c:pt idx="23">
                  <c:v>0.557377049180328</c:v>
                </c:pt>
                <c:pt idx="24">
                  <c:v>0.655737704918033</c:v>
                </c:pt>
                <c:pt idx="25">
                  <c:v>0.655737704918033</c:v>
                </c:pt>
                <c:pt idx="26">
                  <c:v>0.688524590163934</c:v>
                </c:pt>
                <c:pt idx="27">
                  <c:v>0.688524590163934</c:v>
                </c:pt>
                <c:pt idx="28">
                  <c:v>0.721311475409836</c:v>
                </c:pt>
                <c:pt idx="29">
                  <c:v>0.721311475409836</c:v>
                </c:pt>
                <c:pt idx="30">
                  <c:v>0.754098360655737</c:v>
                </c:pt>
                <c:pt idx="31">
                  <c:v>0.754098360655737</c:v>
                </c:pt>
                <c:pt idx="32">
                  <c:v>0.852459016393443</c:v>
                </c:pt>
                <c:pt idx="33">
                  <c:v>0.852459016393443</c:v>
                </c:pt>
                <c:pt idx="34">
                  <c:v>0.885245901639344</c:v>
                </c:pt>
                <c:pt idx="35">
                  <c:v>0.885245901639344</c:v>
                </c:pt>
                <c:pt idx="36">
                  <c:v>0.918032786885246</c:v>
                </c:pt>
                <c:pt idx="37">
                  <c:v>0.918032786885246</c:v>
                </c:pt>
                <c:pt idx="38">
                  <c:v>0.950819672131148</c:v>
                </c:pt>
                <c:pt idx="39">
                  <c:v>0.983606557377049</c:v>
                </c:pt>
                <c:pt idx="40">
                  <c:v>0.983606557377049</c:v>
                </c:pt>
                <c:pt idx="41">
                  <c:v>1.0</c:v>
                </c:pt>
                <c:pt idx="42">
                  <c:v>1.016393442622951</c:v>
                </c:pt>
                <c:pt idx="43">
                  <c:v>1.016393442622951</c:v>
                </c:pt>
                <c:pt idx="44">
                  <c:v>1.049180327868853</c:v>
                </c:pt>
                <c:pt idx="45">
                  <c:v>1.049180327868853</c:v>
                </c:pt>
                <c:pt idx="46">
                  <c:v>1.147540983606558</c:v>
                </c:pt>
                <c:pt idx="47">
                  <c:v>1.147540983606558</c:v>
                </c:pt>
                <c:pt idx="48">
                  <c:v>1.18032786885246</c:v>
                </c:pt>
                <c:pt idx="49">
                  <c:v>1.18032786885246</c:v>
                </c:pt>
                <c:pt idx="50">
                  <c:v>1.21311475409836</c:v>
                </c:pt>
                <c:pt idx="51">
                  <c:v>1.21311475409836</c:v>
                </c:pt>
                <c:pt idx="52">
                  <c:v>1.245901639344262</c:v>
                </c:pt>
                <c:pt idx="53">
                  <c:v>1.245901639344262</c:v>
                </c:pt>
                <c:pt idx="54">
                  <c:v>1.278688524590164</c:v>
                </c:pt>
                <c:pt idx="55">
                  <c:v>1.278688524590164</c:v>
                </c:pt>
                <c:pt idx="56">
                  <c:v>1.311475409836066</c:v>
                </c:pt>
                <c:pt idx="57">
                  <c:v>1.311475409836066</c:v>
                </c:pt>
                <c:pt idx="58">
                  <c:v>1.377049180327868</c:v>
                </c:pt>
                <c:pt idx="59">
                  <c:v>1.377049180327868</c:v>
                </c:pt>
                <c:pt idx="60">
                  <c:v>1.475409836065574</c:v>
                </c:pt>
                <c:pt idx="61">
                  <c:v>1.475409836065574</c:v>
                </c:pt>
                <c:pt idx="62">
                  <c:v>1.508196721311475</c:v>
                </c:pt>
                <c:pt idx="63">
                  <c:v>1.508196721311475</c:v>
                </c:pt>
                <c:pt idx="64">
                  <c:v>1.540983606557377</c:v>
                </c:pt>
                <c:pt idx="65">
                  <c:v>1.540983606557377</c:v>
                </c:pt>
                <c:pt idx="66">
                  <c:v>1.57377049180328</c:v>
                </c:pt>
                <c:pt idx="67">
                  <c:v>1.57377049180328</c:v>
                </c:pt>
                <c:pt idx="68">
                  <c:v>1.60655737704918</c:v>
                </c:pt>
                <c:pt idx="69">
                  <c:v>1.60655737704918</c:v>
                </c:pt>
                <c:pt idx="70">
                  <c:v>1.639344262295082</c:v>
                </c:pt>
                <c:pt idx="71">
                  <c:v>1.639344262295082</c:v>
                </c:pt>
                <c:pt idx="72">
                  <c:v>1.704918032786885</c:v>
                </c:pt>
                <c:pt idx="73">
                  <c:v>1.704918032786885</c:v>
                </c:pt>
                <c:pt idx="74">
                  <c:v>1.737704918032787</c:v>
                </c:pt>
                <c:pt idx="75">
                  <c:v>1.737704918032787</c:v>
                </c:pt>
                <c:pt idx="76">
                  <c:v>1.80327868852459</c:v>
                </c:pt>
                <c:pt idx="77">
                  <c:v>1.80327868852459</c:v>
                </c:pt>
                <c:pt idx="78">
                  <c:v>1.836065573770492</c:v>
                </c:pt>
                <c:pt idx="79">
                  <c:v>1.836065573770492</c:v>
                </c:pt>
                <c:pt idx="80">
                  <c:v>1.868852459016394</c:v>
                </c:pt>
                <c:pt idx="81">
                  <c:v>1.868852459016394</c:v>
                </c:pt>
                <c:pt idx="82">
                  <c:v>1.967213114754098</c:v>
                </c:pt>
                <c:pt idx="83">
                  <c:v>1.967213114754098</c:v>
                </c:pt>
                <c:pt idx="84">
                  <c:v>2.0</c:v>
                </c:pt>
                <c:pt idx="85">
                  <c:v>2.0</c:v>
                </c:pt>
                <c:pt idx="86">
                  <c:v>2.065573770491804</c:v>
                </c:pt>
                <c:pt idx="87">
                  <c:v>2.065573770491804</c:v>
                </c:pt>
                <c:pt idx="88">
                  <c:v>2.163934426229508</c:v>
                </c:pt>
                <c:pt idx="89">
                  <c:v>2.163934426229508</c:v>
                </c:pt>
                <c:pt idx="90">
                  <c:v>2.196721311475411</c:v>
                </c:pt>
                <c:pt idx="91">
                  <c:v>2.196721311475411</c:v>
                </c:pt>
                <c:pt idx="92">
                  <c:v>2.229508196721312</c:v>
                </c:pt>
                <c:pt idx="93">
                  <c:v>2.229508196721312</c:v>
                </c:pt>
                <c:pt idx="94">
                  <c:v>2.327868852459016</c:v>
                </c:pt>
                <c:pt idx="95">
                  <c:v>2.327868852459016</c:v>
                </c:pt>
                <c:pt idx="96">
                  <c:v>2.393442622950816</c:v>
                </c:pt>
                <c:pt idx="97">
                  <c:v>2.393442622950816</c:v>
                </c:pt>
                <c:pt idx="98">
                  <c:v>2.42622950819672</c:v>
                </c:pt>
                <c:pt idx="99">
                  <c:v>2.42622950819672</c:v>
                </c:pt>
                <c:pt idx="100">
                  <c:v>2.491803278688525</c:v>
                </c:pt>
                <c:pt idx="101">
                  <c:v>2.491803278688525</c:v>
                </c:pt>
                <c:pt idx="102">
                  <c:v>2.524590163934426</c:v>
                </c:pt>
                <c:pt idx="103">
                  <c:v>2.524590163934426</c:v>
                </c:pt>
                <c:pt idx="104">
                  <c:v>2.557377049180328</c:v>
                </c:pt>
                <c:pt idx="105">
                  <c:v>2.557377049180328</c:v>
                </c:pt>
                <c:pt idx="106">
                  <c:v>2.590163934426227</c:v>
                </c:pt>
                <c:pt idx="107">
                  <c:v>2.590163934426227</c:v>
                </c:pt>
                <c:pt idx="108">
                  <c:v>2.622950819672131</c:v>
                </c:pt>
                <c:pt idx="109">
                  <c:v>2.622950819672131</c:v>
                </c:pt>
                <c:pt idx="110">
                  <c:v>2.655737704918033</c:v>
                </c:pt>
                <c:pt idx="111">
                  <c:v>2.655737704918033</c:v>
                </c:pt>
                <c:pt idx="112">
                  <c:v>2.688524590163935</c:v>
                </c:pt>
                <c:pt idx="113">
                  <c:v>2.754098360655737</c:v>
                </c:pt>
                <c:pt idx="114">
                  <c:v>2.754098360655737</c:v>
                </c:pt>
                <c:pt idx="115">
                  <c:v>2.78688524590164</c:v>
                </c:pt>
                <c:pt idx="116">
                  <c:v>2.78688524590164</c:v>
                </c:pt>
                <c:pt idx="117">
                  <c:v>2.819672131147537</c:v>
                </c:pt>
                <c:pt idx="118">
                  <c:v>2.819672131147537</c:v>
                </c:pt>
                <c:pt idx="119">
                  <c:v>2.885245901639343</c:v>
                </c:pt>
                <c:pt idx="120">
                  <c:v>2.885245901639343</c:v>
                </c:pt>
                <c:pt idx="121">
                  <c:v>2.983606557377051</c:v>
                </c:pt>
                <c:pt idx="122">
                  <c:v>3.0</c:v>
                </c:pt>
                <c:pt idx="123">
                  <c:v>3.01639344262295</c:v>
                </c:pt>
                <c:pt idx="124">
                  <c:v>3.01639344262295</c:v>
                </c:pt>
                <c:pt idx="125">
                  <c:v>3.049180327868853</c:v>
                </c:pt>
                <c:pt idx="126">
                  <c:v>3.049180327868853</c:v>
                </c:pt>
                <c:pt idx="127">
                  <c:v>3.081967213114754</c:v>
                </c:pt>
                <c:pt idx="128">
                  <c:v>3.081967213114754</c:v>
                </c:pt>
                <c:pt idx="129">
                  <c:v>3.114754098360656</c:v>
                </c:pt>
                <c:pt idx="130">
                  <c:v>3.114754098360656</c:v>
                </c:pt>
                <c:pt idx="131">
                  <c:v>3.147540983606558</c:v>
                </c:pt>
                <c:pt idx="132">
                  <c:v>3.147540983606558</c:v>
                </c:pt>
                <c:pt idx="133">
                  <c:v>3.18032786885246</c:v>
                </c:pt>
                <c:pt idx="134">
                  <c:v>3.18032786885246</c:v>
                </c:pt>
                <c:pt idx="135">
                  <c:v>3.245901639344263</c:v>
                </c:pt>
                <c:pt idx="136">
                  <c:v>3.245901639344263</c:v>
                </c:pt>
                <c:pt idx="137">
                  <c:v>3.278688524590164</c:v>
                </c:pt>
                <c:pt idx="138">
                  <c:v>3.278688524590164</c:v>
                </c:pt>
                <c:pt idx="139">
                  <c:v>3.311475409836035</c:v>
                </c:pt>
                <c:pt idx="140">
                  <c:v>3.311475409836035</c:v>
                </c:pt>
                <c:pt idx="141">
                  <c:v>3.344262295081967</c:v>
                </c:pt>
                <c:pt idx="142">
                  <c:v>3.344262295081967</c:v>
                </c:pt>
                <c:pt idx="143">
                  <c:v>3.409836065573768</c:v>
                </c:pt>
                <c:pt idx="144">
                  <c:v>3.409836065573768</c:v>
                </c:pt>
                <c:pt idx="145">
                  <c:v>3.442622950819671</c:v>
                </c:pt>
                <c:pt idx="146">
                  <c:v>3.442622950819671</c:v>
                </c:pt>
                <c:pt idx="147">
                  <c:v>3.508196721311475</c:v>
                </c:pt>
                <c:pt idx="148">
                  <c:v>3.540983606557375</c:v>
                </c:pt>
                <c:pt idx="149">
                  <c:v>3.540983606557375</c:v>
                </c:pt>
                <c:pt idx="150">
                  <c:v>3.639344262295081</c:v>
                </c:pt>
                <c:pt idx="151">
                  <c:v>3.639344262295081</c:v>
                </c:pt>
                <c:pt idx="152">
                  <c:v>3.770491803278687</c:v>
                </c:pt>
                <c:pt idx="153">
                  <c:v>3.770491803278687</c:v>
                </c:pt>
                <c:pt idx="154">
                  <c:v>3.803278688524589</c:v>
                </c:pt>
                <c:pt idx="155">
                  <c:v>3.803278688524589</c:v>
                </c:pt>
                <c:pt idx="156">
                  <c:v>3.836065573770492</c:v>
                </c:pt>
                <c:pt idx="157">
                  <c:v>3.836065573770492</c:v>
                </c:pt>
                <c:pt idx="158">
                  <c:v>3.901639344262295</c:v>
                </c:pt>
                <c:pt idx="159">
                  <c:v>3.901639344262295</c:v>
                </c:pt>
                <c:pt idx="160">
                  <c:v>3.934426229508196</c:v>
                </c:pt>
                <c:pt idx="161">
                  <c:v>3.934426229508196</c:v>
                </c:pt>
                <c:pt idx="162">
                  <c:v>3.967213114754099</c:v>
                </c:pt>
                <c:pt idx="163">
                  <c:v>3.967213114754099</c:v>
                </c:pt>
                <c:pt idx="164">
                  <c:v>4.0</c:v>
                </c:pt>
                <c:pt idx="165">
                  <c:v>4.032786885245899</c:v>
                </c:pt>
                <c:pt idx="166">
                  <c:v>4.032786885245899</c:v>
                </c:pt>
                <c:pt idx="167">
                  <c:v>4.098360655737705</c:v>
                </c:pt>
                <c:pt idx="168">
                  <c:v>4.098360655737705</c:v>
                </c:pt>
                <c:pt idx="169">
                  <c:v>4.131147540983607</c:v>
                </c:pt>
                <c:pt idx="170">
                  <c:v>4.163934426229443</c:v>
                </c:pt>
                <c:pt idx="171">
                  <c:v>4.163934426229443</c:v>
                </c:pt>
                <c:pt idx="172">
                  <c:v>4.229508196721313</c:v>
                </c:pt>
                <c:pt idx="173">
                  <c:v>4.229508196721313</c:v>
                </c:pt>
                <c:pt idx="174">
                  <c:v>4.262295081967212</c:v>
                </c:pt>
                <c:pt idx="175">
                  <c:v>4.262295081967212</c:v>
                </c:pt>
                <c:pt idx="176">
                  <c:v>4.295081967213115</c:v>
                </c:pt>
                <c:pt idx="177">
                  <c:v>4.295081967213115</c:v>
                </c:pt>
                <c:pt idx="178">
                  <c:v>4.327868852458978</c:v>
                </c:pt>
                <c:pt idx="179">
                  <c:v>4.327868852458978</c:v>
                </c:pt>
                <c:pt idx="180">
                  <c:v>4.360655737704905</c:v>
                </c:pt>
                <c:pt idx="181">
                  <c:v>4.360655737704905</c:v>
                </c:pt>
                <c:pt idx="182">
                  <c:v>4.393442622950821</c:v>
                </c:pt>
                <c:pt idx="183">
                  <c:v>4.393442622950821</c:v>
                </c:pt>
                <c:pt idx="184">
                  <c:v>4.491803278688525</c:v>
                </c:pt>
                <c:pt idx="185">
                  <c:v>4.491803278688525</c:v>
                </c:pt>
                <c:pt idx="186">
                  <c:v>4.557377049180328</c:v>
                </c:pt>
                <c:pt idx="187">
                  <c:v>4.557377049180328</c:v>
                </c:pt>
                <c:pt idx="188">
                  <c:v>4.622950819672088</c:v>
                </c:pt>
                <c:pt idx="189">
                  <c:v>4.655737704918032</c:v>
                </c:pt>
                <c:pt idx="190">
                  <c:v>4.655737704918032</c:v>
                </c:pt>
                <c:pt idx="191">
                  <c:v>4.688524590163935</c:v>
                </c:pt>
                <c:pt idx="192">
                  <c:v>4.688524590163935</c:v>
                </c:pt>
                <c:pt idx="193">
                  <c:v>4.754098360655726</c:v>
                </c:pt>
                <c:pt idx="194">
                  <c:v>4.754098360655726</c:v>
                </c:pt>
                <c:pt idx="195">
                  <c:v>4.819672131147541</c:v>
                </c:pt>
                <c:pt idx="196">
                  <c:v>4.819672131147541</c:v>
                </c:pt>
                <c:pt idx="197">
                  <c:v>4.852459016393436</c:v>
                </c:pt>
                <c:pt idx="198">
                  <c:v>4.852459016393436</c:v>
                </c:pt>
                <c:pt idx="199">
                  <c:v>4.885245901639344</c:v>
                </c:pt>
                <c:pt idx="200">
                  <c:v>4.885245901639344</c:v>
                </c:pt>
                <c:pt idx="201">
                  <c:v>4.918032786885246</c:v>
                </c:pt>
                <c:pt idx="202">
                  <c:v>4.918032786885246</c:v>
                </c:pt>
                <c:pt idx="203">
                  <c:v>4.983606557377048</c:v>
                </c:pt>
                <c:pt idx="204">
                  <c:v>4.983606557377048</c:v>
                </c:pt>
                <c:pt idx="205">
                  <c:v>5.0</c:v>
                </c:pt>
                <c:pt idx="206">
                  <c:v>5.016393442622951</c:v>
                </c:pt>
                <c:pt idx="207">
                  <c:v>5.049180327868847</c:v>
                </c:pt>
                <c:pt idx="208">
                  <c:v>5.049180327868847</c:v>
                </c:pt>
                <c:pt idx="209">
                  <c:v>5.114754098360645</c:v>
                </c:pt>
                <c:pt idx="210">
                  <c:v>5.114754098360645</c:v>
                </c:pt>
                <c:pt idx="211">
                  <c:v>5.147540983606556</c:v>
                </c:pt>
                <c:pt idx="212">
                  <c:v>5.147540983606556</c:v>
                </c:pt>
                <c:pt idx="213">
                  <c:v>5.180327868852435</c:v>
                </c:pt>
                <c:pt idx="214">
                  <c:v>5.245901639344263</c:v>
                </c:pt>
                <c:pt idx="215">
                  <c:v>5.245901639344263</c:v>
                </c:pt>
                <c:pt idx="216">
                  <c:v>5.27868852459017</c:v>
                </c:pt>
                <c:pt idx="217">
                  <c:v>5.27868852459017</c:v>
                </c:pt>
                <c:pt idx="218">
                  <c:v>5.311475409836065</c:v>
                </c:pt>
                <c:pt idx="219">
                  <c:v>5.37704918032787</c:v>
                </c:pt>
                <c:pt idx="220">
                  <c:v>5.37704918032787</c:v>
                </c:pt>
                <c:pt idx="221">
                  <c:v>5.40983606557377</c:v>
                </c:pt>
                <c:pt idx="222">
                  <c:v>5.40983606557377</c:v>
                </c:pt>
                <c:pt idx="223">
                  <c:v>5.475409836065574</c:v>
                </c:pt>
                <c:pt idx="224">
                  <c:v>5.475409836065574</c:v>
                </c:pt>
                <c:pt idx="225">
                  <c:v>5.508196721311474</c:v>
                </c:pt>
                <c:pt idx="226">
                  <c:v>5.508196721311474</c:v>
                </c:pt>
                <c:pt idx="227">
                  <c:v>5.540983606557376</c:v>
                </c:pt>
                <c:pt idx="228">
                  <c:v>5.540983606557376</c:v>
                </c:pt>
                <c:pt idx="229">
                  <c:v>5.57377049180328</c:v>
                </c:pt>
                <c:pt idx="230">
                  <c:v>5.57377049180328</c:v>
                </c:pt>
                <c:pt idx="231">
                  <c:v>5.639344262295077</c:v>
                </c:pt>
                <c:pt idx="232">
                  <c:v>5.639344262295077</c:v>
                </c:pt>
                <c:pt idx="233">
                  <c:v>5.704918032786876</c:v>
                </c:pt>
                <c:pt idx="234">
                  <c:v>5.704918032786876</c:v>
                </c:pt>
                <c:pt idx="235">
                  <c:v>5.737704918032787</c:v>
                </c:pt>
                <c:pt idx="236">
                  <c:v>5.737704918032787</c:v>
                </c:pt>
                <c:pt idx="237">
                  <c:v>5.836065573770488</c:v>
                </c:pt>
                <c:pt idx="238">
                  <c:v>5.836065573770488</c:v>
                </c:pt>
                <c:pt idx="239">
                  <c:v>5.868852459016375</c:v>
                </c:pt>
                <c:pt idx="240">
                  <c:v>5.868852459016375</c:v>
                </c:pt>
                <c:pt idx="241">
                  <c:v>5.934426229508198</c:v>
                </c:pt>
                <c:pt idx="242">
                  <c:v>5.934426229508198</c:v>
                </c:pt>
                <c:pt idx="243">
                  <c:v>6.0</c:v>
                </c:pt>
                <c:pt idx="244">
                  <c:v>6.0</c:v>
                </c:pt>
                <c:pt idx="245">
                  <c:v>6.032786885245899</c:v>
                </c:pt>
                <c:pt idx="246">
                  <c:v>6.032786885245899</c:v>
                </c:pt>
                <c:pt idx="247">
                  <c:v>6.098360655737705</c:v>
                </c:pt>
                <c:pt idx="248">
                  <c:v>6.098360655737705</c:v>
                </c:pt>
                <c:pt idx="249">
                  <c:v>6.131147540983605</c:v>
                </c:pt>
                <c:pt idx="250">
                  <c:v>6.131147540983605</c:v>
                </c:pt>
                <c:pt idx="251">
                  <c:v>6.163934426229445</c:v>
                </c:pt>
                <c:pt idx="252">
                  <c:v>6.163934426229445</c:v>
                </c:pt>
                <c:pt idx="253">
                  <c:v>6.196721311475406</c:v>
                </c:pt>
                <c:pt idx="254">
                  <c:v>6.196721311475406</c:v>
                </c:pt>
                <c:pt idx="255">
                  <c:v>6.229508196721312</c:v>
                </c:pt>
                <c:pt idx="256">
                  <c:v>6.229508196721312</c:v>
                </c:pt>
                <c:pt idx="257">
                  <c:v>6.262295081967212</c:v>
                </c:pt>
                <c:pt idx="258">
                  <c:v>6.262295081967212</c:v>
                </c:pt>
                <c:pt idx="259">
                  <c:v>6.426229508196721</c:v>
                </c:pt>
                <c:pt idx="260">
                  <c:v>6.426229508196721</c:v>
                </c:pt>
                <c:pt idx="261">
                  <c:v>6.491803278688527</c:v>
                </c:pt>
                <c:pt idx="262">
                  <c:v>6.491803278688527</c:v>
                </c:pt>
                <c:pt idx="263">
                  <c:v>6.524590163934426</c:v>
                </c:pt>
                <c:pt idx="264">
                  <c:v>6.524590163934426</c:v>
                </c:pt>
                <c:pt idx="265">
                  <c:v>6.557377049180329</c:v>
                </c:pt>
                <c:pt idx="266">
                  <c:v>6.557377049180329</c:v>
                </c:pt>
                <c:pt idx="267">
                  <c:v>6.622950819672088</c:v>
                </c:pt>
                <c:pt idx="268">
                  <c:v>6.622950819672088</c:v>
                </c:pt>
                <c:pt idx="269">
                  <c:v>6.655737704918031</c:v>
                </c:pt>
                <c:pt idx="270">
                  <c:v>6.655737704918031</c:v>
                </c:pt>
                <c:pt idx="271">
                  <c:v>6.721311475409835</c:v>
                </c:pt>
                <c:pt idx="272">
                  <c:v>6.721311475409835</c:v>
                </c:pt>
                <c:pt idx="273">
                  <c:v>6.852459016393436</c:v>
                </c:pt>
                <c:pt idx="274">
                  <c:v>6.885245901639342</c:v>
                </c:pt>
                <c:pt idx="275">
                  <c:v>6.885245901639342</c:v>
                </c:pt>
                <c:pt idx="276">
                  <c:v>6.91803278688525</c:v>
                </c:pt>
                <c:pt idx="277">
                  <c:v>6.91803278688525</c:v>
                </c:pt>
                <c:pt idx="278">
                  <c:v>6.950819672131147</c:v>
                </c:pt>
                <c:pt idx="279">
                  <c:v>6.950819672131147</c:v>
                </c:pt>
                <c:pt idx="280">
                  <c:v>6.983606557377048</c:v>
                </c:pt>
                <c:pt idx="281">
                  <c:v>6.983606557377048</c:v>
                </c:pt>
                <c:pt idx="282">
                  <c:v>7.0</c:v>
                </c:pt>
                <c:pt idx="283">
                  <c:v>7.049180327868847</c:v>
                </c:pt>
                <c:pt idx="284">
                  <c:v>7.049180327868847</c:v>
                </c:pt>
                <c:pt idx="285">
                  <c:v>7.08196721311475</c:v>
                </c:pt>
                <c:pt idx="286">
                  <c:v>7.08196721311475</c:v>
                </c:pt>
                <c:pt idx="287">
                  <c:v>7.147540983606556</c:v>
                </c:pt>
                <c:pt idx="288">
                  <c:v>7.147540983606556</c:v>
                </c:pt>
                <c:pt idx="289">
                  <c:v>7.180327868852435</c:v>
                </c:pt>
                <c:pt idx="290">
                  <c:v>7.180327868852435</c:v>
                </c:pt>
                <c:pt idx="291">
                  <c:v>7.213114754098346</c:v>
                </c:pt>
                <c:pt idx="292">
                  <c:v>7.213114754098346</c:v>
                </c:pt>
                <c:pt idx="293">
                  <c:v>7.27868852459017</c:v>
                </c:pt>
                <c:pt idx="294">
                  <c:v>7.40983606557377</c:v>
                </c:pt>
                <c:pt idx="295">
                  <c:v>7.40983606557377</c:v>
                </c:pt>
                <c:pt idx="296">
                  <c:v>7.475409836065574</c:v>
                </c:pt>
                <c:pt idx="297">
                  <c:v>7.475409836065574</c:v>
                </c:pt>
                <c:pt idx="298">
                  <c:v>7.540983606557375</c:v>
                </c:pt>
                <c:pt idx="299">
                  <c:v>7.540983606557375</c:v>
                </c:pt>
                <c:pt idx="300">
                  <c:v>7.57377049180328</c:v>
                </c:pt>
                <c:pt idx="301">
                  <c:v>7.57377049180328</c:v>
                </c:pt>
                <c:pt idx="302">
                  <c:v>7.606557377049166</c:v>
                </c:pt>
                <c:pt idx="303">
                  <c:v>7.672131147540964</c:v>
                </c:pt>
                <c:pt idx="304">
                  <c:v>7.672131147540964</c:v>
                </c:pt>
                <c:pt idx="305">
                  <c:v>7.704918032786876</c:v>
                </c:pt>
                <c:pt idx="306">
                  <c:v>7.704918032786876</c:v>
                </c:pt>
                <c:pt idx="307">
                  <c:v>7.803278688524591</c:v>
                </c:pt>
                <c:pt idx="308">
                  <c:v>7.803278688524591</c:v>
                </c:pt>
                <c:pt idx="309">
                  <c:v>7.836065573770495</c:v>
                </c:pt>
                <c:pt idx="310">
                  <c:v>7.868852459016375</c:v>
                </c:pt>
                <c:pt idx="311">
                  <c:v>7.868852459016375</c:v>
                </c:pt>
                <c:pt idx="312">
                  <c:v>7.901639344262298</c:v>
                </c:pt>
                <c:pt idx="313">
                  <c:v>7.901639344262298</c:v>
                </c:pt>
                <c:pt idx="314">
                  <c:v>7.934426229508198</c:v>
                </c:pt>
                <c:pt idx="315">
                  <c:v>7.934426229508198</c:v>
                </c:pt>
                <c:pt idx="316">
                  <c:v>8.0</c:v>
                </c:pt>
                <c:pt idx="317">
                  <c:v>8.0</c:v>
                </c:pt>
                <c:pt idx="318">
                  <c:v>8.03278688524591</c:v>
                </c:pt>
                <c:pt idx="319">
                  <c:v>8.03278688524591</c:v>
                </c:pt>
                <c:pt idx="320">
                  <c:v>8.065573770491798</c:v>
                </c:pt>
                <c:pt idx="321">
                  <c:v>8.098360655737698</c:v>
                </c:pt>
                <c:pt idx="322">
                  <c:v>8.098360655737698</c:v>
                </c:pt>
                <c:pt idx="323">
                  <c:v>8.131147540983605</c:v>
                </c:pt>
                <c:pt idx="324">
                  <c:v>8.131147540983605</c:v>
                </c:pt>
                <c:pt idx="325">
                  <c:v>8.163934426229506</c:v>
                </c:pt>
                <c:pt idx="326">
                  <c:v>8.163934426229506</c:v>
                </c:pt>
                <c:pt idx="327">
                  <c:v>8.196721311475398</c:v>
                </c:pt>
                <c:pt idx="328">
                  <c:v>8.196721311475398</c:v>
                </c:pt>
                <c:pt idx="329">
                  <c:v>8.229508196721312</c:v>
                </c:pt>
                <c:pt idx="330">
                  <c:v>8.229508196721312</c:v>
                </c:pt>
                <c:pt idx="331">
                  <c:v>8.262295081967216</c:v>
                </c:pt>
                <c:pt idx="332">
                  <c:v>8.36065573770493</c:v>
                </c:pt>
                <c:pt idx="333">
                  <c:v>8.36065573770493</c:v>
                </c:pt>
                <c:pt idx="334">
                  <c:v>8.426229508196717</c:v>
                </c:pt>
                <c:pt idx="335">
                  <c:v>8.426229508196717</c:v>
                </c:pt>
                <c:pt idx="336">
                  <c:v>8.45901639344263</c:v>
                </c:pt>
                <c:pt idx="337">
                  <c:v>8.45901639344263</c:v>
                </c:pt>
                <c:pt idx="338">
                  <c:v>8.524590163934418</c:v>
                </c:pt>
                <c:pt idx="339">
                  <c:v>8.524590163934418</c:v>
                </c:pt>
                <c:pt idx="340">
                  <c:v>8.557377049180328</c:v>
                </c:pt>
                <c:pt idx="341">
                  <c:v>8.590163934426232</c:v>
                </c:pt>
                <c:pt idx="342">
                  <c:v>8.590163934426232</c:v>
                </c:pt>
                <c:pt idx="343">
                  <c:v>8.655737704918036</c:v>
                </c:pt>
                <c:pt idx="344">
                  <c:v>8.655737704918036</c:v>
                </c:pt>
                <c:pt idx="345">
                  <c:v>8.754098360655698</c:v>
                </c:pt>
                <c:pt idx="346">
                  <c:v>8.786885245901652</c:v>
                </c:pt>
                <c:pt idx="347">
                  <c:v>8.786885245901652</c:v>
                </c:pt>
                <c:pt idx="348">
                  <c:v>8.88524590163935</c:v>
                </c:pt>
                <c:pt idx="349">
                  <c:v>8.88524590163935</c:v>
                </c:pt>
                <c:pt idx="350">
                  <c:v>8.950819672131151</c:v>
                </c:pt>
                <c:pt idx="351">
                  <c:v>8.950819672131151</c:v>
                </c:pt>
                <c:pt idx="352">
                  <c:v>8.98360655737705</c:v>
                </c:pt>
                <c:pt idx="353">
                  <c:v>8.98360655737705</c:v>
                </c:pt>
                <c:pt idx="354">
                  <c:v>9.0</c:v>
                </c:pt>
                <c:pt idx="355">
                  <c:v>9.016393442622948</c:v>
                </c:pt>
                <c:pt idx="356">
                  <c:v>9.081967213114751</c:v>
                </c:pt>
                <c:pt idx="357">
                  <c:v>9.081967213114751</c:v>
                </c:pt>
                <c:pt idx="358">
                  <c:v>9.213114754098358</c:v>
                </c:pt>
                <c:pt idx="359">
                  <c:v>9.213114754098358</c:v>
                </c:pt>
                <c:pt idx="360">
                  <c:v>9.245901639344262</c:v>
                </c:pt>
                <c:pt idx="361">
                  <c:v>9.245901639344262</c:v>
                </c:pt>
                <c:pt idx="362">
                  <c:v>9.311475409836063</c:v>
                </c:pt>
                <c:pt idx="363">
                  <c:v>9.34426229508197</c:v>
                </c:pt>
                <c:pt idx="364">
                  <c:v>9.34426229508197</c:v>
                </c:pt>
                <c:pt idx="365">
                  <c:v>9.37704918032787</c:v>
                </c:pt>
                <c:pt idx="366">
                  <c:v>9.37704918032787</c:v>
                </c:pt>
                <c:pt idx="367">
                  <c:v>9.508196721311441</c:v>
                </c:pt>
                <c:pt idx="368">
                  <c:v>9.508196721311441</c:v>
                </c:pt>
                <c:pt idx="369">
                  <c:v>9.540983606557368</c:v>
                </c:pt>
                <c:pt idx="370">
                  <c:v>9.540983606557368</c:v>
                </c:pt>
                <c:pt idx="371">
                  <c:v>9.573770491803282</c:v>
                </c:pt>
                <c:pt idx="372">
                  <c:v>9.573770491803282</c:v>
                </c:pt>
                <c:pt idx="373">
                  <c:v>9.60655737704918</c:v>
                </c:pt>
                <c:pt idx="374">
                  <c:v>9.60655737704918</c:v>
                </c:pt>
                <c:pt idx="375">
                  <c:v>9.704918032786848</c:v>
                </c:pt>
                <c:pt idx="376">
                  <c:v>9.704918032786848</c:v>
                </c:pt>
                <c:pt idx="377">
                  <c:v>9.737704918032783</c:v>
                </c:pt>
                <c:pt idx="378">
                  <c:v>9.737704918032783</c:v>
                </c:pt>
                <c:pt idx="379">
                  <c:v>9.770491803278687</c:v>
                </c:pt>
                <c:pt idx="380">
                  <c:v>9.770491803278687</c:v>
                </c:pt>
                <c:pt idx="381">
                  <c:v>9.803278688524571</c:v>
                </c:pt>
                <c:pt idx="382">
                  <c:v>9.803278688524571</c:v>
                </c:pt>
                <c:pt idx="383">
                  <c:v>9.836065573770492</c:v>
                </c:pt>
                <c:pt idx="384">
                  <c:v>9.836065573770492</c:v>
                </c:pt>
                <c:pt idx="385">
                  <c:v>9.901639344262306</c:v>
                </c:pt>
                <c:pt idx="386">
                  <c:v>9.901639344262306</c:v>
                </c:pt>
                <c:pt idx="387">
                  <c:v>9.9344262295082</c:v>
                </c:pt>
                <c:pt idx="388">
                  <c:v>9.9344262295082</c:v>
                </c:pt>
                <c:pt idx="389">
                  <c:v>9.967213114754098</c:v>
                </c:pt>
                <c:pt idx="390">
                  <c:v>9.967213114754098</c:v>
                </c:pt>
                <c:pt idx="391">
                  <c:v>10.0</c:v>
                </c:pt>
                <c:pt idx="392">
                  <c:v>10.0</c:v>
                </c:pt>
                <c:pt idx="393">
                  <c:v>10.0327868852459</c:v>
                </c:pt>
                <c:pt idx="394">
                  <c:v>10.0327868852459</c:v>
                </c:pt>
                <c:pt idx="395">
                  <c:v>10.0655737704918</c:v>
                </c:pt>
                <c:pt idx="396">
                  <c:v>10.0655737704918</c:v>
                </c:pt>
                <c:pt idx="397">
                  <c:v>10.0983606557377</c:v>
                </c:pt>
                <c:pt idx="398">
                  <c:v>10.0983606557377</c:v>
                </c:pt>
                <c:pt idx="399">
                  <c:v>10.13114754098361</c:v>
                </c:pt>
                <c:pt idx="400">
                  <c:v>10.13114754098361</c:v>
                </c:pt>
                <c:pt idx="401">
                  <c:v>10.16393442622951</c:v>
                </c:pt>
                <c:pt idx="402">
                  <c:v>10.16393442622951</c:v>
                </c:pt>
                <c:pt idx="403">
                  <c:v>10.22950819672131</c:v>
                </c:pt>
                <c:pt idx="404">
                  <c:v>10.22950819672131</c:v>
                </c:pt>
                <c:pt idx="405">
                  <c:v>10.26229508196721</c:v>
                </c:pt>
                <c:pt idx="406">
                  <c:v>10.26229508196721</c:v>
                </c:pt>
                <c:pt idx="407">
                  <c:v>10.29508196721312</c:v>
                </c:pt>
                <c:pt idx="408">
                  <c:v>10.32786885245902</c:v>
                </c:pt>
                <c:pt idx="409">
                  <c:v>10.32786885245902</c:v>
                </c:pt>
                <c:pt idx="410">
                  <c:v>10.36065573770492</c:v>
                </c:pt>
                <c:pt idx="411">
                  <c:v>10.36065573770492</c:v>
                </c:pt>
                <c:pt idx="412">
                  <c:v>10.39344262295082</c:v>
                </c:pt>
                <c:pt idx="413">
                  <c:v>10.39344262295082</c:v>
                </c:pt>
                <c:pt idx="414">
                  <c:v>10.45901639344263</c:v>
                </c:pt>
                <c:pt idx="415">
                  <c:v>10.62295081967213</c:v>
                </c:pt>
                <c:pt idx="416">
                  <c:v>10.62295081967213</c:v>
                </c:pt>
                <c:pt idx="417">
                  <c:v>10.65573770491803</c:v>
                </c:pt>
                <c:pt idx="418">
                  <c:v>10.65573770491803</c:v>
                </c:pt>
                <c:pt idx="419">
                  <c:v>10.68852459016394</c:v>
                </c:pt>
                <c:pt idx="420">
                  <c:v>10.68852459016394</c:v>
                </c:pt>
                <c:pt idx="421">
                  <c:v>10.72131147540983</c:v>
                </c:pt>
                <c:pt idx="422">
                  <c:v>10.72131147540983</c:v>
                </c:pt>
                <c:pt idx="423">
                  <c:v>10.75409836065574</c:v>
                </c:pt>
                <c:pt idx="424">
                  <c:v>10.75409836065574</c:v>
                </c:pt>
                <c:pt idx="425">
                  <c:v>10.78688524590164</c:v>
                </c:pt>
                <c:pt idx="426">
                  <c:v>10.78688524590164</c:v>
                </c:pt>
                <c:pt idx="427">
                  <c:v>10.81967213114754</c:v>
                </c:pt>
                <c:pt idx="428">
                  <c:v>10.81967213114754</c:v>
                </c:pt>
                <c:pt idx="429">
                  <c:v>10.85245901639344</c:v>
                </c:pt>
                <c:pt idx="430">
                  <c:v>10.85245901639344</c:v>
                </c:pt>
                <c:pt idx="431">
                  <c:v>10.88524590163935</c:v>
                </c:pt>
                <c:pt idx="432">
                  <c:v>10.88524590163935</c:v>
                </c:pt>
                <c:pt idx="433">
                  <c:v>10.91803278688525</c:v>
                </c:pt>
                <c:pt idx="434">
                  <c:v>10.91803278688525</c:v>
                </c:pt>
                <c:pt idx="435">
                  <c:v>10.95081967213115</c:v>
                </c:pt>
                <c:pt idx="436">
                  <c:v>10.95081967213115</c:v>
                </c:pt>
                <c:pt idx="437">
                  <c:v>11.0</c:v>
                </c:pt>
                <c:pt idx="438">
                  <c:v>11.08196721311475</c:v>
                </c:pt>
                <c:pt idx="439">
                  <c:v>11.08196721311475</c:v>
                </c:pt>
                <c:pt idx="440">
                  <c:v>11.11475409836066</c:v>
                </c:pt>
                <c:pt idx="441">
                  <c:v>11.11475409836066</c:v>
                </c:pt>
                <c:pt idx="442">
                  <c:v>11.14754098360656</c:v>
                </c:pt>
                <c:pt idx="443">
                  <c:v>11.14754098360656</c:v>
                </c:pt>
                <c:pt idx="444">
                  <c:v>11.18032786885246</c:v>
                </c:pt>
                <c:pt idx="445">
                  <c:v>11.18032786885246</c:v>
                </c:pt>
                <c:pt idx="446">
                  <c:v>11.21311475409836</c:v>
                </c:pt>
                <c:pt idx="447">
                  <c:v>11.21311475409836</c:v>
                </c:pt>
                <c:pt idx="448">
                  <c:v>11.24590163934426</c:v>
                </c:pt>
                <c:pt idx="449">
                  <c:v>11.24590163934426</c:v>
                </c:pt>
                <c:pt idx="450">
                  <c:v>11.27868852459016</c:v>
                </c:pt>
                <c:pt idx="451">
                  <c:v>11.27868852459016</c:v>
                </c:pt>
                <c:pt idx="452">
                  <c:v>11.34426229508197</c:v>
                </c:pt>
                <c:pt idx="453">
                  <c:v>11.34426229508197</c:v>
                </c:pt>
                <c:pt idx="454">
                  <c:v>11.40983606557377</c:v>
                </c:pt>
                <c:pt idx="455">
                  <c:v>11.40983606557377</c:v>
                </c:pt>
                <c:pt idx="456">
                  <c:v>11.44262295081967</c:v>
                </c:pt>
                <c:pt idx="457">
                  <c:v>11.47540983606558</c:v>
                </c:pt>
                <c:pt idx="458">
                  <c:v>11.47540983606558</c:v>
                </c:pt>
                <c:pt idx="459">
                  <c:v>11.50819672131148</c:v>
                </c:pt>
                <c:pt idx="460">
                  <c:v>11.50819672131148</c:v>
                </c:pt>
                <c:pt idx="461">
                  <c:v>11.57377049180328</c:v>
                </c:pt>
                <c:pt idx="462">
                  <c:v>11.57377049180328</c:v>
                </c:pt>
                <c:pt idx="463">
                  <c:v>11.60655737704918</c:v>
                </c:pt>
                <c:pt idx="464">
                  <c:v>11.60655737704918</c:v>
                </c:pt>
                <c:pt idx="465">
                  <c:v>11.63934426229508</c:v>
                </c:pt>
                <c:pt idx="466">
                  <c:v>11.63934426229508</c:v>
                </c:pt>
                <c:pt idx="467">
                  <c:v>11.67213114754098</c:v>
                </c:pt>
                <c:pt idx="468">
                  <c:v>11.67213114754098</c:v>
                </c:pt>
                <c:pt idx="469">
                  <c:v>11.70491803278688</c:v>
                </c:pt>
                <c:pt idx="470">
                  <c:v>11.70491803278688</c:v>
                </c:pt>
                <c:pt idx="471">
                  <c:v>11.7377049180328</c:v>
                </c:pt>
                <c:pt idx="472">
                  <c:v>11.7377049180328</c:v>
                </c:pt>
                <c:pt idx="473">
                  <c:v>11.7704918032787</c:v>
                </c:pt>
                <c:pt idx="474">
                  <c:v>11.7704918032787</c:v>
                </c:pt>
                <c:pt idx="475">
                  <c:v>11.8360655737705</c:v>
                </c:pt>
                <c:pt idx="476">
                  <c:v>11.8360655737705</c:v>
                </c:pt>
                <c:pt idx="477">
                  <c:v>11.8688524590164</c:v>
                </c:pt>
                <c:pt idx="478">
                  <c:v>11.8688524590164</c:v>
                </c:pt>
                <c:pt idx="479">
                  <c:v>11.9016393442623</c:v>
                </c:pt>
                <c:pt idx="480">
                  <c:v>11.9016393442623</c:v>
                </c:pt>
                <c:pt idx="481">
                  <c:v>11.93442622950821</c:v>
                </c:pt>
                <c:pt idx="482">
                  <c:v>11.93442622950821</c:v>
                </c:pt>
                <c:pt idx="483">
                  <c:v>11.9672131147541</c:v>
                </c:pt>
                <c:pt idx="484">
                  <c:v>11.9672131147541</c:v>
                </c:pt>
                <c:pt idx="485">
                  <c:v>12.0</c:v>
                </c:pt>
                <c:pt idx="486">
                  <c:v>12.0</c:v>
                </c:pt>
                <c:pt idx="487">
                  <c:v>12.0327868852459</c:v>
                </c:pt>
                <c:pt idx="488">
                  <c:v>12.0327868852459</c:v>
                </c:pt>
                <c:pt idx="489">
                  <c:v>12.0983606557377</c:v>
                </c:pt>
                <c:pt idx="490">
                  <c:v>12.0983606557377</c:v>
                </c:pt>
                <c:pt idx="491">
                  <c:v>12.16393442622951</c:v>
                </c:pt>
                <c:pt idx="492">
                  <c:v>12.22950819672131</c:v>
                </c:pt>
                <c:pt idx="493">
                  <c:v>12.22950819672131</c:v>
                </c:pt>
                <c:pt idx="494">
                  <c:v>12.26229508196721</c:v>
                </c:pt>
                <c:pt idx="495">
                  <c:v>12.26229508196721</c:v>
                </c:pt>
                <c:pt idx="496">
                  <c:v>12.29508196721311</c:v>
                </c:pt>
                <c:pt idx="497">
                  <c:v>12.32786885245902</c:v>
                </c:pt>
                <c:pt idx="498">
                  <c:v>12.42622950819672</c:v>
                </c:pt>
                <c:pt idx="499">
                  <c:v>12.42622950819672</c:v>
                </c:pt>
                <c:pt idx="500">
                  <c:v>12.45901639344263</c:v>
                </c:pt>
                <c:pt idx="501">
                  <c:v>12.45901639344263</c:v>
                </c:pt>
                <c:pt idx="502">
                  <c:v>12.52459016393442</c:v>
                </c:pt>
                <c:pt idx="503">
                  <c:v>12.52459016393442</c:v>
                </c:pt>
                <c:pt idx="504">
                  <c:v>12.59016393442623</c:v>
                </c:pt>
                <c:pt idx="505">
                  <c:v>12.62295081967213</c:v>
                </c:pt>
                <c:pt idx="506">
                  <c:v>12.68852459016394</c:v>
                </c:pt>
                <c:pt idx="507">
                  <c:v>12.68852459016394</c:v>
                </c:pt>
                <c:pt idx="508">
                  <c:v>12.72131147540983</c:v>
                </c:pt>
                <c:pt idx="509">
                  <c:v>12.72131147540983</c:v>
                </c:pt>
                <c:pt idx="510">
                  <c:v>12.75409836065574</c:v>
                </c:pt>
                <c:pt idx="511">
                  <c:v>12.75409836065574</c:v>
                </c:pt>
                <c:pt idx="512">
                  <c:v>12.78688524590164</c:v>
                </c:pt>
                <c:pt idx="513">
                  <c:v>12.81967213114754</c:v>
                </c:pt>
                <c:pt idx="514">
                  <c:v>12.81967213114754</c:v>
                </c:pt>
                <c:pt idx="515">
                  <c:v>12.85245901639344</c:v>
                </c:pt>
                <c:pt idx="516">
                  <c:v>12.85245901639344</c:v>
                </c:pt>
                <c:pt idx="517">
                  <c:v>12.88524590163934</c:v>
                </c:pt>
                <c:pt idx="518">
                  <c:v>12.88524590163934</c:v>
                </c:pt>
                <c:pt idx="519">
                  <c:v>12.91803278688525</c:v>
                </c:pt>
                <c:pt idx="520">
                  <c:v>12.91803278688525</c:v>
                </c:pt>
                <c:pt idx="521">
                  <c:v>12.95081967213115</c:v>
                </c:pt>
                <c:pt idx="522">
                  <c:v>12.95081967213115</c:v>
                </c:pt>
                <c:pt idx="523">
                  <c:v>12.98360655737705</c:v>
                </c:pt>
                <c:pt idx="524">
                  <c:v>12.98360655737705</c:v>
                </c:pt>
                <c:pt idx="525">
                  <c:v>13.0</c:v>
                </c:pt>
                <c:pt idx="526">
                  <c:v>13.01639344262295</c:v>
                </c:pt>
                <c:pt idx="527">
                  <c:v>13.01639344262295</c:v>
                </c:pt>
                <c:pt idx="528">
                  <c:v>13.04918032786885</c:v>
                </c:pt>
                <c:pt idx="529">
                  <c:v>13.04918032786885</c:v>
                </c:pt>
                <c:pt idx="530">
                  <c:v>13.11475409836066</c:v>
                </c:pt>
                <c:pt idx="531">
                  <c:v>13.11475409836066</c:v>
                </c:pt>
                <c:pt idx="532">
                  <c:v>13.14754098360656</c:v>
                </c:pt>
                <c:pt idx="533">
                  <c:v>13.18032786885246</c:v>
                </c:pt>
                <c:pt idx="534">
                  <c:v>13.18032786885246</c:v>
                </c:pt>
                <c:pt idx="535">
                  <c:v>13.24590163934426</c:v>
                </c:pt>
                <c:pt idx="536">
                  <c:v>13.24590163934426</c:v>
                </c:pt>
                <c:pt idx="537">
                  <c:v>13.27868852459016</c:v>
                </c:pt>
                <c:pt idx="538">
                  <c:v>13.27868852459016</c:v>
                </c:pt>
                <c:pt idx="539">
                  <c:v>13.31147540983606</c:v>
                </c:pt>
                <c:pt idx="540">
                  <c:v>13.37704918032787</c:v>
                </c:pt>
                <c:pt idx="541">
                  <c:v>13.37704918032787</c:v>
                </c:pt>
                <c:pt idx="542">
                  <c:v>13.47540983606558</c:v>
                </c:pt>
                <c:pt idx="543">
                  <c:v>13.47540983606558</c:v>
                </c:pt>
                <c:pt idx="544">
                  <c:v>13.50819672131147</c:v>
                </c:pt>
                <c:pt idx="545">
                  <c:v>13.50819672131147</c:v>
                </c:pt>
                <c:pt idx="546">
                  <c:v>13.57377049180328</c:v>
                </c:pt>
                <c:pt idx="547">
                  <c:v>13.60655737704918</c:v>
                </c:pt>
                <c:pt idx="548">
                  <c:v>13.60655737704918</c:v>
                </c:pt>
                <c:pt idx="549">
                  <c:v>13.63934426229508</c:v>
                </c:pt>
                <c:pt idx="550">
                  <c:v>13.7377049180328</c:v>
                </c:pt>
                <c:pt idx="551">
                  <c:v>13.7377049180328</c:v>
                </c:pt>
                <c:pt idx="552">
                  <c:v>13.77049180327868</c:v>
                </c:pt>
                <c:pt idx="553">
                  <c:v>13.80327868852459</c:v>
                </c:pt>
                <c:pt idx="554">
                  <c:v>13.8360655737705</c:v>
                </c:pt>
                <c:pt idx="555">
                  <c:v>13.8360655737705</c:v>
                </c:pt>
                <c:pt idx="556">
                  <c:v>13.8688524590164</c:v>
                </c:pt>
                <c:pt idx="557">
                  <c:v>13.9672131147541</c:v>
                </c:pt>
                <c:pt idx="558">
                  <c:v>13.9672131147541</c:v>
                </c:pt>
                <c:pt idx="559">
                  <c:v>14.0</c:v>
                </c:pt>
                <c:pt idx="560">
                  <c:v>14.0</c:v>
                </c:pt>
                <c:pt idx="561">
                  <c:v>14.0327868852459</c:v>
                </c:pt>
                <c:pt idx="562">
                  <c:v>14.0655737704918</c:v>
                </c:pt>
                <c:pt idx="563">
                  <c:v>14.0983606557377</c:v>
                </c:pt>
                <c:pt idx="564">
                  <c:v>14.0983606557377</c:v>
                </c:pt>
                <c:pt idx="565">
                  <c:v>14.1639344262295</c:v>
                </c:pt>
                <c:pt idx="566">
                  <c:v>14.1639344262295</c:v>
                </c:pt>
                <c:pt idx="567">
                  <c:v>14.19672131147541</c:v>
                </c:pt>
                <c:pt idx="568">
                  <c:v>14.19672131147541</c:v>
                </c:pt>
                <c:pt idx="569">
                  <c:v>14.29508196721311</c:v>
                </c:pt>
                <c:pt idx="570">
                  <c:v>14.29508196721311</c:v>
                </c:pt>
                <c:pt idx="571">
                  <c:v>14.32786885245901</c:v>
                </c:pt>
                <c:pt idx="572">
                  <c:v>14.32786885245901</c:v>
                </c:pt>
                <c:pt idx="573">
                  <c:v>14.36065573770492</c:v>
                </c:pt>
                <c:pt idx="574">
                  <c:v>14.39344262295082</c:v>
                </c:pt>
                <c:pt idx="575">
                  <c:v>14.39344262295082</c:v>
                </c:pt>
                <c:pt idx="576">
                  <c:v>14.42622950819672</c:v>
                </c:pt>
                <c:pt idx="577">
                  <c:v>14.42622950819672</c:v>
                </c:pt>
                <c:pt idx="578">
                  <c:v>14.45901639344262</c:v>
                </c:pt>
                <c:pt idx="579">
                  <c:v>14.45901639344262</c:v>
                </c:pt>
                <c:pt idx="580">
                  <c:v>14.49180327868852</c:v>
                </c:pt>
                <c:pt idx="581">
                  <c:v>14.49180327868852</c:v>
                </c:pt>
                <c:pt idx="582">
                  <c:v>14.55737704918032</c:v>
                </c:pt>
                <c:pt idx="583">
                  <c:v>14.55737704918032</c:v>
                </c:pt>
                <c:pt idx="584">
                  <c:v>14.62295081967213</c:v>
                </c:pt>
                <c:pt idx="585">
                  <c:v>14.65573770491803</c:v>
                </c:pt>
                <c:pt idx="586">
                  <c:v>14.65573770491803</c:v>
                </c:pt>
                <c:pt idx="587">
                  <c:v>14.68852459016394</c:v>
                </c:pt>
                <c:pt idx="588">
                  <c:v>14.72131147540984</c:v>
                </c:pt>
                <c:pt idx="589">
                  <c:v>14.81967213114754</c:v>
                </c:pt>
                <c:pt idx="590">
                  <c:v>14.81967213114754</c:v>
                </c:pt>
                <c:pt idx="591">
                  <c:v>14.85245901639344</c:v>
                </c:pt>
                <c:pt idx="592">
                  <c:v>14.85245901639344</c:v>
                </c:pt>
                <c:pt idx="593">
                  <c:v>14.88524590163934</c:v>
                </c:pt>
                <c:pt idx="594">
                  <c:v>14.88524590163934</c:v>
                </c:pt>
                <c:pt idx="595">
                  <c:v>14.91803278688525</c:v>
                </c:pt>
                <c:pt idx="596">
                  <c:v>14.91803278688525</c:v>
                </c:pt>
                <c:pt idx="597">
                  <c:v>14.98360655737705</c:v>
                </c:pt>
                <c:pt idx="598">
                  <c:v>14.98360655737705</c:v>
                </c:pt>
                <c:pt idx="599">
                  <c:v>15.0</c:v>
                </c:pt>
                <c:pt idx="600">
                  <c:v>15.01639344262295</c:v>
                </c:pt>
                <c:pt idx="601">
                  <c:v>15.01639344262295</c:v>
                </c:pt>
                <c:pt idx="602">
                  <c:v>15.04918032786885</c:v>
                </c:pt>
                <c:pt idx="603">
                  <c:v>15.04918032786885</c:v>
                </c:pt>
                <c:pt idx="604">
                  <c:v>15.08196721311475</c:v>
                </c:pt>
                <c:pt idx="605">
                  <c:v>15.08196721311475</c:v>
                </c:pt>
                <c:pt idx="606">
                  <c:v>15.14754098360656</c:v>
                </c:pt>
                <c:pt idx="607">
                  <c:v>15.14754098360656</c:v>
                </c:pt>
                <c:pt idx="608">
                  <c:v>15.18032786885246</c:v>
                </c:pt>
                <c:pt idx="609">
                  <c:v>15.18032786885246</c:v>
                </c:pt>
                <c:pt idx="610">
                  <c:v>15.21311475409836</c:v>
                </c:pt>
                <c:pt idx="611">
                  <c:v>15.21311475409836</c:v>
                </c:pt>
                <c:pt idx="612">
                  <c:v>15.24590163934426</c:v>
                </c:pt>
                <c:pt idx="613">
                  <c:v>15.34426229508197</c:v>
                </c:pt>
                <c:pt idx="614">
                  <c:v>15.37704918032787</c:v>
                </c:pt>
                <c:pt idx="615">
                  <c:v>15.37704918032787</c:v>
                </c:pt>
                <c:pt idx="616">
                  <c:v>15.40983606557377</c:v>
                </c:pt>
                <c:pt idx="617">
                  <c:v>15.40983606557377</c:v>
                </c:pt>
                <c:pt idx="618">
                  <c:v>15.44262295081967</c:v>
                </c:pt>
                <c:pt idx="619">
                  <c:v>15.50819672131147</c:v>
                </c:pt>
                <c:pt idx="620">
                  <c:v>15.50819672131147</c:v>
                </c:pt>
                <c:pt idx="621">
                  <c:v>15.54098360655738</c:v>
                </c:pt>
                <c:pt idx="622">
                  <c:v>15.54098360655738</c:v>
                </c:pt>
                <c:pt idx="623">
                  <c:v>15.57377049180328</c:v>
                </c:pt>
                <c:pt idx="624">
                  <c:v>15.57377049180328</c:v>
                </c:pt>
                <c:pt idx="625">
                  <c:v>15.63934426229508</c:v>
                </c:pt>
                <c:pt idx="626">
                  <c:v>15.63934426229508</c:v>
                </c:pt>
                <c:pt idx="627">
                  <c:v>15.70491803278688</c:v>
                </c:pt>
                <c:pt idx="628">
                  <c:v>15.70491803278688</c:v>
                </c:pt>
                <c:pt idx="629">
                  <c:v>15.7377049180328</c:v>
                </c:pt>
                <c:pt idx="630">
                  <c:v>15.80327868852459</c:v>
                </c:pt>
                <c:pt idx="631">
                  <c:v>15.80327868852459</c:v>
                </c:pt>
                <c:pt idx="632">
                  <c:v>15.8360655737705</c:v>
                </c:pt>
                <c:pt idx="633">
                  <c:v>15.8688524590164</c:v>
                </c:pt>
                <c:pt idx="634">
                  <c:v>15.8688524590164</c:v>
                </c:pt>
                <c:pt idx="635">
                  <c:v>15.9344262295082</c:v>
                </c:pt>
                <c:pt idx="636">
                  <c:v>15.9344262295082</c:v>
                </c:pt>
                <c:pt idx="637">
                  <c:v>16.0</c:v>
                </c:pt>
                <c:pt idx="638">
                  <c:v>16.0</c:v>
                </c:pt>
                <c:pt idx="639">
                  <c:v>16.0655737704918</c:v>
                </c:pt>
                <c:pt idx="640">
                  <c:v>16.0655737704918</c:v>
                </c:pt>
                <c:pt idx="641">
                  <c:v>16.0983606557377</c:v>
                </c:pt>
                <c:pt idx="642">
                  <c:v>16.0983606557377</c:v>
                </c:pt>
                <c:pt idx="643">
                  <c:v>16.1639344262295</c:v>
                </c:pt>
                <c:pt idx="644">
                  <c:v>16.1639344262295</c:v>
                </c:pt>
                <c:pt idx="645">
                  <c:v>16.19672131147541</c:v>
                </c:pt>
                <c:pt idx="646">
                  <c:v>16.19672131147541</c:v>
                </c:pt>
                <c:pt idx="647">
                  <c:v>16.22950819672131</c:v>
                </c:pt>
                <c:pt idx="648">
                  <c:v>16.22950819672131</c:v>
                </c:pt>
                <c:pt idx="649">
                  <c:v>16.26229508196698</c:v>
                </c:pt>
                <c:pt idx="650">
                  <c:v>16.26229508196698</c:v>
                </c:pt>
                <c:pt idx="651">
                  <c:v>16.29508196721311</c:v>
                </c:pt>
                <c:pt idx="652">
                  <c:v>16.29508196721311</c:v>
                </c:pt>
                <c:pt idx="653">
                  <c:v>16.32786885245902</c:v>
                </c:pt>
                <c:pt idx="654">
                  <c:v>16.32786885245902</c:v>
                </c:pt>
                <c:pt idx="655">
                  <c:v>16.36065573770492</c:v>
                </c:pt>
                <c:pt idx="656">
                  <c:v>16.36065573770492</c:v>
                </c:pt>
                <c:pt idx="657">
                  <c:v>16.39344262295081</c:v>
                </c:pt>
                <c:pt idx="658">
                  <c:v>16.39344262295081</c:v>
                </c:pt>
                <c:pt idx="659">
                  <c:v>16.42622950819671</c:v>
                </c:pt>
                <c:pt idx="660">
                  <c:v>16.42622950819671</c:v>
                </c:pt>
                <c:pt idx="661">
                  <c:v>16.45901639344263</c:v>
                </c:pt>
                <c:pt idx="662">
                  <c:v>16.45901639344263</c:v>
                </c:pt>
                <c:pt idx="663">
                  <c:v>16.49180327868853</c:v>
                </c:pt>
                <c:pt idx="664">
                  <c:v>16.52459016393443</c:v>
                </c:pt>
                <c:pt idx="665">
                  <c:v>16.52459016393443</c:v>
                </c:pt>
                <c:pt idx="666">
                  <c:v>16.62295081967213</c:v>
                </c:pt>
                <c:pt idx="667">
                  <c:v>16.62295081967213</c:v>
                </c:pt>
                <c:pt idx="668">
                  <c:v>16.65573770491803</c:v>
                </c:pt>
                <c:pt idx="669">
                  <c:v>16.65573770491803</c:v>
                </c:pt>
                <c:pt idx="670">
                  <c:v>16.72131147540983</c:v>
                </c:pt>
                <c:pt idx="671">
                  <c:v>16.72131147540983</c:v>
                </c:pt>
                <c:pt idx="672">
                  <c:v>16.75409836065574</c:v>
                </c:pt>
                <c:pt idx="673">
                  <c:v>16.75409836065574</c:v>
                </c:pt>
                <c:pt idx="674">
                  <c:v>16.85245901639344</c:v>
                </c:pt>
                <c:pt idx="675">
                  <c:v>16.85245901639344</c:v>
                </c:pt>
                <c:pt idx="676">
                  <c:v>16.88524590163932</c:v>
                </c:pt>
                <c:pt idx="677">
                  <c:v>16.88524590163932</c:v>
                </c:pt>
                <c:pt idx="678">
                  <c:v>16.91803278688525</c:v>
                </c:pt>
                <c:pt idx="679">
                  <c:v>16.91803278688525</c:v>
                </c:pt>
                <c:pt idx="680">
                  <c:v>16.95081967213108</c:v>
                </c:pt>
                <c:pt idx="681">
                  <c:v>16.95081967213108</c:v>
                </c:pt>
                <c:pt idx="682">
                  <c:v>16.98360655737675</c:v>
                </c:pt>
                <c:pt idx="683">
                  <c:v>16.98360655737675</c:v>
                </c:pt>
                <c:pt idx="684">
                  <c:v>17.0</c:v>
                </c:pt>
                <c:pt idx="685">
                  <c:v>17.01639344262295</c:v>
                </c:pt>
                <c:pt idx="686">
                  <c:v>17.01639344262295</c:v>
                </c:pt>
                <c:pt idx="687">
                  <c:v>17.04918032786885</c:v>
                </c:pt>
                <c:pt idx="688">
                  <c:v>17.04918032786885</c:v>
                </c:pt>
                <c:pt idx="689">
                  <c:v>17.08196721311475</c:v>
                </c:pt>
                <c:pt idx="690">
                  <c:v>17.14754098360656</c:v>
                </c:pt>
                <c:pt idx="691">
                  <c:v>17.14754098360656</c:v>
                </c:pt>
                <c:pt idx="692">
                  <c:v>17.18032786885246</c:v>
                </c:pt>
                <c:pt idx="693">
                  <c:v>17.21311475409836</c:v>
                </c:pt>
                <c:pt idx="694">
                  <c:v>17.27868852459016</c:v>
                </c:pt>
                <c:pt idx="695">
                  <c:v>17.27868852459016</c:v>
                </c:pt>
                <c:pt idx="696">
                  <c:v>17.37704918032787</c:v>
                </c:pt>
                <c:pt idx="697">
                  <c:v>17.40983606557377</c:v>
                </c:pt>
                <c:pt idx="698">
                  <c:v>17.40983606557377</c:v>
                </c:pt>
                <c:pt idx="699">
                  <c:v>17.47540983606528</c:v>
                </c:pt>
                <c:pt idx="700">
                  <c:v>17.47540983606528</c:v>
                </c:pt>
                <c:pt idx="701">
                  <c:v>17.50819672131147</c:v>
                </c:pt>
                <c:pt idx="702">
                  <c:v>17.50819672131147</c:v>
                </c:pt>
                <c:pt idx="703">
                  <c:v>17.57377049180328</c:v>
                </c:pt>
                <c:pt idx="704">
                  <c:v>17.57377049180328</c:v>
                </c:pt>
                <c:pt idx="705">
                  <c:v>17.63934426229508</c:v>
                </c:pt>
                <c:pt idx="706">
                  <c:v>17.70491803278687</c:v>
                </c:pt>
                <c:pt idx="707">
                  <c:v>17.70491803278687</c:v>
                </c:pt>
                <c:pt idx="708">
                  <c:v>17.7377049180328</c:v>
                </c:pt>
                <c:pt idx="709">
                  <c:v>17.77049180327869</c:v>
                </c:pt>
                <c:pt idx="710">
                  <c:v>17.77049180327869</c:v>
                </c:pt>
                <c:pt idx="711">
                  <c:v>17.8360655737705</c:v>
                </c:pt>
                <c:pt idx="712">
                  <c:v>17.8688524590164</c:v>
                </c:pt>
                <c:pt idx="713">
                  <c:v>17.8688524590164</c:v>
                </c:pt>
                <c:pt idx="714">
                  <c:v>17.90163934426218</c:v>
                </c:pt>
                <c:pt idx="715">
                  <c:v>17.90163934426218</c:v>
                </c:pt>
                <c:pt idx="716">
                  <c:v>17.93442622950819</c:v>
                </c:pt>
                <c:pt idx="717">
                  <c:v>17.93442622950819</c:v>
                </c:pt>
                <c:pt idx="718">
                  <c:v>18.0</c:v>
                </c:pt>
                <c:pt idx="719">
                  <c:v>18.0</c:v>
                </c:pt>
                <c:pt idx="720">
                  <c:v>18.03278688524588</c:v>
                </c:pt>
                <c:pt idx="721">
                  <c:v>18.03278688524588</c:v>
                </c:pt>
                <c:pt idx="722">
                  <c:v>18.0655737704918</c:v>
                </c:pt>
                <c:pt idx="723">
                  <c:v>18.0655737704918</c:v>
                </c:pt>
                <c:pt idx="724">
                  <c:v>18.1311475409836</c:v>
                </c:pt>
                <c:pt idx="725">
                  <c:v>18.1311475409836</c:v>
                </c:pt>
                <c:pt idx="726">
                  <c:v>18.16393442622951</c:v>
                </c:pt>
                <c:pt idx="727">
                  <c:v>18.16393442622951</c:v>
                </c:pt>
                <c:pt idx="728">
                  <c:v>18.19672131147541</c:v>
                </c:pt>
                <c:pt idx="729">
                  <c:v>18.22950819672131</c:v>
                </c:pt>
                <c:pt idx="730">
                  <c:v>18.22950819672131</c:v>
                </c:pt>
                <c:pt idx="731">
                  <c:v>18.26229508196698</c:v>
                </c:pt>
                <c:pt idx="732">
                  <c:v>18.29508196721313</c:v>
                </c:pt>
                <c:pt idx="733">
                  <c:v>18.29508196721313</c:v>
                </c:pt>
                <c:pt idx="734">
                  <c:v>18.32786885245902</c:v>
                </c:pt>
                <c:pt idx="735">
                  <c:v>18.32786885245902</c:v>
                </c:pt>
                <c:pt idx="736">
                  <c:v>18.42622950819671</c:v>
                </c:pt>
                <c:pt idx="737">
                  <c:v>18.42622950819671</c:v>
                </c:pt>
                <c:pt idx="738">
                  <c:v>18.45901639344262</c:v>
                </c:pt>
                <c:pt idx="739">
                  <c:v>18.49180327868853</c:v>
                </c:pt>
                <c:pt idx="740">
                  <c:v>18.49180327868853</c:v>
                </c:pt>
                <c:pt idx="741">
                  <c:v>18.55737704918033</c:v>
                </c:pt>
                <c:pt idx="742">
                  <c:v>18.59016393442623</c:v>
                </c:pt>
                <c:pt idx="743">
                  <c:v>18.59016393442623</c:v>
                </c:pt>
                <c:pt idx="744">
                  <c:v>18.65573770491803</c:v>
                </c:pt>
                <c:pt idx="745">
                  <c:v>18.65573770491803</c:v>
                </c:pt>
                <c:pt idx="746">
                  <c:v>18.72131147540983</c:v>
                </c:pt>
                <c:pt idx="747">
                  <c:v>18.72131147540983</c:v>
                </c:pt>
                <c:pt idx="748">
                  <c:v>18.75409836065574</c:v>
                </c:pt>
                <c:pt idx="749">
                  <c:v>18.78688524590164</c:v>
                </c:pt>
                <c:pt idx="750">
                  <c:v>18.78688524590164</c:v>
                </c:pt>
                <c:pt idx="751">
                  <c:v>18.88524590163932</c:v>
                </c:pt>
                <c:pt idx="752">
                  <c:v>18.88524590163932</c:v>
                </c:pt>
                <c:pt idx="753">
                  <c:v>18.98360655737675</c:v>
                </c:pt>
                <c:pt idx="754">
                  <c:v>18.98360655737675</c:v>
                </c:pt>
                <c:pt idx="755">
                  <c:v>19.0</c:v>
                </c:pt>
                <c:pt idx="756">
                  <c:v>19.01639344262295</c:v>
                </c:pt>
                <c:pt idx="757">
                  <c:v>19.01639344262295</c:v>
                </c:pt>
                <c:pt idx="758">
                  <c:v>19.04918032786885</c:v>
                </c:pt>
                <c:pt idx="759">
                  <c:v>19.04918032786885</c:v>
                </c:pt>
                <c:pt idx="760">
                  <c:v>19.08196721311475</c:v>
                </c:pt>
                <c:pt idx="761">
                  <c:v>19.08196721311475</c:v>
                </c:pt>
                <c:pt idx="762">
                  <c:v>19.11475409836066</c:v>
                </c:pt>
                <c:pt idx="763">
                  <c:v>19.14754098360656</c:v>
                </c:pt>
                <c:pt idx="764">
                  <c:v>19.14754098360656</c:v>
                </c:pt>
                <c:pt idx="765">
                  <c:v>19.18032786885247</c:v>
                </c:pt>
                <c:pt idx="766">
                  <c:v>19.18032786885247</c:v>
                </c:pt>
                <c:pt idx="767">
                  <c:v>19.21311475409836</c:v>
                </c:pt>
                <c:pt idx="768">
                  <c:v>19.27868852459016</c:v>
                </c:pt>
                <c:pt idx="769">
                  <c:v>19.31147540983607</c:v>
                </c:pt>
                <c:pt idx="770">
                  <c:v>19.31147540983607</c:v>
                </c:pt>
                <c:pt idx="771">
                  <c:v>19.34426229508196</c:v>
                </c:pt>
                <c:pt idx="772">
                  <c:v>19.34426229508196</c:v>
                </c:pt>
                <c:pt idx="773">
                  <c:v>19.37704918032787</c:v>
                </c:pt>
                <c:pt idx="774">
                  <c:v>19.40983606557376</c:v>
                </c:pt>
                <c:pt idx="775">
                  <c:v>19.40983606557376</c:v>
                </c:pt>
                <c:pt idx="776">
                  <c:v>19.44262295081962</c:v>
                </c:pt>
                <c:pt idx="777">
                  <c:v>19.44262295081962</c:v>
                </c:pt>
                <c:pt idx="778">
                  <c:v>19.47540983606528</c:v>
                </c:pt>
                <c:pt idx="779">
                  <c:v>19.47540983606528</c:v>
                </c:pt>
                <c:pt idx="780">
                  <c:v>19.50819672131147</c:v>
                </c:pt>
                <c:pt idx="781">
                  <c:v>19.54098360655738</c:v>
                </c:pt>
                <c:pt idx="782">
                  <c:v>19.54098360655738</c:v>
                </c:pt>
                <c:pt idx="783">
                  <c:v>19.57377049180328</c:v>
                </c:pt>
                <c:pt idx="784">
                  <c:v>19.57377049180328</c:v>
                </c:pt>
                <c:pt idx="785">
                  <c:v>19.60655737704919</c:v>
                </c:pt>
                <c:pt idx="786">
                  <c:v>19.63934426229508</c:v>
                </c:pt>
                <c:pt idx="787">
                  <c:v>19.67213114754098</c:v>
                </c:pt>
                <c:pt idx="788">
                  <c:v>19.67213114754098</c:v>
                </c:pt>
                <c:pt idx="789">
                  <c:v>19.70491803278687</c:v>
                </c:pt>
                <c:pt idx="790">
                  <c:v>19.7377049180328</c:v>
                </c:pt>
                <c:pt idx="791">
                  <c:v>19.77049180327869</c:v>
                </c:pt>
                <c:pt idx="792">
                  <c:v>19.80327868852459</c:v>
                </c:pt>
                <c:pt idx="793">
                  <c:v>19.80327868852459</c:v>
                </c:pt>
                <c:pt idx="794">
                  <c:v>19.8360655737705</c:v>
                </c:pt>
                <c:pt idx="795">
                  <c:v>19.8688524590164</c:v>
                </c:pt>
                <c:pt idx="796">
                  <c:v>19.8688524590164</c:v>
                </c:pt>
                <c:pt idx="797">
                  <c:v>19.90163934426218</c:v>
                </c:pt>
                <c:pt idx="798">
                  <c:v>19.90163934426218</c:v>
                </c:pt>
                <c:pt idx="799">
                  <c:v>19.9344262295082</c:v>
                </c:pt>
                <c:pt idx="800">
                  <c:v>19.9344262295082</c:v>
                </c:pt>
                <c:pt idx="801">
                  <c:v>19.9672131147541</c:v>
                </c:pt>
                <c:pt idx="802">
                  <c:v>19.9672131147541</c:v>
                </c:pt>
                <c:pt idx="803">
                  <c:v>20.0</c:v>
                </c:pt>
                <c:pt idx="804">
                  <c:v>20.03278688524588</c:v>
                </c:pt>
                <c:pt idx="805">
                  <c:v>20.03278688524588</c:v>
                </c:pt>
                <c:pt idx="806">
                  <c:v>20.0655737704918</c:v>
                </c:pt>
                <c:pt idx="807">
                  <c:v>20.0983606557377</c:v>
                </c:pt>
                <c:pt idx="808">
                  <c:v>20.1311475409836</c:v>
                </c:pt>
                <c:pt idx="809">
                  <c:v>20.16393442622951</c:v>
                </c:pt>
                <c:pt idx="810">
                  <c:v>20.16393442622951</c:v>
                </c:pt>
                <c:pt idx="811">
                  <c:v>20.19672131147541</c:v>
                </c:pt>
                <c:pt idx="812">
                  <c:v>20.19672131147541</c:v>
                </c:pt>
                <c:pt idx="813">
                  <c:v>20.22950819672131</c:v>
                </c:pt>
                <c:pt idx="814">
                  <c:v>20.22950819672131</c:v>
                </c:pt>
                <c:pt idx="815">
                  <c:v>20.26229508196698</c:v>
                </c:pt>
                <c:pt idx="816">
                  <c:v>20.26229508196698</c:v>
                </c:pt>
                <c:pt idx="817">
                  <c:v>20.29508196721313</c:v>
                </c:pt>
                <c:pt idx="818">
                  <c:v>20.32786885245902</c:v>
                </c:pt>
                <c:pt idx="819">
                  <c:v>20.32786885245902</c:v>
                </c:pt>
                <c:pt idx="820">
                  <c:v>20.36065573770492</c:v>
                </c:pt>
                <c:pt idx="821">
                  <c:v>20.39344262295081</c:v>
                </c:pt>
                <c:pt idx="822">
                  <c:v>20.42622950819671</c:v>
                </c:pt>
                <c:pt idx="823">
                  <c:v>20.42622950819671</c:v>
                </c:pt>
                <c:pt idx="824">
                  <c:v>20.45901639344262</c:v>
                </c:pt>
                <c:pt idx="825">
                  <c:v>20.45901639344262</c:v>
                </c:pt>
                <c:pt idx="826">
                  <c:v>20.49180327868853</c:v>
                </c:pt>
                <c:pt idx="827">
                  <c:v>20.49180327868853</c:v>
                </c:pt>
                <c:pt idx="828">
                  <c:v>20.52459016393443</c:v>
                </c:pt>
                <c:pt idx="829">
                  <c:v>20.52459016393443</c:v>
                </c:pt>
                <c:pt idx="830">
                  <c:v>20.55737704918033</c:v>
                </c:pt>
                <c:pt idx="831">
                  <c:v>20.55737704918033</c:v>
                </c:pt>
                <c:pt idx="832">
                  <c:v>20.59016393442623</c:v>
                </c:pt>
                <c:pt idx="833">
                  <c:v>20.62295081967213</c:v>
                </c:pt>
                <c:pt idx="834">
                  <c:v>20.62295081967213</c:v>
                </c:pt>
                <c:pt idx="835">
                  <c:v>20.65573770491803</c:v>
                </c:pt>
                <c:pt idx="836">
                  <c:v>20.68852459016364</c:v>
                </c:pt>
                <c:pt idx="837">
                  <c:v>20.68852459016364</c:v>
                </c:pt>
                <c:pt idx="838">
                  <c:v>20.72131147540983</c:v>
                </c:pt>
                <c:pt idx="839">
                  <c:v>20.75409836065574</c:v>
                </c:pt>
                <c:pt idx="840">
                  <c:v>20.78688524590164</c:v>
                </c:pt>
                <c:pt idx="841">
                  <c:v>20.78688524590164</c:v>
                </c:pt>
                <c:pt idx="842">
                  <c:v>20.81967213114753</c:v>
                </c:pt>
                <c:pt idx="843">
                  <c:v>20.81967213114753</c:v>
                </c:pt>
                <c:pt idx="844">
                  <c:v>20.85245901639344</c:v>
                </c:pt>
                <c:pt idx="845">
                  <c:v>20.85245901639344</c:v>
                </c:pt>
                <c:pt idx="846">
                  <c:v>20.88524590163932</c:v>
                </c:pt>
                <c:pt idx="847">
                  <c:v>20.88524590163932</c:v>
                </c:pt>
                <c:pt idx="848">
                  <c:v>20.91803278688525</c:v>
                </c:pt>
                <c:pt idx="849">
                  <c:v>20.95081967213108</c:v>
                </c:pt>
                <c:pt idx="850">
                  <c:v>20.98360655737675</c:v>
                </c:pt>
                <c:pt idx="851">
                  <c:v>21.0</c:v>
                </c:pt>
                <c:pt idx="852">
                  <c:v>21.01639344262295</c:v>
                </c:pt>
                <c:pt idx="853">
                  <c:v>21.01639344262295</c:v>
                </c:pt>
                <c:pt idx="854">
                  <c:v>21.04918032786885</c:v>
                </c:pt>
                <c:pt idx="855">
                  <c:v>21.08196721311475</c:v>
                </c:pt>
                <c:pt idx="856">
                  <c:v>21.11475409836066</c:v>
                </c:pt>
                <c:pt idx="857">
                  <c:v>21.11475409836066</c:v>
                </c:pt>
                <c:pt idx="858">
                  <c:v>21.14754098360656</c:v>
                </c:pt>
                <c:pt idx="859">
                  <c:v>21.14754098360656</c:v>
                </c:pt>
                <c:pt idx="860">
                  <c:v>21.18032786885247</c:v>
                </c:pt>
                <c:pt idx="861">
                  <c:v>21.21311475409836</c:v>
                </c:pt>
                <c:pt idx="862">
                  <c:v>21.21311475409836</c:v>
                </c:pt>
                <c:pt idx="863">
                  <c:v>21.24590163934426</c:v>
                </c:pt>
                <c:pt idx="864">
                  <c:v>21.27868852459016</c:v>
                </c:pt>
                <c:pt idx="865">
                  <c:v>21.27868852459016</c:v>
                </c:pt>
                <c:pt idx="866">
                  <c:v>21.31147540983607</c:v>
                </c:pt>
                <c:pt idx="867">
                  <c:v>21.31147540983607</c:v>
                </c:pt>
                <c:pt idx="868">
                  <c:v>21.34426229508196</c:v>
                </c:pt>
                <c:pt idx="869">
                  <c:v>21.37704918032787</c:v>
                </c:pt>
                <c:pt idx="870">
                  <c:v>21.40983606557376</c:v>
                </c:pt>
                <c:pt idx="871">
                  <c:v>21.40983606557376</c:v>
                </c:pt>
                <c:pt idx="872">
                  <c:v>21.44262295081962</c:v>
                </c:pt>
                <c:pt idx="873">
                  <c:v>21.47540983606528</c:v>
                </c:pt>
                <c:pt idx="874">
                  <c:v>21.47540983606528</c:v>
                </c:pt>
                <c:pt idx="875">
                  <c:v>21.50819672131147</c:v>
                </c:pt>
                <c:pt idx="876">
                  <c:v>21.50819672131147</c:v>
                </c:pt>
                <c:pt idx="877">
                  <c:v>21.54098360655738</c:v>
                </c:pt>
                <c:pt idx="878">
                  <c:v>21.57377049180328</c:v>
                </c:pt>
                <c:pt idx="879">
                  <c:v>21.60655737704919</c:v>
                </c:pt>
                <c:pt idx="880">
                  <c:v>21.60655737704919</c:v>
                </c:pt>
                <c:pt idx="881">
                  <c:v>21.63934426229508</c:v>
                </c:pt>
                <c:pt idx="882">
                  <c:v>21.67213114754099</c:v>
                </c:pt>
                <c:pt idx="883">
                  <c:v>21.67213114754099</c:v>
                </c:pt>
                <c:pt idx="884">
                  <c:v>21.70491803278688</c:v>
                </c:pt>
                <c:pt idx="885">
                  <c:v>21.70491803278688</c:v>
                </c:pt>
                <c:pt idx="886">
                  <c:v>21.7377049180328</c:v>
                </c:pt>
                <c:pt idx="887">
                  <c:v>21.7377049180328</c:v>
                </c:pt>
                <c:pt idx="888">
                  <c:v>21.77049180327869</c:v>
                </c:pt>
                <c:pt idx="889">
                  <c:v>21.80327868852459</c:v>
                </c:pt>
                <c:pt idx="890">
                  <c:v>21.8360655737705</c:v>
                </c:pt>
                <c:pt idx="891">
                  <c:v>21.86885245901641</c:v>
                </c:pt>
                <c:pt idx="892">
                  <c:v>21.86885245901641</c:v>
                </c:pt>
                <c:pt idx="893">
                  <c:v>21.90163934426218</c:v>
                </c:pt>
                <c:pt idx="894">
                  <c:v>21.9344262295082</c:v>
                </c:pt>
                <c:pt idx="895">
                  <c:v>21.9672131147541</c:v>
                </c:pt>
                <c:pt idx="896">
                  <c:v>22.0</c:v>
                </c:pt>
                <c:pt idx="897">
                  <c:v>22.03278688524588</c:v>
                </c:pt>
                <c:pt idx="898">
                  <c:v>22.06557377049178</c:v>
                </c:pt>
                <c:pt idx="899">
                  <c:v>22.0983606557377</c:v>
                </c:pt>
                <c:pt idx="900">
                  <c:v>22.13114754098359</c:v>
                </c:pt>
                <c:pt idx="901">
                  <c:v>22.16393442622951</c:v>
                </c:pt>
                <c:pt idx="902">
                  <c:v>22.16393442622951</c:v>
                </c:pt>
                <c:pt idx="903">
                  <c:v>22.19672131147541</c:v>
                </c:pt>
                <c:pt idx="904">
                  <c:v>22.22950819672131</c:v>
                </c:pt>
                <c:pt idx="905">
                  <c:v>22.26229508196698</c:v>
                </c:pt>
                <c:pt idx="906">
                  <c:v>22.26229508196698</c:v>
                </c:pt>
                <c:pt idx="907">
                  <c:v>22.29508196721313</c:v>
                </c:pt>
                <c:pt idx="908">
                  <c:v>22.32786885245902</c:v>
                </c:pt>
                <c:pt idx="909">
                  <c:v>22.32786885245902</c:v>
                </c:pt>
                <c:pt idx="910">
                  <c:v>22.36065573770492</c:v>
                </c:pt>
                <c:pt idx="911">
                  <c:v>22.36065573770492</c:v>
                </c:pt>
                <c:pt idx="912">
                  <c:v>22.39344262295081</c:v>
                </c:pt>
                <c:pt idx="913">
                  <c:v>22.39344262295081</c:v>
                </c:pt>
                <c:pt idx="914">
                  <c:v>22.42622950819672</c:v>
                </c:pt>
                <c:pt idx="915">
                  <c:v>22.45901639344262</c:v>
                </c:pt>
                <c:pt idx="916">
                  <c:v>22.49180327868853</c:v>
                </c:pt>
                <c:pt idx="917">
                  <c:v>22.49180327868853</c:v>
                </c:pt>
                <c:pt idx="918">
                  <c:v>22.52459016393442</c:v>
                </c:pt>
                <c:pt idx="919">
                  <c:v>22.55737704918033</c:v>
                </c:pt>
                <c:pt idx="920">
                  <c:v>22.59016393442623</c:v>
                </c:pt>
                <c:pt idx="921">
                  <c:v>22.62295081967213</c:v>
                </c:pt>
                <c:pt idx="922">
                  <c:v>22.65573770491803</c:v>
                </c:pt>
                <c:pt idx="923">
                  <c:v>22.65573770491803</c:v>
                </c:pt>
                <c:pt idx="924">
                  <c:v>22.68852459016364</c:v>
                </c:pt>
                <c:pt idx="925">
                  <c:v>22.68852459016364</c:v>
                </c:pt>
                <c:pt idx="926">
                  <c:v>22.72131147540984</c:v>
                </c:pt>
                <c:pt idx="927">
                  <c:v>22.72131147540984</c:v>
                </c:pt>
                <c:pt idx="928">
                  <c:v>22.75409836065575</c:v>
                </c:pt>
                <c:pt idx="929">
                  <c:v>22.78688524590164</c:v>
                </c:pt>
                <c:pt idx="930">
                  <c:v>22.78688524590164</c:v>
                </c:pt>
                <c:pt idx="931">
                  <c:v>22.81967213114754</c:v>
                </c:pt>
                <c:pt idx="932">
                  <c:v>22.85245901639344</c:v>
                </c:pt>
                <c:pt idx="933">
                  <c:v>22.85245901639344</c:v>
                </c:pt>
                <c:pt idx="934">
                  <c:v>22.88524590163932</c:v>
                </c:pt>
                <c:pt idx="935">
                  <c:v>22.91803278688525</c:v>
                </c:pt>
                <c:pt idx="936">
                  <c:v>22.95081967213108</c:v>
                </c:pt>
                <c:pt idx="937">
                  <c:v>22.95081967213108</c:v>
                </c:pt>
                <c:pt idx="938">
                  <c:v>22.98360655737674</c:v>
                </c:pt>
                <c:pt idx="939">
                  <c:v>22.98360655737674</c:v>
                </c:pt>
                <c:pt idx="940">
                  <c:v>23.0</c:v>
                </c:pt>
                <c:pt idx="941">
                  <c:v>23.01639344262296</c:v>
                </c:pt>
                <c:pt idx="942">
                  <c:v>23.04918032786885</c:v>
                </c:pt>
                <c:pt idx="943">
                  <c:v>23.04918032786885</c:v>
                </c:pt>
                <c:pt idx="944">
                  <c:v>23.08196721311475</c:v>
                </c:pt>
                <c:pt idx="945">
                  <c:v>23.08196721311475</c:v>
                </c:pt>
                <c:pt idx="946">
                  <c:v>23.11475409836066</c:v>
                </c:pt>
                <c:pt idx="947">
                  <c:v>23.14754098360656</c:v>
                </c:pt>
                <c:pt idx="948">
                  <c:v>23.14754098360656</c:v>
                </c:pt>
                <c:pt idx="949">
                  <c:v>23.18032786885246</c:v>
                </c:pt>
                <c:pt idx="950">
                  <c:v>23.21311475409836</c:v>
                </c:pt>
                <c:pt idx="951">
                  <c:v>23.24590163934425</c:v>
                </c:pt>
                <c:pt idx="952">
                  <c:v>23.24590163934425</c:v>
                </c:pt>
                <c:pt idx="953">
                  <c:v>23.27868852459016</c:v>
                </c:pt>
                <c:pt idx="954">
                  <c:v>23.27868852459016</c:v>
                </c:pt>
                <c:pt idx="955">
                  <c:v>23.31147540983606</c:v>
                </c:pt>
                <c:pt idx="956">
                  <c:v>23.34426229508196</c:v>
                </c:pt>
                <c:pt idx="957">
                  <c:v>23.37704918032787</c:v>
                </c:pt>
                <c:pt idx="958">
                  <c:v>23.40983606557376</c:v>
                </c:pt>
                <c:pt idx="959">
                  <c:v>23.44262295081962</c:v>
                </c:pt>
                <c:pt idx="960">
                  <c:v>23.47540983606528</c:v>
                </c:pt>
                <c:pt idx="961">
                  <c:v>23.50819672131147</c:v>
                </c:pt>
                <c:pt idx="962">
                  <c:v>23.54098360655738</c:v>
                </c:pt>
                <c:pt idx="963">
                  <c:v>23.54098360655738</c:v>
                </c:pt>
                <c:pt idx="964">
                  <c:v>23.57377049180328</c:v>
                </c:pt>
                <c:pt idx="965">
                  <c:v>23.60655737704919</c:v>
                </c:pt>
                <c:pt idx="966">
                  <c:v>23.60655737704919</c:v>
                </c:pt>
                <c:pt idx="967">
                  <c:v>23.63934426229508</c:v>
                </c:pt>
                <c:pt idx="968">
                  <c:v>23.67213114754098</c:v>
                </c:pt>
                <c:pt idx="969">
                  <c:v>23.70491803278688</c:v>
                </c:pt>
                <c:pt idx="970">
                  <c:v>23.70491803278688</c:v>
                </c:pt>
                <c:pt idx="971">
                  <c:v>23.7377049180328</c:v>
                </c:pt>
                <c:pt idx="972">
                  <c:v>23.77049180327869</c:v>
                </c:pt>
                <c:pt idx="973">
                  <c:v>23.77049180327869</c:v>
                </c:pt>
                <c:pt idx="974">
                  <c:v>23.80327868852459</c:v>
                </c:pt>
                <c:pt idx="975">
                  <c:v>23.8360655737705</c:v>
                </c:pt>
                <c:pt idx="976">
                  <c:v>23.86885245901641</c:v>
                </c:pt>
                <c:pt idx="977">
                  <c:v>23.86885245901641</c:v>
                </c:pt>
                <c:pt idx="978">
                  <c:v>23.90163934426218</c:v>
                </c:pt>
                <c:pt idx="979">
                  <c:v>23.90163934426218</c:v>
                </c:pt>
                <c:pt idx="980">
                  <c:v>23.9344262295082</c:v>
                </c:pt>
                <c:pt idx="981">
                  <c:v>23.9344262295082</c:v>
                </c:pt>
                <c:pt idx="982">
                  <c:v>23.9672131147541</c:v>
                </c:pt>
                <c:pt idx="983">
                  <c:v>23.9672131147541</c:v>
                </c:pt>
                <c:pt idx="984">
                  <c:v>24.0</c:v>
                </c:pt>
                <c:pt idx="985">
                  <c:v>24.0</c:v>
                </c:pt>
                <c:pt idx="986">
                  <c:v>24.03278688524588</c:v>
                </c:pt>
                <c:pt idx="987">
                  <c:v>24.03278688524588</c:v>
                </c:pt>
                <c:pt idx="988">
                  <c:v>24.06557377049178</c:v>
                </c:pt>
                <c:pt idx="989">
                  <c:v>24.06557377049178</c:v>
                </c:pt>
                <c:pt idx="990">
                  <c:v>24.0983606557377</c:v>
                </c:pt>
                <c:pt idx="991">
                  <c:v>24.13114754098359</c:v>
                </c:pt>
                <c:pt idx="992">
                  <c:v>24.13114754098359</c:v>
                </c:pt>
                <c:pt idx="993">
                  <c:v>24.16393442622951</c:v>
                </c:pt>
                <c:pt idx="994">
                  <c:v>24.16393442622951</c:v>
                </c:pt>
                <c:pt idx="995">
                  <c:v>24.19672131147541</c:v>
                </c:pt>
                <c:pt idx="996">
                  <c:v>24.22950819672131</c:v>
                </c:pt>
                <c:pt idx="997">
                  <c:v>24.26229508196698</c:v>
                </c:pt>
                <c:pt idx="998">
                  <c:v>24.29508196721313</c:v>
                </c:pt>
                <c:pt idx="999">
                  <c:v>24.32786885245902</c:v>
                </c:pt>
                <c:pt idx="1000">
                  <c:v>24.32786885245902</c:v>
                </c:pt>
                <c:pt idx="1001">
                  <c:v>24.36065573770492</c:v>
                </c:pt>
                <c:pt idx="1002">
                  <c:v>24.36065573770492</c:v>
                </c:pt>
                <c:pt idx="1003">
                  <c:v>24.39344262295081</c:v>
                </c:pt>
                <c:pt idx="1004">
                  <c:v>24.39344262295081</c:v>
                </c:pt>
                <c:pt idx="1005">
                  <c:v>24.42622950819672</c:v>
                </c:pt>
                <c:pt idx="1006">
                  <c:v>24.45901639344262</c:v>
                </c:pt>
                <c:pt idx="1007">
                  <c:v>24.45901639344262</c:v>
                </c:pt>
                <c:pt idx="1008">
                  <c:v>24.49180327868853</c:v>
                </c:pt>
                <c:pt idx="1009">
                  <c:v>24.52459016393442</c:v>
                </c:pt>
                <c:pt idx="1010">
                  <c:v>24.52459016393442</c:v>
                </c:pt>
                <c:pt idx="1011">
                  <c:v>24.55737704918033</c:v>
                </c:pt>
                <c:pt idx="1012">
                  <c:v>24.55737704918033</c:v>
                </c:pt>
                <c:pt idx="1013">
                  <c:v>24.59016393442623</c:v>
                </c:pt>
                <c:pt idx="1014">
                  <c:v>24.59016393442623</c:v>
                </c:pt>
                <c:pt idx="1015">
                  <c:v>24.62295081967213</c:v>
                </c:pt>
                <c:pt idx="1016">
                  <c:v>24.62295081967213</c:v>
                </c:pt>
                <c:pt idx="1017">
                  <c:v>24.65573770491803</c:v>
                </c:pt>
                <c:pt idx="1018">
                  <c:v>24.68852459016364</c:v>
                </c:pt>
                <c:pt idx="1019">
                  <c:v>24.72131147540984</c:v>
                </c:pt>
                <c:pt idx="1020">
                  <c:v>24.72131147540984</c:v>
                </c:pt>
                <c:pt idx="1021">
                  <c:v>24.75409836065575</c:v>
                </c:pt>
                <c:pt idx="1022">
                  <c:v>24.75409836065575</c:v>
                </c:pt>
                <c:pt idx="1023">
                  <c:v>24.78688524590164</c:v>
                </c:pt>
                <c:pt idx="1024">
                  <c:v>24.81967213114754</c:v>
                </c:pt>
                <c:pt idx="1025">
                  <c:v>24.81967213114754</c:v>
                </c:pt>
                <c:pt idx="1026">
                  <c:v>24.85245901639344</c:v>
                </c:pt>
                <c:pt idx="1027">
                  <c:v>24.85245901639344</c:v>
                </c:pt>
                <c:pt idx="1028">
                  <c:v>24.88524590163932</c:v>
                </c:pt>
                <c:pt idx="1029">
                  <c:v>24.91803278688525</c:v>
                </c:pt>
                <c:pt idx="1030">
                  <c:v>24.95081967213108</c:v>
                </c:pt>
                <c:pt idx="1031">
                  <c:v>24.98360655737674</c:v>
                </c:pt>
                <c:pt idx="1032">
                  <c:v>25.0</c:v>
                </c:pt>
                <c:pt idx="1033">
                  <c:v>25.01639344262296</c:v>
                </c:pt>
                <c:pt idx="1034">
                  <c:v>25.04918032786885</c:v>
                </c:pt>
                <c:pt idx="1035">
                  <c:v>25.08196721311475</c:v>
                </c:pt>
                <c:pt idx="1036">
                  <c:v>25.11475409836066</c:v>
                </c:pt>
                <c:pt idx="1037">
                  <c:v>25.14754098360656</c:v>
                </c:pt>
                <c:pt idx="1038">
                  <c:v>25.18032786885246</c:v>
                </c:pt>
                <c:pt idx="1039">
                  <c:v>25.18032786885246</c:v>
                </c:pt>
                <c:pt idx="1040">
                  <c:v>25.21311475409836</c:v>
                </c:pt>
                <c:pt idx="1041">
                  <c:v>25.24590163934425</c:v>
                </c:pt>
                <c:pt idx="1042">
                  <c:v>25.27868852459016</c:v>
                </c:pt>
                <c:pt idx="1043">
                  <c:v>25.31147540983606</c:v>
                </c:pt>
                <c:pt idx="1044">
                  <c:v>25.34426229508196</c:v>
                </c:pt>
                <c:pt idx="1045">
                  <c:v>25.37704918032787</c:v>
                </c:pt>
                <c:pt idx="1046">
                  <c:v>25.40983606557376</c:v>
                </c:pt>
                <c:pt idx="1047">
                  <c:v>25.40983606557376</c:v>
                </c:pt>
                <c:pt idx="1048">
                  <c:v>25.44262295081962</c:v>
                </c:pt>
                <c:pt idx="1049">
                  <c:v>25.44262295081962</c:v>
                </c:pt>
                <c:pt idx="1050">
                  <c:v>25.47540983606528</c:v>
                </c:pt>
                <c:pt idx="1051">
                  <c:v>25.47540983606528</c:v>
                </c:pt>
                <c:pt idx="1052">
                  <c:v>25.50819672131147</c:v>
                </c:pt>
                <c:pt idx="1053">
                  <c:v>25.54098360655738</c:v>
                </c:pt>
                <c:pt idx="1054">
                  <c:v>25.54098360655738</c:v>
                </c:pt>
                <c:pt idx="1055">
                  <c:v>25.57377049180328</c:v>
                </c:pt>
                <c:pt idx="1056">
                  <c:v>25.57377049180328</c:v>
                </c:pt>
                <c:pt idx="1057">
                  <c:v>25.60655737704919</c:v>
                </c:pt>
                <c:pt idx="1058">
                  <c:v>25.63934426229508</c:v>
                </c:pt>
                <c:pt idx="1059">
                  <c:v>25.63934426229508</c:v>
                </c:pt>
                <c:pt idx="1060">
                  <c:v>25.67213114754098</c:v>
                </c:pt>
                <c:pt idx="1061">
                  <c:v>25.70491803278688</c:v>
                </c:pt>
                <c:pt idx="1062">
                  <c:v>25.7377049180328</c:v>
                </c:pt>
                <c:pt idx="1063">
                  <c:v>25.77049180327868</c:v>
                </c:pt>
                <c:pt idx="1064">
                  <c:v>25.77049180327868</c:v>
                </c:pt>
                <c:pt idx="1065">
                  <c:v>25.80327868852459</c:v>
                </c:pt>
                <c:pt idx="1066">
                  <c:v>25.8360655737705</c:v>
                </c:pt>
                <c:pt idx="1067">
                  <c:v>25.86885245901641</c:v>
                </c:pt>
                <c:pt idx="1068">
                  <c:v>25.86885245901641</c:v>
                </c:pt>
                <c:pt idx="1069">
                  <c:v>25.90163934426218</c:v>
                </c:pt>
                <c:pt idx="1070">
                  <c:v>25.9344262295082</c:v>
                </c:pt>
                <c:pt idx="1071">
                  <c:v>25.9672131147541</c:v>
                </c:pt>
                <c:pt idx="1072">
                  <c:v>26.0</c:v>
                </c:pt>
                <c:pt idx="1073">
                  <c:v>26.03278688524588</c:v>
                </c:pt>
                <c:pt idx="1074">
                  <c:v>26.06557377049178</c:v>
                </c:pt>
                <c:pt idx="1075">
                  <c:v>26.06557377049178</c:v>
                </c:pt>
                <c:pt idx="1076">
                  <c:v>26.0983606557377</c:v>
                </c:pt>
                <c:pt idx="1077">
                  <c:v>26.13114754098359</c:v>
                </c:pt>
                <c:pt idx="1078">
                  <c:v>26.16393442622951</c:v>
                </c:pt>
                <c:pt idx="1079">
                  <c:v>26.19672131147541</c:v>
                </c:pt>
                <c:pt idx="1080">
                  <c:v>26.22950819672132</c:v>
                </c:pt>
                <c:pt idx="1081">
                  <c:v>26.26229508196698</c:v>
                </c:pt>
                <c:pt idx="1082">
                  <c:v>26.29508196721313</c:v>
                </c:pt>
                <c:pt idx="1083">
                  <c:v>26.32786885245902</c:v>
                </c:pt>
                <c:pt idx="1084">
                  <c:v>26.36065573770492</c:v>
                </c:pt>
                <c:pt idx="1085">
                  <c:v>26.39344262295081</c:v>
                </c:pt>
                <c:pt idx="1086">
                  <c:v>26.39344262295081</c:v>
                </c:pt>
                <c:pt idx="1087">
                  <c:v>26.42622950819672</c:v>
                </c:pt>
                <c:pt idx="1088">
                  <c:v>26.45901639344263</c:v>
                </c:pt>
                <c:pt idx="1089">
                  <c:v>26.49180327868853</c:v>
                </c:pt>
                <c:pt idx="1090">
                  <c:v>26.52459016393442</c:v>
                </c:pt>
                <c:pt idx="1091">
                  <c:v>26.55737704918033</c:v>
                </c:pt>
                <c:pt idx="1092">
                  <c:v>26.59016393442623</c:v>
                </c:pt>
                <c:pt idx="1093">
                  <c:v>26.62295081967213</c:v>
                </c:pt>
                <c:pt idx="1094">
                  <c:v>26.65573770491803</c:v>
                </c:pt>
                <c:pt idx="1095">
                  <c:v>26.68852459016364</c:v>
                </c:pt>
                <c:pt idx="1096">
                  <c:v>26.68852459016364</c:v>
                </c:pt>
                <c:pt idx="1097">
                  <c:v>26.72131147540984</c:v>
                </c:pt>
                <c:pt idx="1098">
                  <c:v>26.75409836065574</c:v>
                </c:pt>
                <c:pt idx="1099">
                  <c:v>26.75409836065574</c:v>
                </c:pt>
                <c:pt idx="1100">
                  <c:v>26.78688524590164</c:v>
                </c:pt>
                <c:pt idx="1101">
                  <c:v>26.78688524590164</c:v>
                </c:pt>
                <c:pt idx="1102">
                  <c:v>26.81967213114754</c:v>
                </c:pt>
                <c:pt idx="1103">
                  <c:v>26.85245901639344</c:v>
                </c:pt>
                <c:pt idx="1104">
                  <c:v>26.88524590163932</c:v>
                </c:pt>
                <c:pt idx="1105">
                  <c:v>26.91803278688522</c:v>
                </c:pt>
                <c:pt idx="1106">
                  <c:v>26.95081967213108</c:v>
                </c:pt>
                <c:pt idx="1107">
                  <c:v>26.98360655737675</c:v>
                </c:pt>
                <c:pt idx="1108">
                  <c:v>27.0</c:v>
                </c:pt>
                <c:pt idx="1109">
                  <c:v>27.01639344262295</c:v>
                </c:pt>
                <c:pt idx="1110">
                  <c:v>27.04918032786885</c:v>
                </c:pt>
                <c:pt idx="1111">
                  <c:v>27.04918032786885</c:v>
                </c:pt>
                <c:pt idx="1112">
                  <c:v>27.08196721311476</c:v>
                </c:pt>
                <c:pt idx="1113">
                  <c:v>27.11475409836066</c:v>
                </c:pt>
                <c:pt idx="1114">
                  <c:v>27.14754098360656</c:v>
                </c:pt>
                <c:pt idx="1115">
                  <c:v>27.18032786885246</c:v>
                </c:pt>
                <c:pt idx="1116">
                  <c:v>27.21311475409836</c:v>
                </c:pt>
                <c:pt idx="1117">
                  <c:v>27.24590163934426</c:v>
                </c:pt>
                <c:pt idx="1118">
                  <c:v>27.27868852459015</c:v>
                </c:pt>
                <c:pt idx="1119">
                  <c:v>27.27868852459015</c:v>
                </c:pt>
                <c:pt idx="1120">
                  <c:v>27.31147540983606</c:v>
                </c:pt>
                <c:pt idx="1121">
                  <c:v>27.34426229508196</c:v>
                </c:pt>
                <c:pt idx="1122">
                  <c:v>27.37704918032787</c:v>
                </c:pt>
                <c:pt idx="1123">
                  <c:v>27.40983606557376</c:v>
                </c:pt>
                <c:pt idx="1124">
                  <c:v>27.44262295081968</c:v>
                </c:pt>
                <c:pt idx="1125">
                  <c:v>27.47540983606528</c:v>
                </c:pt>
                <c:pt idx="1126">
                  <c:v>27.50819672131147</c:v>
                </c:pt>
                <c:pt idx="1127">
                  <c:v>27.54098360655737</c:v>
                </c:pt>
                <c:pt idx="1128">
                  <c:v>27.57377049180328</c:v>
                </c:pt>
                <c:pt idx="1129">
                  <c:v>27.60655737704919</c:v>
                </c:pt>
                <c:pt idx="1130">
                  <c:v>27.63934426229508</c:v>
                </c:pt>
                <c:pt idx="1131">
                  <c:v>27.67213114754099</c:v>
                </c:pt>
                <c:pt idx="1132">
                  <c:v>27.70491803278688</c:v>
                </c:pt>
                <c:pt idx="1133">
                  <c:v>27.7377049180328</c:v>
                </c:pt>
                <c:pt idx="1134">
                  <c:v>27.77049180327868</c:v>
                </c:pt>
                <c:pt idx="1135">
                  <c:v>27.80327868852459</c:v>
                </c:pt>
                <c:pt idx="1136">
                  <c:v>27.8360655737705</c:v>
                </c:pt>
                <c:pt idx="1137">
                  <c:v>27.8688524590164</c:v>
                </c:pt>
                <c:pt idx="1138">
                  <c:v>27.90163934426218</c:v>
                </c:pt>
                <c:pt idx="1139">
                  <c:v>27.9344262295082</c:v>
                </c:pt>
                <c:pt idx="1140">
                  <c:v>27.9672131147541</c:v>
                </c:pt>
                <c:pt idx="1141">
                  <c:v>28.0</c:v>
                </c:pt>
                <c:pt idx="1142">
                  <c:v>28.03278688524588</c:v>
                </c:pt>
                <c:pt idx="1143">
                  <c:v>28.03278688524588</c:v>
                </c:pt>
                <c:pt idx="1144">
                  <c:v>28.06557377049178</c:v>
                </c:pt>
                <c:pt idx="1145">
                  <c:v>28.0983606557377</c:v>
                </c:pt>
                <c:pt idx="1146">
                  <c:v>28.1311475409836</c:v>
                </c:pt>
                <c:pt idx="1147">
                  <c:v>28.1639344262295</c:v>
                </c:pt>
                <c:pt idx="1148">
                  <c:v>28.19672131147541</c:v>
                </c:pt>
                <c:pt idx="1149">
                  <c:v>28.22950819672132</c:v>
                </c:pt>
                <c:pt idx="1150">
                  <c:v>28.26229508196698</c:v>
                </c:pt>
                <c:pt idx="1151">
                  <c:v>28.29508196721313</c:v>
                </c:pt>
                <c:pt idx="1152">
                  <c:v>28.32786885245901</c:v>
                </c:pt>
                <c:pt idx="1153">
                  <c:v>28.36065573770492</c:v>
                </c:pt>
                <c:pt idx="1154">
                  <c:v>28.39344262295081</c:v>
                </c:pt>
                <c:pt idx="1155">
                  <c:v>28.42622950819672</c:v>
                </c:pt>
                <c:pt idx="1156">
                  <c:v>28.45901639344263</c:v>
                </c:pt>
                <c:pt idx="1157">
                  <c:v>28.49180327868853</c:v>
                </c:pt>
                <c:pt idx="1158">
                  <c:v>28.52459016393443</c:v>
                </c:pt>
                <c:pt idx="1159">
                  <c:v>28.55737704918032</c:v>
                </c:pt>
                <c:pt idx="1160">
                  <c:v>28.59016393442623</c:v>
                </c:pt>
                <c:pt idx="1161">
                  <c:v>28.62295081967213</c:v>
                </c:pt>
                <c:pt idx="1162">
                  <c:v>28.65573770491802</c:v>
                </c:pt>
                <c:pt idx="1163">
                  <c:v>28.65573770491802</c:v>
                </c:pt>
                <c:pt idx="1164">
                  <c:v>28.68852459016364</c:v>
                </c:pt>
                <c:pt idx="1165">
                  <c:v>28.72131147540984</c:v>
                </c:pt>
                <c:pt idx="1166">
                  <c:v>28.75409836065574</c:v>
                </c:pt>
                <c:pt idx="1167">
                  <c:v>28.78688524590164</c:v>
                </c:pt>
                <c:pt idx="1168">
                  <c:v>28.81967213114754</c:v>
                </c:pt>
                <c:pt idx="1169">
                  <c:v>28.85245901639344</c:v>
                </c:pt>
                <c:pt idx="1170">
                  <c:v>28.88524590163932</c:v>
                </c:pt>
                <c:pt idx="1171">
                  <c:v>28.91803278688522</c:v>
                </c:pt>
                <c:pt idx="1172">
                  <c:v>28.95081967213108</c:v>
                </c:pt>
                <c:pt idx="1173">
                  <c:v>28.98360655737675</c:v>
                </c:pt>
                <c:pt idx="1174">
                  <c:v>29.0</c:v>
                </c:pt>
                <c:pt idx="1175">
                  <c:v>29.01639344262295</c:v>
                </c:pt>
                <c:pt idx="1176">
                  <c:v>29.04918032786885</c:v>
                </c:pt>
                <c:pt idx="1177">
                  <c:v>29.08196721311476</c:v>
                </c:pt>
                <c:pt idx="1178">
                  <c:v>29.11475409836066</c:v>
                </c:pt>
                <c:pt idx="1179">
                  <c:v>29.14754098360656</c:v>
                </c:pt>
                <c:pt idx="1180">
                  <c:v>29.18032786885246</c:v>
                </c:pt>
                <c:pt idx="1181">
                  <c:v>29.21311475409836</c:v>
                </c:pt>
                <c:pt idx="1182">
                  <c:v>29.24590163934426</c:v>
                </c:pt>
                <c:pt idx="1183">
                  <c:v>29.27868852459015</c:v>
                </c:pt>
                <c:pt idx="1184">
                  <c:v>29.31147540983606</c:v>
                </c:pt>
                <c:pt idx="1185">
                  <c:v>29.31147540983606</c:v>
                </c:pt>
                <c:pt idx="1186">
                  <c:v>29.34426229508196</c:v>
                </c:pt>
                <c:pt idx="1187">
                  <c:v>29.37704918032787</c:v>
                </c:pt>
                <c:pt idx="1188">
                  <c:v>29.40983606557376</c:v>
                </c:pt>
                <c:pt idx="1189">
                  <c:v>29.44262295081968</c:v>
                </c:pt>
                <c:pt idx="1190">
                  <c:v>29.47540983606528</c:v>
                </c:pt>
                <c:pt idx="1191">
                  <c:v>29.50819672131147</c:v>
                </c:pt>
                <c:pt idx="1192">
                  <c:v>29.54098360655737</c:v>
                </c:pt>
                <c:pt idx="1193">
                  <c:v>29.57377049180328</c:v>
                </c:pt>
                <c:pt idx="1194">
                  <c:v>29.60655737704917</c:v>
                </c:pt>
                <c:pt idx="1195">
                  <c:v>29.63934426229508</c:v>
                </c:pt>
                <c:pt idx="1196">
                  <c:v>29.67213114754099</c:v>
                </c:pt>
                <c:pt idx="1197">
                  <c:v>29.70491803278688</c:v>
                </c:pt>
                <c:pt idx="1198">
                  <c:v>29.7377049180328</c:v>
                </c:pt>
                <c:pt idx="1199">
                  <c:v>29.77049180327868</c:v>
                </c:pt>
                <c:pt idx="1200">
                  <c:v>29.8032786885246</c:v>
                </c:pt>
                <c:pt idx="1201">
                  <c:v>29.8360655737705</c:v>
                </c:pt>
                <c:pt idx="1202">
                  <c:v>29.8688524590164</c:v>
                </c:pt>
                <c:pt idx="1203">
                  <c:v>29.90163934426218</c:v>
                </c:pt>
                <c:pt idx="1204">
                  <c:v>29.9344262295082</c:v>
                </c:pt>
                <c:pt idx="1205">
                  <c:v>29.9672131147541</c:v>
                </c:pt>
                <c:pt idx="1206">
                  <c:v>30.0</c:v>
                </c:pt>
                <c:pt idx="1207">
                  <c:v>30.03278688524588</c:v>
                </c:pt>
                <c:pt idx="1208">
                  <c:v>30.0655737704918</c:v>
                </c:pt>
                <c:pt idx="1209">
                  <c:v>30.0983606557377</c:v>
                </c:pt>
                <c:pt idx="1210">
                  <c:v>30.1311475409836</c:v>
                </c:pt>
                <c:pt idx="1211">
                  <c:v>30.1639344262295</c:v>
                </c:pt>
                <c:pt idx="1212">
                  <c:v>30.1967213114754</c:v>
                </c:pt>
                <c:pt idx="1213">
                  <c:v>30.22950819672132</c:v>
                </c:pt>
                <c:pt idx="1214">
                  <c:v>30.26229508196698</c:v>
                </c:pt>
                <c:pt idx="1215">
                  <c:v>30.29508196721313</c:v>
                </c:pt>
                <c:pt idx="1216">
                  <c:v>30.32786885245901</c:v>
                </c:pt>
                <c:pt idx="1217">
                  <c:v>30.36065573770492</c:v>
                </c:pt>
                <c:pt idx="1218">
                  <c:v>30.39344262295081</c:v>
                </c:pt>
                <c:pt idx="1219">
                  <c:v>30.42622950819672</c:v>
                </c:pt>
                <c:pt idx="1220">
                  <c:v>30.45901639344263</c:v>
                </c:pt>
                <c:pt idx="1221">
                  <c:v>30.49180327868853</c:v>
                </c:pt>
                <c:pt idx="1222">
                  <c:v>30.52459016393443</c:v>
                </c:pt>
                <c:pt idx="1223">
                  <c:v>30.55737704918032</c:v>
                </c:pt>
                <c:pt idx="1224">
                  <c:v>30.59016393442623</c:v>
                </c:pt>
                <c:pt idx="1225">
                  <c:v>30.62295081967213</c:v>
                </c:pt>
                <c:pt idx="1226">
                  <c:v>30.65573770491802</c:v>
                </c:pt>
                <c:pt idx="1227">
                  <c:v>30.68852459016364</c:v>
                </c:pt>
                <c:pt idx="1228">
                  <c:v>30.72131147540984</c:v>
                </c:pt>
                <c:pt idx="1229">
                  <c:v>30.75409836065574</c:v>
                </c:pt>
                <c:pt idx="1230">
                  <c:v>30.78688524590164</c:v>
                </c:pt>
                <c:pt idx="1231">
                  <c:v>30.81967213114754</c:v>
                </c:pt>
                <c:pt idx="1232">
                  <c:v>30.85245901639344</c:v>
                </c:pt>
                <c:pt idx="1233">
                  <c:v>30.88524590163932</c:v>
                </c:pt>
                <c:pt idx="1234">
                  <c:v>30.91803278688522</c:v>
                </c:pt>
                <c:pt idx="1235">
                  <c:v>30.95081967213108</c:v>
                </c:pt>
                <c:pt idx="1236">
                  <c:v>30.98360655737675</c:v>
                </c:pt>
                <c:pt idx="1237">
                  <c:v>31.0</c:v>
                </c:pt>
                <c:pt idx="1238">
                  <c:v>31.01639344262295</c:v>
                </c:pt>
                <c:pt idx="1239">
                  <c:v>31.04918032786885</c:v>
                </c:pt>
                <c:pt idx="1240">
                  <c:v>31.08196721311476</c:v>
                </c:pt>
                <c:pt idx="1241">
                  <c:v>31.11475409836066</c:v>
                </c:pt>
                <c:pt idx="1242">
                  <c:v>31.14754098360656</c:v>
                </c:pt>
                <c:pt idx="1243">
                  <c:v>31.18032786885246</c:v>
                </c:pt>
                <c:pt idx="1244">
                  <c:v>31.21311475409836</c:v>
                </c:pt>
                <c:pt idx="1245">
                  <c:v>31.24590163934426</c:v>
                </c:pt>
                <c:pt idx="1246">
                  <c:v>31.27868852459015</c:v>
                </c:pt>
                <c:pt idx="1247">
                  <c:v>31.31147540983606</c:v>
                </c:pt>
                <c:pt idx="1248">
                  <c:v>31.34426229508196</c:v>
                </c:pt>
                <c:pt idx="1249">
                  <c:v>31.37704918032787</c:v>
                </c:pt>
                <c:pt idx="1250">
                  <c:v>31.40983606557376</c:v>
                </c:pt>
                <c:pt idx="1251">
                  <c:v>31.44262295081968</c:v>
                </c:pt>
                <c:pt idx="1252">
                  <c:v>31.47540983606528</c:v>
                </c:pt>
                <c:pt idx="1253">
                  <c:v>31.50819672131147</c:v>
                </c:pt>
                <c:pt idx="1254">
                  <c:v>31.54098360655737</c:v>
                </c:pt>
                <c:pt idx="1255">
                  <c:v>31.57377049180328</c:v>
                </c:pt>
                <c:pt idx="1256">
                  <c:v>31.60655737704917</c:v>
                </c:pt>
                <c:pt idx="1257">
                  <c:v>31.63934426229508</c:v>
                </c:pt>
                <c:pt idx="1258">
                  <c:v>31.67213114754099</c:v>
                </c:pt>
                <c:pt idx="1259">
                  <c:v>31.70491803278688</c:v>
                </c:pt>
                <c:pt idx="1260">
                  <c:v>31.7377049180328</c:v>
                </c:pt>
                <c:pt idx="1261">
                  <c:v>31.77049180327868</c:v>
                </c:pt>
                <c:pt idx="1262">
                  <c:v>31.8032786885246</c:v>
                </c:pt>
                <c:pt idx="1263">
                  <c:v>31.8360655737705</c:v>
                </c:pt>
                <c:pt idx="1264">
                  <c:v>31.8688524590164</c:v>
                </c:pt>
                <c:pt idx="1265">
                  <c:v>31.90163934426218</c:v>
                </c:pt>
                <c:pt idx="1266">
                  <c:v>31.9344262295082</c:v>
                </c:pt>
                <c:pt idx="1267">
                  <c:v>31.9672131147541</c:v>
                </c:pt>
                <c:pt idx="1268">
                  <c:v>32.0</c:v>
                </c:pt>
                <c:pt idx="1269">
                  <c:v>32.0327868852459</c:v>
                </c:pt>
                <c:pt idx="1270">
                  <c:v>32.0655737704918</c:v>
                </c:pt>
                <c:pt idx="1271">
                  <c:v>32.09836065573771</c:v>
                </c:pt>
                <c:pt idx="1272">
                  <c:v>32.1311475409836</c:v>
                </c:pt>
                <c:pt idx="1273">
                  <c:v>32.1639344262295</c:v>
                </c:pt>
                <c:pt idx="1274">
                  <c:v>32.19672131147541</c:v>
                </c:pt>
                <c:pt idx="1275">
                  <c:v>32.22950819672136</c:v>
                </c:pt>
                <c:pt idx="1276">
                  <c:v>32.26229508196721</c:v>
                </c:pt>
                <c:pt idx="1277">
                  <c:v>32.327868852459</c:v>
                </c:pt>
                <c:pt idx="1278">
                  <c:v>32.36065573770492</c:v>
                </c:pt>
                <c:pt idx="1279">
                  <c:v>32.39344262295082</c:v>
                </c:pt>
                <c:pt idx="1280">
                  <c:v>32.42622950819673</c:v>
                </c:pt>
                <c:pt idx="1281">
                  <c:v>32.45901639344233</c:v>
                </c:pt>
                <c:pt idx="1282">
                  <c:v>32.5573770491803</c:v>
                </c:pt>
                <c:pt idx="1283">
                  <c:v>32.59016393442623</c:v>
                </c:pt>
                <c:pt idx="1284">
                  <c:v>32.62295081967213</c:v>
                </c:pt>
                <c:pt idx="1285">
                  <c:v>32.65573770491803</c:v>
                </c:pt>
                <c:pt idx="1286">
                  <c:v>32.72131147540984</c:v>
                </c:pt>
                <c:pt idx="1287">
                  <c:v>32.75409836065574</c:v>
                </c:pt>
                <c:pt idx="1288">
                  <c:v>32.78688524590164</c:v>
                </c:pt>
                <c:pt idx="1289">
                  <c:v>32.88524590163932</c:v>
                </c:pt>
                <c:pt idx="1290">
                  <c:v>33.0</c:v>
                </c:pt>
              </c:numCache>
            </c:numRef>
          </c:xVal>
          <c:yVal>
            <c:numRef>
              <c:f>'Scatter chart - by week'!$C$2:$C$1292</c:f>
              <c:numCache>
                <c:formatCode>General</c:formatCode>
                <c:ptCount val="1291"/>
                <c:pt idx="0">
                  <c:v>0.0</c:v>
                </c:pt>
                <c:pt idx="1">
                  <c:v>0.0</c:v>
                </c:pt>
                <c:pt idx="2">
                  <c:v>0.0</c:v>
                </c:pt>
                <c:pt idx="3">
                  <c:v>0.0</c:v>
                </c:pt>
                <c:pt idx="4">
                  <c:v>0.0</c:v>
                </c:pt>
                <c:pt idx="5">
                  <c:v>0.0</c:v>
                </c:pt>
                <c:pt idx="6">
                  <c:v>0.0262054507337517</c:v>
                </c:pt>
                <c:pt idx="7">
                  <c:v>0.0262054507337517</c:v>
                </c:pt>
                <c:pt idx="8">
                  <c:v>0.0262054507337517</c:v>
                </c:pt>
                <c:pt idx="9">
                  <c:v>0.0262054507337517</c:v>
                </c:pt>
                <c:pt idx="10">
                  <c:v>0.0786163522012551</c:v>
                </c:pt>
                <c:pt idx="11">
                  <c:v>0.0786163522012551</c:v>
                </c:pt>
                <c:pt idx="12">
                  <c:v>0.0786163522012551</c:v>
                </c:pt>
                <c:pt idx="13">
                  <c:v>0.0786163522012551</c:v>
                </c:pt>
                <c:pt idx="14">
                  <c:v>0.0786163522012551</c:v>
                </c:pt>
                <c:pt idx="15">
                  <c:v>0.104828677397417</c:v>
                </c:pt>
                <c:pt idx="16">
                  <c:v>0.104828677397417</c:v>
                </c:pt>
                <c:pt idx="17">
                  <c:v>0.13104100259359</c:v>
                </c:pt>
                <c:pt idx="18">
                  <c:v>0.13104100259359</c:v>
                </c:pt>
                <c:pt idx="19">
                  <c:v>0.13104100259359</c:v>
                </c:pt>
                <c:pt idx="20">
                  <c:v>0.13104100259359</c:v>
                </c:pt>
                <c:pt idx="21">
                  <c:v>0.13104100259359</c:v>
                </c:pt>
                <c:pt idx="22">
                  <c:v>0.13104100259359</c:v>
                </c:pt>
                <c:pt idx="23">
                  <c:v>0.13104100259359</c:v>
                </c:pt>
                <c:pt idx="24">
                  <c:v>0.157253327789764</c:v>
                </c:pt>
                <c:pt idx="25">
                  <c:v>0.157253327789764</c:v>
                </c:pt>
                <c:pt idx="26">
                  <c:v>0.157253327789764</c:v>
                </c:pt>
                <c:pt idx="27">
                  <c:v>0.157253327789764</c:v>
                </c:pt>
                <c:pt idx="28">
                  <c:v>0.209677978182099</c:v>
                </c:pt>
                <c:pt idx="29">
                  <c:v>0.209677978182099</c:v>
                </c:pt>
                <c:pt idx="30">
                  <c:v>0.235890303378261</c:v>
                </c:pt>
                <c:pt idx="31">
                  <c:v>0.235890303378261</c:v>
                </c:pt>
                <c:pt idx="32">
                  <c:v>0.235890303378261</c:v>
                </c:pt>
                <c:pt idx="33">
                  <c:v>0.235890303378261</c:v>
                </c:pt>
                <c:pt idx="34">
                  <c:v>0.262102628574434</c:v>
                </c:pt>
                <c:pt idx="35">
                  <c:v>0.262102628574434</c:v>
                </c:pt>
                <c:pt idx="36">
                  <c:v>0.262102628574434</c:v>
                </c:pt>
                <c:pt idx="37">
                  <c:v>0.262102628574434</c:v>
                </c:pt>
                <c:pt idx="38">
                  <c:v>0.314527278966781</c:v>
                </c:pt>
                <c:pt idx="39">
                  <c:v>0.314527278966781</c:v>
                </c:pt>
                <c:pt idx="40">
                  <c:v>0.314527278966781</c:v>
                </c:pt>
                <c:pt idx="41">
                  <c:v>0.340746498514666</c:v>
                </c:pt>
                <c:pt idx="42">
                  <c:v>0.340746498514666</c:v>
                </c:pt>
                <c:pt idx="43">
                  <c:v>0.340746498514666</c:v>
                </c:pt>
                <c:pt idx="44">
                  <c:v>0.366965718062551</c:v>
                </c:pt>
                <c:pt idx="45">
                  <c:v>0.366965718062551</c:v>
                </c:pt>
                <c:pt idx="46">
                  <c:v>0.366965718062551</c:v>
                </c:pt>
                <c:pt idx="47">
                  <c:v>0.366965718062551</c:v>
                </c:pt>
                <c:pt idx="48">
                  <c:v>0.393184937610436</c:v>
                </c:pt>
                <c:pt idx="49">
                  <c:v>0.393184937610436</c:v>
                </c:pt>
                <c:pt idx="50">
                  <c:v>0.445623376706194</c:v>
                </c:pt>
                <c:pt idx="51">
                  <c:v>0.445623376706194</c:v>
                </c:pt>
                <c:pt idx="52">
                  <c:v>0.498075629932371</c:v>
                </c:pt>
                <c:pt idx="53">
                  <c:v>0.498075629932371</c:v>
                </c:pt>
                <c:pt idx="54">
                  <c:v>0.524301756545465</c:v>
                </c:pt>
                <c:pt idx="55">
                  <c:v>0.524301756545465</c:v>
                </c:pt>
                <c:pt idx="56">
                  <c:v>0.550527883158547</c:v>
                </c:pt>
                <c:pt idx="57">
                  <c:v>0.550527883158547</c:v>
                </c:pt>
                <c:pt idx="58">
                  <c:v>0.550527883158547</c:v>
                </c:pt>
                <c:pt idx="59">
                  <c:v>0.550527883158547</c:v>
                </c:pt>
                <c:pt idx="60">
                  <c:v>0.57675400977164</c:v>
                </c:pt>
                <c:pt idx="61">
                  <c:v>0.57675400977164</c:v>
                </c:pt>
                <c:pt idx="62">
                  <c:v>0.57675400977164</c:v>
                </c:pt>
                <c:pt idx="63">
                  <c:v>0.57675400977164</c:v>
                </c:pt>
                <c:pt idx="64">
                  <c:v>0.602980136384734</c:v>
                </c:pt>
                <c:pt idx="65">
                  <c:v>0.602980136384734</c:v>
                </c:pt>
                <c:pt idx="66">
                  <c:v>0.602980136384734</c:v>
                </c:pt>
                <c:pt idx="67">
                  <c:v>0.602980136384734</c:v>
                </c:pt>
                <c:pt idx="68">
                  <c:v>0.655446232908152</c:v>
                </c:pt>
                <c:pt idx="69">
                  <c:v>0.655446232908152</c:v>
                </c:pt>
                <c:pt idx="70">
                  <c:v>0.681679281169856</c:v>
                </c:pt>
                <c:pt idx="71">
                  <c:v>0.681679281169856</c:v>
                </c:pt>
                <c:pt idx="72">
                  <c:v>0.70791232943157</c:v>
                </c:pt>
                <c:pt idx="73">
                  <c:v>0.70791232943157</c:v>
                </c:pt>
                <c:pt idx="74">
                  <c:v>0.734145377693274</c:v>
                </c:pt>
                <c:pt idx="75">
                  <c:v>0.734145377693274</c:v>
                </c:pt>
                <c:pt idx="76">
                  <c:v>0.760378425954988</c:v>
                </c:pt>
                <c:pt idx="77">
                  <c:v>0.760378425954988</c:v>
                </c:pt>
                <c:pt idx="78">
                  <c:v>0.786611474216692</c:v>
                </c:pt>
                <c:pt idx="79">
                  <c:v>0.786611474216692</c:v>
                </c:pt>
                <c:pt idx="80">
                  <c:v>0.83907757074011</c:v>
                </c:pt>
                <c:pt idx="81">
                  <c:v>0.83907757074011</c:v>
                </c:pt>
                <c:pt idx="82">
                  <c:v>0.83907757074011</c:v>
                </c:pt>
                <c:pt idx="83">
                  <c:v>0.83907757074011</c:v>
                </c:pt>
                <c:pt idx="84">
                  <c:v>0.865317560798129</c:v>
                </c:pt>
                <c:pt idx="85">
                  <c:v>0.865317560798129</c:v>
                </c:pt>
                <c:pt idx="86">
                  <c:v>0.891557550856148</c:v>
                </c:pt>
                <c:pt idx="87">
                  <c:v>0.891557550856148</c:v>
                </c:pt>
                <c:pt idx="88">
                  <c:v>0.970277521030216</c:v>
                </c:pt>
                <c:pt idx="89">
                  <c:v>0.970277521030216</c:v>
                </c:pt>
                <c:pt idx="90">
                  <c:v>0.996531424126446</c:v>
                </c:pt>
                <c:pt idx="91">
                  <c:v>0.996531424126446</c:v>
                </c:pt>
                <c:pt idx="92">
                  <c:v>0.996531424126446</c:v>
                </c:pt>
                <c:pt idx="93">
                  <c:v>0.996531424126446</c:v>
                </c:pt>
                <c:pt idx="94">
                  <c:v>1.022785327222675</c:v>
                </c:pt>
                <c:pt idx="95">
                  <c:v>1.022785327222675</c:v>
                </c:pt>
                <c:pt idx="96">
                  <c:v>1.022785327222675</c:v>
                </c:pt>
                <c:pt idx="97">
                  <c:v>1.022785327222675</c:v>
                </c:pt>
                <c:pt idx="98">
                  <c:v>1.049039230318894</c:v>
                </c:pt>
                <c:pt idx="99">
                  <c:v>1.049039230318894</c:v>
                </c:pt>
                <c:pt idx="100">
                  <c:v>1.049039230318894</c:v>
                </c:pt>
                <c:pt idx="101">
                  <c:v>1.049039230318894</c:v>
                </c:pt>
                <c:pt idx="102">
                  <c:v>1.075293133415123</c:v>
                </c:pt>
                <c:pt idx="103">
                  <c:v>1.075293133415123</c:v>
                </c:pt>
                <c:pt idx="104">
                  <c:v>1.101547036511353</c:v>
                </c:pt>
                <c:pt idx="105">
                  <c:v>1.101547036511353</c:v>
                </c:pt>
                <c:pt idx="106">
                  <c:v>1.101547036511353</c:v>
                </c:pt>
                <c:pt idx="107">
                  <c:v>1.101547036511353</c:v>
                </c:pt>
                <c:pt idx="108">
                  <c:v>1.127800939607582</c:v>
                </c:pt>
                <c:pt idx="109">
                  <c:v>1.127800939607582</c:v>
                </c:pt>
                <c:pt idx="110">
                  <c:v>1.154054842703811</c:v>
                </c:pt>
                <c:pt idx="111">
                  <c:v>1.154054842703811</c:v>
                </c:pt>
                <c:pt idx="112">
                  <c:v>1.180315720800862</c:v>
                </c:pt>
                <c:pt idx="113">
                  <c:v>1.180315720800862</c:v>
                </c:pt>
                <c:pt idx="114">
                  <c:v>1.180315720800862</c:v>
                </c:pt>
                <c:pt idx="115">
                  <c:v>1.206576598897902</c:v>
                </c:pt>
                <c:pt idx="116">
                  <c:v>1.206576598897902</c:v>
                </c:pt>
                <c:pt idx="117">
                  <c:v>1.206576598897902</c:v>
                </c:pt>
                <c:pt idx="118">
                  <c:v>1.206576598897902</c:v>
                </c:pt>
                <c:pt idx="119">
                  <c:v>1.259112319930134</c:v>
                </c:pt>
                <c:pt idx="120">
                  <c:v>1.259112319930134</c:v>
                </c:pt>
                <c:pt idx="121">
                  <c:v>1.259112319930134</c:v>
                </c:pt>
                <c:pt idx="122">
                  <c:v>1.259112319930134</c:v>
                </c:pt>
                <c:pt idx="123">
                  <c:v>1.259112319930134</c:v>
                </c:pt>
                <c:pt idx="124">
                  <c:v>1.259112319930134</c:v>
                </c:pt>
                <c:pt idx="125">
                  <c:v>1.285387170297358</c:v>
                </c:pt>
                <c:pt idx="126">
                  <c:v>1.285387170297358</c:v>
                </c:pt>
                <c:pt idx="127">
                  <c:v>1.311662020664595</c:v>
                </c:pt>
                <c:pt idx="128">
                  <c:v>1.311662020664595</c:v>
                </c:pt>
                <c:pt idx="129">
                  <c:v>1.33793687103183</c:v>
                </c:pt>
                <c:pt idx="130">
                  <c:v>1.33793687103183</c:v>
                </c:pt>
                <c:pt idx="131">
                  <c:v>1.364211721399067</c:v>
                </c:pt>
                <c:pt idx="132">
                  <c:v>1.364211721399067</c:v>
                </c:pt>
                <c:pt idx="133">
                  <c:v>1.390486571766303</c:v>
                </c:pt>
                <c:pt idx="134">
                  <c:v>1.390486571766303</c:v>
                </c:pt>
                <c:pt idx="135">
                  <c:v>1.390486571766303</c:v>
                </c:pt>
                <c:pt idx="136">
                  <c:v>1.390486571766303</c:v>
                </c:pt>
                <c:pt idx="137">
                  <c:v>1.416768425025427</c:v>
                </c:pt>
                <c:pt idx="138">
                  <c:v>1.416768425025427</c:v>
                </c:pt>
                <c:pt idx="139">
                  <c:v>1.443050278284552</c:v>
                </c:pt>
                <c:pt idx="140">
                  <c:v>1.443050278284552</c:v>
                </c:pt>
                <c:pt idx="141">
                  <c:v>1.469332131543677</c:v>
                </c:pt>
                <c:pt idx="142">
                  <c:v>1.469332131543677</c:v>
                </c:pt>
                <c:pt idx="143">
                  <c:v>1.495613984802802</c:v>
                </c:pt>
                <c:pt idx="144">
                  <c:v>1.495613984802802</c:v>
                </c:pt>
                <c:pt idx="145">
                  <c:v>1.521895838061926</c:v>
                </c:pt>
                <c:pt idx="146">
                  <c:v>1.521895838061926</c:v>
                </c:pt>
                <c:pt idx="147">
                  <c:v>1.521895838061926</c:v>
                </c:pt>
                <c:pt idx="148">
                  <c:v>1.521895838061926</c:v>
                </c:pt>
                <c:pt idx="149">
                  <c:v>1.521895838061926</c:v>
                </c:pt>
                <c:pt idx="150">
                  <c:v>1.574459544580164</c:v>
                </c:pt>
                <c:pt idx="151">
                  <c:v>1.574459544580164</c:v>
                </c:pt>
                <c:pt idx="152">
                  <c:v>1.627023251098413</c:v>
                </c:pt>
                <c:pt idx="153">
                  <c:v>1.627023251098413</c:v>
                </c:pt>
                <c:pt idx="154">
                  <c:v>1.65330510435754</c:v>
                </c:pt>
                <c:pt idx="155">
                  <c:v>1.65330510435754</c:v>
                </c:pt>
                <c:pt idx="156">
                  <c:v>1.679586957616663</c:v>
                </c:pt>
                <c:pt idx="157">
                  <c:v>1.679586957616663</c:v>
                </c:pt>
                <c:pt idx="158">
                  <c:v>1.732150664134913</c:v>
                </c:pt>
                <c:pt idx="159">
                  <c:v>1.732150664134913</c:v>
                </c:pt>
                <c:pt idx="160">
                  <c:v>1.758439548387425</c:v>
                </c:pt>
                <c:pt idx="161">
                  <c:v>1.758439548387425</c:v>
                </c:pt>
                <c:pt idx="162">
                  <c:v>1.784728432639937</c:v>
                </c:pt>
                <c:pt idx="163">
                  <c:v>1.784728432639937</c:v>
                </c:pt>
                <c:pt idx="164">
                  <c:v>1.83730620114495</c:v>
                </c:pt>
                <c:pt idx="165">
                  <c:v>1.83730620114495</c:v>
                </c:pt>
                <c:pt idx="166">
                  <c:v>1.83730620114495</c:v>
                </c:pt>
                <c:pt idx="167">
                  <c:v>1.83730620114495</c:v>
                </c:pt>
                <c:pt idx="168">
                  <c:v>1.83730620114495</c:v>
                </c:pt>
                <c:pt idx="169">
                  <c:v>1.863595085397451</c:v>
                </c:pt>
                <c:pt idx="170">
                  <c:v>1.863595085397451</c:v>
                </c:pt>
                <c:pt idx="171">
                  <c:v>1.863595085397451</c:v>
                </c:pt>
                <c:pt idx="172">
                  <c:v>1.863595085397451</c:v>
                </c:pt>
                <c:pt idx="173">
                  <c:v>1.863595085397451</c:v>
                </c:pt>
                <c:pt idx="174">
                  <c:v>1.889905113524692</c:v>
                </c:pt>
                <c:pt idx="175">
                  <c:v>1.889905113524692</c:v>
                </c:pt>
                <c:pt idx="176">
                  <c:v>1.889905113524692</c:v>
                </c:pt>
                <c:pt idx="177">
                  <c:v>1.889905113524692</c:v>
                </c:pt>
                <c:pt idx="178">
                  <c:v>1.889905113524692</c:v>
                </c:pt>
                <c:pt idx="179">
                  <c:v>1.889905113524692</c:v>
                </c:pt>
                <c:pt idx="180">
                  <c:v>1.916215141651934</c:v>
                </c:pt>
                <c:pt idx="181">
                  <c:v>1.916215141651934</c:v>
                </c:pt>
                <c:pt idx="182">
                  <c:v>1.916215141651934</c:v>
                </c:pt>
                <c:pt idx="183">
                  <c:v>1.916215141651934</c:v>
                </c:pt>
                <c:pt idx="184">
                  <c:v>1.916215141651934</c:v>
                </c:pt>
                <c:pt idx="185">
                  <c:v>1.916215141651934</c:v>
                </c:pt>
                <c:pt idx="186">
                  <c:v>1.942525169779174</c:v>
                </c:pt>
                <c:pt idx="187">
                  <c:v>1.942525169779174</c:v>
                </c:pt>
                <c:pt idx="188">
                  <c:v>1.968835197906416</c:v>
                </c:pt>
                <c:pt idx="189">
                  <c:v>1.968835197906416</c:v>
                </c:pt>
                <c:pt idx="190">
                  <c:v>1.968835197906416</c:v>
                </c:pt>
                <c:pt idx="191">
                  <c:v>2.021469380350493</c:v>
                </c:pt>
                <c:pt idx="192">
                  <c:v>2.021469380350493</c:v>
                </c:pt>
                <c:pt idx="193">
                  <c:v>2.047786471572533</c:v>
                </c:pt>
                <c:pt idx="194">
                  <c:v>2.047786471572533</c:v>
                </c:pt>
                <c:pt idx="195">
                  <c:v>2.074103562794571</c:v>
                </c:pt>
                <c:pt idx="196">
                  <c:v>2.074103562794571</c:v>
                </c:pt>
                <c:pt idx="197">
                  <c:v>2.100420654016612</c:v>
                </c:pt>
                <c:pt idx="198">
                  <c:v>2.100420654016612</c:v>
                </c:pt>
                <c:pt idx="199">
                  <c:v>2.12673774523865</c:v>
                </c:pt>
                <c:pt idx="200">
                  <c:v>2.12673774523865</c:v>
                </c:pt>
                <c:pt idx="201">
                  <c:v>2.153054836460687</c:v>
                </c:pt>
                <c:pt idx="202">
                  <c:v>2.153054836460687</c:v>
                </c:pt>
                <c:pt idx="203">
                  <c:v>2.153054836460687</c:v>
                </c:pt>
                <c:pt idx="204">
                  <c:v>2.153054836460687</c:v>
                </c:pt>
                <c:pt idx="205">
                  <c:v>2.179371927682728</c:v>
                </c:pt>
                <c:pt idx="206">
                  <c:v>2.179371927682728</c:v>
                </c:pt>
                <c:pt idx="207">
                  <c:v>2.179371927682728</c:v>
                </c:pt>
                <c:pt idx="208">
                  <c:v>2.179371927682728</c:v>
                </c:pt>
                <c:pt idx="209">
                  <c:v>2.179371927682728</c:v>
                </c:pt>
                <c:pt idx="210">
                  <c:v>2.179371927682728</c:v>
                </c:pt>
                <c:pt idx="211">
                  <c:v>2.205696101006815</c:v>
                </c:pt>
                <c:pt idx="212">
                  <c:v>2.205696101006815</c:v>
                </c:pt>
                <c:pt idx="213">
                  <c:v>2.232020274330904</c:v>
                </c:pt>
                <c:pt idx="214">
                  <c:v>2.232020274330904</c:v>
                </c:pt>
                <c:pt idx="215">
                  <c:v>2.232020274330904</c:v>
                </c:pt>
                <c:pt idx="216">
                  <c:v>2.232020274330904</c:v>
                </c:pt>
                <c:pt idx="217">
                  <c:v>2.232020274330904</c:v>
                </c:pt>
                <c:pt idx="218">
                  <c:v>2.232020274330904</c:v>
                </c:pt>
                <c:pt idx="219">
                  <c:v>2.232020274330904</c:v>
                </c:pt>
                <c:pt idx="220">
                  <c:v>2.232020274330904</c:v>
                </c:pt>
                <c:pt idx="221">
                  <c:v>2.258358630938027</c:v>
                </c:pt>
                <c:pt idx="222">
                  <c:v>2.258358630938027</c:v>
                </c:pt>
                <c:pt idx="223">
                  <c:v>2.284696987545165</c:v>
                </c:pt>
                <c:pt idx="224">
                  <c:v>2.284696987545165</c:v>
                </c:pt>
                <c:pt idx="225">
                  <c:v>2.337373700759426</c:v>
                </c:pt>
                <c:pt idx="226">
                  <c:v>2.337373700759426</c:v>
                </c:pt>
                <c:pt idx="227">
                  <c:v>2.337373700759426</c:v>
                </c:pt>
                <c:pt idx="228">
                  <c:v>2.337373700759426</c:v>
                </c:pt>
                <c:pt idx="229">
                  <c:v>2.363712057366553</c:v>
                </c:pt>
                <c:pt idx="230">
                  <c:v>2.363712057366553</c:v>
                </c:pt>
                <c:pt idx="231">
                  <c:v>2.363712057366553</c:v>
                </c:pt>
                <c:pt idx="232">
                  <c:v>2.363712057366553</c:v>
                </c:pt>
                <c:pt idx="233">
                  <c:v>2.363712057366553</c:v>
                </c:pt>
                <c:pt idx="234">
                  <c:v>2.363712057366553</c:v>
                </c:pt>
                <c:pt idx="235">
                  <c:v>2.390050413973658</c:v>
                </c:pt>
                <c:pt idx="236">
                  <c:v>2.390050413973658</c:v>
                </c:pt>
                <c:pt idx="237">
                  <c:v>2.44272712718795</c:v>
                </c:pt>
                <c:pt idx="238">
                  <c:v>2.44272712718795</c:v>
                </c:pt>
                <c:pt idx="239">
                  <c:v>2.44272712718795</c:v>
                </c:pt>
                <c:pt idx="240">
                  <c:v>2.44272712718795</c:v>
                </c:pt>
                <c:pt idx="241">
                  <c:v>2.44272712718795</c:v>
                </c:pt>
                <c:pt idx="242">
                  <c:v>2.44272712718795</c:v>
                </c:pt>
                <c:pt idx="243">
                  <c:v>2.44272712718795</c:v>
                </c:pt>
                <c:pt idx="244">
                  <c:v>2.44272712718795</c:v>
                </c:pt>
                <c:pt idx="245">
                  <c:v>2.469072596502785</c:v>
                </c:pt>
                <c:pt idx="246">
                  <c:v>2.469072596502785</c:v>
                </c:pt>
                <c:pt idx="247">
                  <c:v>2.495418065817621</c:v>
                </c:pt>
                <c:pt idx="248">
                  <c:v>2.495418065817621</c:v>
                </c:pt>
                <c:pt idx="249">
                  <c:v>2.52176353513246</c:v>
                </c:pt>
                <c:pt idx="250">
                  <c:v>2.52176353513246</c:v>
                </c:pt>
                <c:pt idx="251">
                  <c:v>2.52176353513246</c:v>
                </c:pt>
                <c:pt idx="252">
                  <c:v>2.52176353513246</c:v>
                </c:pt>
                <c:pt idx="253">
                  <c:v>2.548109004447285</c:v>
                </c:pt>
                <c:pt idx="254">
                  <c:v>2.548109004447285</c:v>
                </c:pt>
                <c:pt idx="255">
                  <c:v>2.548109004447285</c:v>
                </c:pt>
                <c:pt idx="256">
                  <c:v>2.548109004447285</c:v>
                </c:pt>
                <c:pt idx="257">
                  <c:v>2.548109004447285</c:v>
                </c:pt>
                <c:pt idx="258">
                  <c:v>2.548109004447285</c:v>
                </c:pt>
                <c:pt idx="259">
                  <c:v>2.57445447376212</c:v>
                </c:pt>
                <c:pt idx="260">
                  <c:v>2.57445447376212</c:v>
                </c:pt>
                <c:pt idx="261">
                  <c:v>2.600799943076948</c:v>
                </c:pt>
                <c:pt idx="262">
                  <c:v>2.600799943076948</c:v>
                </c:pt>
                <c:pt idx="263">
                  <c:v>2.653490881706612</c:v>
                </c:pt>
                <c:pt idx="264">
                  <c:v>2.653490881706612</c:v>
                </c:pt>
                <c:pt idx="265">
                  <c:v>2.679836351021448</c:v>
                </c:pt>
                <c:pt idx="266">
                  <c:v>2.679836351021448</c:v>
                </c:pt>
                <c:pt idx="267">
                  <c:v>2.679836351021448</c:v>
                </c:pt>
                <c:pt idx="268">
                  <c:v>2.679836351021448</c:v>
                </c:pt>
                <c:pt idx="269">
                  <c:v>2.706181820336284</c:v>
                </c:pt>
                <c:pt idx="270">
                  <c:v>2.706181820336284</c:v>
                </c:pt>
                <c:pt idx="271">
                  <c:v>2.706181820336284</c:v>
                </c:pt>
                <c:pt idx="272">
                  <c:v>2.706181820336284</c:v>
                </c:pt>
                <c:pt idx="273">
                  <c:v>2.706181820336284</c:v>
                </c:pt>
                <c:pt idx="274">
                  <c:v>2.706181820336284</c:v>
                </c:pt>
                <c:pt idx="275">
                  <c:v>2.706181820336284</c:v>
                </c:pt>
                <c:pt idx="276">
                  <c:v>2.706181820336284</c:v>
                </c:pt>
                <c:pt idx="277">
                  <c:v>2.706181820336284</c:v>
                </c:pt>
                <c:pt idx="278">
                  <c:v>2.706181820336284</c:v>
                </c:pt>
                <c:pt idx="279">
                  <c:v>2.706181820336284</c:v>
                </c:pt>
                <c:pt idx="280">
                  <c:v>2.706181820336284</c:v>
                </c:pt>
                <c:pt idx="281">
                  <c:v>2.706181820336284</c:v>
                </c:pt>
                <c:pt idx="282">
                  <c:v>2.706181820336284</c:v>
                </c:pt>
                <c:pt idx="283">
                  <c:v>2.706181820336284</c:v>
                </c:pt>
                <c:pt idx="284">
                  <c:v>2.706181820336284</c:v>
                </c:pt>
                <c:pt idx="285">
                  <c:v>2.73253442547704</c:v>
                </c:pt>
                <c:pt idx="286">
                  <c:v>2.73253442547704</c:v>
                </c:pt>
                <c:pt idx="287">
                  <c:v>2.73253442547704</c:v>
                </c:pt>
                <c:pt idx="288">
                  <c:v>2.73253442547704</c:v>
                </c:pt>
                <c:pt idx="289">
                  <c:v>2.73253442547704</c:v>
                </c:pt>
                <c:pt idx="290">
                  <c:v>2.73253442547704</c:v>
                </c:pt>
                <c:pt idx="291">
                  <c:v>2.73253442547704</c:v>
                </c:pt>
                <c:pt idx="292">
                  <c:v>2.73253442547704</c:v>
                </c:pt>
                <c:pt idx="293">
                  <c:v>2.758887030617796</c:v>
                </c:pt>
                <c:pt idx="294">
                  <c:v>2.758887030617796</c:v>
                </c:pt>
                <c:pt idx="295">
                  <c:v>2.758887030617796</c:v>
                </c:pt>
                <c:pt idx="296">
                  <c:v>2.758887030617796</c:v>
                </c:pt>
                <c:pt idx="297">
                  <c:v>2.758887030617796</c:v>
                </c:pt>
                <c:pt idx="298">
                  <c:v>2.811606528025977</c:v>
                </c:pt>
                <c:pt idx="299">
                  <c:v>2.811606528025977</c:v>
                </c:pt>
                <c:pt idx="300">
                  <c:v>2.811606528025977</c:v>
                </c:pt>
                <c:pt idx="301">
                  <c:v>2.811606528025977</c:v>
                </c:pt>
                <c:pt idx="302">
                  <c:v>2.837966276730064</c:v>
                </c:pt>
                <c:pt idx="303">
                  <c:v>2.837966276730064</c:v>
                </c:pt>
                <c:pt idx="304">
                  <c:v>2.837966276730064</c:v>
                </c:pt>
                <c:pt idx="305">
                  <c:v>2.837966276730064</c:v>
                </c:pt>
                <c:pt idx="306">
                  <c:v>2.837966276730064</c:v>
                </c:pt>
                <c:pt idx="307">
                  <c:v>2.86433317869025</c:v>
                </c:pt>
                <c:pt idx="308">
                  <c:v>2.86433317869025</c:v>
                </c:pt>
                <c:pt idx="309">
                  <c:v>2.86433317869025</c:v>
                </c:pt>
                <c:pt idx="310">
                  <c:v>2.86433317869025</c:v>
                </c:pt>
                <c:pt idx="311">
                  <c:v>2.86433317869025</c:v>
                </c:pt>
                <c:pt idx="312">
                  <c:v>2.917081300776214</c:v>
                </c:pt>
                <c:pt idx="313">
                  <c:v>2.917081300776214</c:v>
                </c:pt>
                <c:pt idx="314">
                  <c:v>2.943455361819193</c:v>
                </c:pt>
                <c:pt idx="315">
                  <c:v>2.943455361819193</c:v>
                </c:pt>
                <c:pt idx="316">
                  <c:v>2.943455361819193</c:v>
                </c:pt>
                <c:pt idx="317">
                  <c:v>2.943455361819193</c:v>
                </c:pt>
                <c:pt idx="318">
                  <c:v>2.943455361819193</c:v>
                </c:pt>
                <c:pt idx="319">
                  <c:v>2.943455361819193</c:v>
                </c:pt>
                <c:pt idx="320">
                  <c:v>2.969829422862169</c:v>
                </c:pt>
                <c:pt idx="321">
                  <c:v>2.969829422862169</c:v>
                </c:pt>
                <c:pt idx="322">
                  <c:v>2.969829422862169</c:v>
                </c:pt>
                <c:pt idx="323">
                  <c:v>3.022577544948135</c:v>
                </c:pt>
                <c:pt idx="324">
                  <c:v>3.022577544948135</c:v>
                </c:pt>
                <c:pt idx="325">
                  <c:v>3.022577544948135</c:v>
                </c:pt>
                <c:pt idx="326">
                  <c:v>3.022577544948135</c:v>
                </c:pt>
                <c:pt idx="327">
                  <c:v>3.048958780654076</c:v>
                </c:pt>
                <c:pt idx="328">
                  <c:v>3.048958780654076</c:v>
                </c:pt>
                <c:pt idx="329">
                  <c:v>3.10172125206596</c:v>
                </c:pt>
                <c:pt idx="330">
                  <c:v>3.10172125206596</c:v>
                </c:pt>
                <c:pt idx="331">
                  <c:v>3.128102487771912</c:v>
                </c:pt>
                <c:pt idx="332">
                  <c:v>3.128102487771912</c:v>
                </c:pt>
                <c:pt idx="333">
                  <c:v>3.128102487771912</c:v>
                </c:pt>
                <c:pt idx="334">
                  <c:v>3.180879331962715</c:v>
                </c:pt>
                <c:pt idx="335">
                  <c:v>3.180879331962715</c:v>
                </c:pt>
                <c:pt idx="336">
                  <c:v>3.180879331962715</c:v>
                </c:pt>
                <c:pt idx="337">
                  <c:v>3.180879331962715</c:v>
                </c:pt>
                <c:pt idx="338">
                  <c:v>3.207267754058118</c:v>
                </c:pt>
                <c:pt idx="339">
                  <c:v>3.207267754058118</c:v>
                </c:pt>
                <c:pt idx="340">
                  <c:v>3.207267754058118</c:v>
                </c:pt>
                <c:pt idx="341">
                  <c:v>3.207267754058118</c:v>
                </c:pt>
                <c:pt idx="342">
                  <c:v>3.207267754058118</c:v>
                </c:pt>
                <c:pt idx="343">
                  <c:v>3.286497821380863</c:v>
                </c:pt>
                <c:pt idx="344">
                  <c:v>3.286497821380863</c:v>
                </c:pt>
                <c:pt idx="345">
                  <c:v>3.286497821380863</c:v>
                </c:pt>
                <c:pt idx="346">
                  <c:v>3.286497821380863</c:v>
                </c:pt>
                <c:pt idx="347">
                  <c:v>3.286497821380863</c:v>
                </c:pt>
                <c:pt idx="348">
                  <c:v>3.31292227552803</c:v>
                </c:pt>
                <c:pt idx="349">
                  <c:v>3.31292227552803</c:v>
                </c:pt>
                <c:pt idx="350">
                  <c:v>3.339346729675196</c:v>
                </c:pt>
                <c:pt idx="351">
                  <c:v>3.339346729675196</c:v>
                </c:pt>
                <c:pt idx="352">
                  <c:v>3.365771183822353</c:v>
                </c:pt>
                <c:pt idx="353">
                  <c:v>3.365771183822353</c:v>
                </c:pt>
                <c:pt idx="354">
                  <c:v>3.418620092116687</c:v>
                </c:pt>
                <c:pt idx="355">
                  <c:v>3.418620092116687</c:v>
                </c:pt>
                <c:pt idx="356">
                  <c:v>3.418620092116687</c:v>
                </c:pt>
                <c:pt idx="357">
                  <c:v>3.418620092116687</c:v>
                </c:pt>
                <c:pt idx="358">
                  <c:v>3.445051777915232</c:v>
                </c:pt>
                <c:pt idx="359">
                  <c:v>3.445051777915232</c:v>
                </c:pt>
                <c:pt idx="360">
                  <c:v>3.445051777915232</c:v>
                </c:pt>
                <c:pt idx="361">
                  <c:v>3.445051777915232</c:v>
                </c:pt>
                <c:pt idx="362">
                  <c:v>3.497929624696217</c:v>
                </c:pt>
                <c:pt idx="363">
                  <c:v>3.497929624696217</c:v>
                </c:pt>
                <c:pt idx="364">
                  <c:v>3.497929624696217</c:v>
                </c:pt>
                <c:pt idx="365">
                  <c:v>3.524383043110501</c:v>
                </c:pt>
                <c:pt idx="366">
                  <c:v>3.524383043110501</c:v>
                </c:pt>
                <c:pt idx="367">
                  <c:v>3.524383043110501</c:v>
                </c:pt>
                <c:pt idx="368">
                  <c:v>3.524383043110501</c:v>
                </c:pt>
                <c:pt idx="369">
                  <c:v>3.550836461524775</c:v>
                </c:pt>
                <c:pt idx="370">
                  <c:v>3.550836461524775</c:v>
                </c:pt>
                <c:pt idx="371">
                  <c:v>3.603743298353335</c:v>
                </c:pt>
                <c:pt idx="372">
                  <c:v>3.603743298353335</c:v>
                </c:pt>
                <c:pt idx="373">
                  <c:v>3.63019671676762</c:v>
                </c:pt>
                <c:pt idx="374">
                  <c:v>3.63019671676762</c:v>
                </c:pt>
                <c:pt idx="375">
                  <c:v>3.683132615302765</c:v>
                </c:pt>
                <c:pt idx="376">
                  <c:v>3.683132615302765</c:v>
                </c:pt>
                <c:pt idx="377">
                  <c:v>3.709600564570337</c:v>
                </c:pt>
                <c:pt idx="378">
                  <c:v>3.709600564570337</c:v>
                </c:pt>
                <c:pt idx="379">
                  <c:v>3.709600564570337</c:v>
                </c:pt>
                <c:pt idx="380">
                  <c:v>3.709600564570337</c:v>
                </c:pt>
                <c:pt idx="381">
                  <c:v>3.709600564570337</c:v>
                </c:pt>
                <c:pt idx="382">
                  <c:v>3.709600564570337</c:v>
                </c:pt>
                <c:pt idx="383">
                  <c:v>3.736068513837909</c:v>
                </c:pt>
                <c:pt idx="384">
                  <c:v>3.736068513837909</c:v>
                </c:pt>
                <c:pt idx="385">
                  <c:v>3.762536463105483</c:v>
                </c:pt>
                <c:pt idx="386">
                  <c:v>3.762536463105483</c:v>
                </c:pt>
                <c:pt idx="387">
                  <c:v>3.789004412373054</c:v>
                </c:pt>
                <c:pt idx="388">
                  <c:v>3.789004412373054</c:v>
                </c:pt>
                <c:pt idx="389">
                  <c:v>3.789004412373054</c:v>
                </c:pt>
                <c:pt idx="390">
                  <c:v>3.789004412373054</c:v>
                </c:pt>
                <c:pt idx="391">
                  <c:v>3.815472361640622</c:v>
                </c:pt>
                <c:pt idx="392">
                  <c:v>3.815472361640622</c:v>
                </c:pt>
                <c:pt idx="393">
                  <c:v>3.815472361640622</c:v>
                </c:pt>
                <c:pt idx="394">
                  <c:v>3.815472361640622</c:v>
                </c:pt>
                <c:pt idx="395">
                  <c:v>3.815472361640622</c:v>
                </c:pt>
                <c:pt idx="396">
                  <c:v>3.815472361640622</c:v>
                </c:pt>
                <c:pt idx="397">
                  <c:v>3.841940310908197</c:v>
                </c:pt>
                <c:pt idx="398">
                  <c:v>3.841940310908197</c:v>
                </c:pt>
                <c:pt idx="399">
                  <c:v>3.841940310908197</c:v>
                </c:pt>
                <c:pt idx="400">
                  <c:v>3.841940310908197</c:v>
                </c:pt>
                <c:pt idx="401">
                  <c:v>3.868408260175772</c:v>
                </c:pt>
                <c:pt idx="402">
                  <c:v>3.868408260175772</c:v>
                </c:pt>
                <c:pt idx="403">
                  <c:v>3.894876209443339</c:v>
                </c:pt>
                <c:pt idx="404">
                  <c:v>3.894876209443339</c:v>
                </c:pt>
                <c:pt idx="405">
                  <c:v>3.894876209443339</c:v>
                </c:pt>
                <c:pt idx="406">
                  <c:v>3.894876209443339</c:v>
                </c:pt>
                <c:pt idx="407">
                  <c:v>3.894876209443339</c:v>
                </c:pt>
                <c:pt idx="408">
                  <c:v>3.894876209443339</c:v>
                </c:pt>
                <c:pt idx="409">
                  <c:v>3.894876209443339</c:v>
                </c:pt>
                <c:pt idx="410">
                  <c:v>3.974323817977832</c:v>
                </c:pt>
                <c:pt idx="411">
                  <c:v>3.974323817977832</c:v>
                </c:pt>
                <c:pt idx="412">
                  <c:v>3.974323817977832</c:v>
                </c:pt>
                <c:pt idx="413">
                  <c:v>3.974323817977832</c:v>
                </c:pt>
                <c:pt idx="414">
                  <c:v>4.000813659683223</c:v>
                </c:pt>
                <c:pt idx="415">
                  <c:v>4.000813659683223</c:v>
                </c:pt>
                <c:pt idx="416">
                  <c:v>4.000813659683223</c:v>
                </c:pt>
                <c:pt idx="417">
                  <c:v>4.000813659683223</c:v>
                </c:pt>
                <c:pt idx="418">
                  <c:v>4.000813659683223</c:v>
                </c:pt>
                <c:pt idx="419">
                  <c:v>4.000813659683223</c:v>
                </c:pt>
                <c:pt idx="420">
                  <c:v>4.000813659683223</c:v>
                </c:pt>
                <c:pt idx="421">
                  <c:v>4.000813659683223</c:v>
                </c:pt>
                <c:pt idx="422">
                  <c:v>4.000813659683223</c:v>
                </c:pt>
                <c:pt idx="423">
                  <c:v>4.02730350138861</c:v>
                </c:pt>
                <c:pt idx="424">
                  <c:v>4.02730350138861</c:v>
                </c:pt>
                <c:pt idx="425">
                  <c:v>4.053793343094008</c:v>
                </c:pt>
                <c:pt idx="426">
                  <c:v>4.053793343094008</c:v>
                </c:pt>
                <c:pt idx="427">
                  <c:v>4.053793343094008</c:v>
                </c:pt>
                <c:pt idx="428">
                  <c:v>4.053793343094008</c:v>
                </c:pt>
                <c:pt idx="429">
                  <c:v>4.053793343094008</c:v>
                </c:pt>
                <c:pt idx="430">
                  <c:v>4.053793343094008</c:v>
                </c:pt>
                <c:pt idx="431">
                  <c:v>4.106787657734657</c:v>
                </c:pt>
                <c:pt idx="432">
                  <c:v>4.106787657734657</c:v>
                </c:pt>
                <c:pt idx="433">
                  <c:v>4.106787657734657</c:v>
                </c:pt>
                <c:pt idx="434">
                  <c:v>4.106787657734657</c:v>
                </c:pt>
                <c:pt idx="435">
                  <c:v>4.133299466510508</c:v>
                </c:pt>
                <c:pt idx="436">
                  <c:v>4.133299466510508</c:v>
                </c:pt>
                <c:pt idx="437">
                  <c:v>4.133299466510508</c:v>
                </c:pt>
                <c:pt idx="438">
                  <c:v>4.133299466510508</c:v>
                </c:pt>
                <c:pt idx="439">
                  <c:v>4.133299466510508</c:v>
                </c:pt>
                <c:pt idx="440">
                  <c:v>4.186337751729585</c:v>
                </c:pt>
                <c:pt idx="441">
                  <c:v>4.186337751729585</c:v>
                </c:pt>
                <c:pt idx="442">
                  <c:v>4.186337751729585</c:v>
                </c:pt>
                <c:pt idx="443">
                  <c:v>4.186337751729585</c:v>
                </c:pt>
                <c:pt idx="444">
                  <c:v>4.186337751729585</c:v>
                </c:pt>
                <c:pt idx="445">
                  <c:v>4.186337751729585</c:v>
                </c:pt>
                <c:pt idx="446">
                  <c:v>4.212856894339124</c:v>
                </c:pt>
                <c:pt idx="447">
                  <c:v>4.212856894339124</c:v>
                </c:pt>
                <c:pt idx="448">
                  <c:v>4.239376036948671</c:v>
                </c:pt>
                <c:pt idx="449">
                  <c:v>4.239376036948671</c:v>
                </c:pt>
                <c:pt idx="450">
                  <c:v>4.239376036948671</c:v>
                </c:pt>
                <c:pt idx="451">
                  <c:v>4.239376036948671</c:v>
                </c:pt>
                <c:pt idx="452">
                  <c:v>4.265895179558195</c:v>
                </c:pt>
                <c:pt idx="453">
                  <c:v>4.265895179558195</c:v>
                </c:pt>
                <c:pt idx="454">
                  <c:v>4.292414322167724</c:v>
                </c:pt>
                <c:pt idx="455">
                  <c:v>4.292414322167724</c:v>
                </c:pt>
                <c:pt idx="456">
                  <c:v>4.318933464777307</c:v>
                </c:pt>
                <c:pt idx="457">
                  <c:v>4.318933464777307</c:v>
                </c:pt>
                <c:pt idx="458">
                  <c:v>4.318933464777307</c:v>
                </c:pt>
                <c:pt idx="459">
                  <c:v>4.318933464777307</c:v>
                </c:pt>
                <c:pt idx="460">
                  <c:v>4.318933464777307</c:v>
                </c:pt>
                <c:pt idx="461">
                  <c:v>4.371971749996391</c:v>
                </c:pt>
                <c:pt idx="462">
                  <c:v>4.371971749996391</c:v>
                </c:pt>
                <c:pt idx="463">
                  <c:v>4.371971749996391</c:v>
                </c:pt>
                <c:pt idx="464">
                  <c:v>4.371971749996391</c:v>
                </c:pt>
                <c:pt idx="465">
                  <c:v>4.371971749996391</c:v>
                </c:pt>
                <c:pt idx="466">
                  <c:v>4.371971749996391</c:v>
                </c:pt>
                <c:pt idx="467">
                  <c:v>4.398490892605928</c:v>
                </c:pt>
                <c:pt idx="468">
                  <c:v>4.398490892605928</c:v>
                </c:pt>
                <c:pt idx="469">
                  <c:v>4.451529177825009</c:v>
                </c:pt>
                <c:pt idx="470">
                  <c:v>4.451529177825009</c:v>
                </c:pt>
                <c:pt idx="471">
                  <c:v>4.47804832043455</c:v>
                </c:pt>
                <c:pt idx="472">
                  <c:v>4.47804832043455</c:v>
                </c:pt>
                <c:pt idx="473">
                  <c:v>4.504567463044084</c:v>
                </c:pt>
                <c:pt idx="474">
                  <c:v>4.504567463044084</c:v>
                </c:pt>
                <c:pt idx="475">
                  <c:v>4.53108660565363</c:v>
                </c:pt>
                <c:pt idx="476">
                  <c:v>4.53108660565363</c:v>
                </c:pt>
                <c:pt idx="477">
                  <c:v>4.53108660565363</c:v>
                </c:pt>
                <c:pt idx="478">
                  <c:v>4.53108660565363</c:v>
                </c:pt>
                <c:pt idx="479">
                  <c:v>4.557605748263172</c:v>
                </c:pt>
                <c:pt idx="480">
                  <c:v>4.557605748263172</c:v>
                </c:pt>
                <c:pt idx="481">
                  <c:v>4.584124890872705</c:v>
                </c:pt>
                <c:pt idx="482">
                  <c:v>4.584124890872705</c:v>
                </c:pt>
                <c:pt idx="483">
                  <c:v>4.610644033482247</c:v>
                </c:pt>
                <c:pt idx="484">
                  <c:v>4.610644033482247</c:v>
                </c:pt>
                <c:pt idx="485">
                  <c:v>4.663682318701324</c:v>
                </c:pt>
                <c:pt idx="486">
                  <c:v>4.663682318701324</c:v>
                </c:pt>
                <c:pt idx="487">
                  <c:v>4.7167206039204</c:v>
                </c:pt>
                <c:pt idx="488">
                  <c:v>4.7167206039204</c:v>
                </c:pt>
                <c:pt idx="489">
                  <c:v>4.743239746529937</c:v>
                </c:pt>
                <c:pt idx="490">
                  <c:v>4.743239746529937</c:v>
                </c:pt>
                <c:pt idx="491">
                  <c:v>4.769758889139472</c:v>
                </c:pt>
                <c:pt idx="492">
                  <c:v>4.769758889139472</c:v>
                </c:pt>
                <c:pt idx="493">
                  <c:v>4.769758889139472</c:v>
                </c:pt>
                <c:pt idx="494">
                  <c:v>4.79627803174903</c:v>
                </c:pt>
                <c:pt idx="495">
                  <c:v>4.79627803174903</c:v>
                </c:pt>
                <c:pt idx="496">
                  <c:v>4.822804563364541</c:v>
                </c:pt>
                <c:pt idx="497">
                  <c:v>4.822804563364541</c:v>
                </c:pt>
                <c:pt idx="498">
                  <c:v>4.822804563364541</c:v>
                </c:pt>
                <c:pt idx="499">
                  <c:v>4.822804563364541</c:v>
                </c:pt>
                <c:pt idx="500">
                  <c:v>4.849345889476297</c:v>
                </c:pt>
                <c:pt idx="501">
                  <c:v>4.849345889476297</c:v>
                </c:pt>
                <c:pt idx="502">
                  <c:v>4.875887215588015</c:v>
                </c:pt>
                <c:pt idx="503">
                  <c:v>4.875887215588015</c:v>
                </c:pt>
                <c:pt idx="504">
                  <c:v>4.902428541699744</c:v>
                </c:pt>
                <c:pt idx="505">
                  <c:v>4.902428541699744</c:v>
                </c:pt>
                <c:pt idx="506">
                  <c:v>4.902428541699744</c:v>
                </c:pt>
                <c:pt idx="507">
                  <c:v>4.902428541699744</c:v>
                </c:pt>
                <c:pt idx="508">
                  <c:v>4.928977277450203</c:v>
                </c:pt>
                <c:pt idx="509">
                  <c:v>4.928977277450203</c:v>
                </c:pt>
                <c:pt idx="510">
                  <c:v>4.928977277450203</c:v>
                </c:pt>
                <c:pt idx="511">
                  <c:v>4.928977277450203</c:v>
                </c:pt>
                <c:pt idx="512">
                  <c:v>4.955526013200751</c:v>
                </c:pt>
                <c:pt idx="513">
                  <c:v>4.955526013200751</c:v>
                </c:pt>
                <c:pt idx="514">
                  <c:v>4.955526013200751</c:v>
                </c:pt>
                <c:pt idx="515">
                  <c:v>5.008638320541803</c:v>
                </c:pt>
                <c:pt idx="516">
                  <c:v>5.008638320541803</c:v>
                </c:pt>
                <c:pt idx="517">
                  <c:v>5.061750627882844</c:v>
                </c:pt>
                <c:pt idx="518">
                  <c:v>5.061750627882844</c:v>
                </c:pt>
                <c:pt idx="519">
                  <c:v>5.08830678155337</c:v>
                </c:pt>
                <c:pt idx="520">
                  <c:v>5.08830678155337</c:v>
                </c:pt>
                <c:pt idx="521">
                  <c:v>5.114870367676593</c:v>
                </c:pt>
                <c:pt idx="522">
                  <c:v>5.114870367676593</c:v>
                </c:pt>
                <c:pt idx="523">
                  <c:v>5.141433953799909</c:v>
                </c:pt>
                <c:pt idx="524">
                  <c:v>5.141433953799909</c:v>
                </c:pt>
                <c:pt idx="525">
                  <c:v>5.141433953799909</c:v>
                </c:pt>
                <c:pt idx="526">
                  <c:v>5.141433953799909</c:v>
                </c:pt>
                <c:pt idx="527">
                  <c:v>5.141433953799909</c:v>
                </c:pt>
                <c:pt idx="528">
                  <c:v>5.141433953799909</c:v>
                </c:pt>
                <c:pt idx="529">
                  <c:v>5.141433953799909</c:v>
                </c:pt>
                <c:pt idx="530">
                  <c:v>5.168012425653701</c:v>
                </c:pt>
                <c:pt idx="531">
                  <c:v>5.168012425653701</c:v>
                </c:pt>
                <c:pt idx="532">
                  <c:v>5.168012425653701</c:v>
                </c:pt>
                <c:pt idx="533">
                  <c:v>5.168012425653701</c:v>
                </c:pt>
                <c:pt idx="534">
                  <c:v>5.168012425653701</c:v>
                </c:pt>
                <c:pt idx="535">
                  <c:v>5.194590897507431</c:v>
                </c:pt>
                <c:pt idx="536">
                  <c:v>5.194590897507431</c:v>
                </c:pt>
                <c:pt idx="537">
                  <c:v>5.194590897507431</c:v>
                </c:pt>
                <c:pt idx="538">
                  <c:v>5.194590897507431</c:v>
                </c:pt>
                <c:pt idx="539">
                  <c:v>5.194590897507431</c:v>
                </c:pt>
                <c:pt idx="540">
                  <c:v>5.194590897507431</c:v>
                </c:pt>
                <c:pt idx="541">
                  <c:v>5.194590897507431</c:v>
                </c:pt>
                <c:pt idx="542">
                  <c:v>5.221176822662421</c:v>
                </c:pt>
                <c:pt idx="543">
                  <c:v>5.221176822662421</c:v>
                </c:pt>
                <c:pt idx="544">
                  <c:v>5.221176822662421</c:v>
                </c:pt>
                <c:pt idx="545">
                  <c:v>5.221176822662421</c:v>
                </c:pt>
                <c:pt idx="546">
                  <c:v>5.221176822662421</c:v>
                </c:pt>
                <c:pt idx="547">
                  <c:v>5.221176822662421</c:v>
                </c:pt>
                <c:pt idx="548">
                  <c:v>5.221176822662421</c:v>
                </c:pt>
                <c:pt idx="549">
                  <c:v>5.274378519646606</c:v>
                </c:pt>
                <c:pt idx="550">
                  <c:v>5.274378519646606</c:v>
                </c:pt>
                <c:pt idx="551">
                  <c:v>5.274378519646606</c:v>
                </c:pt>
                <c:pt idx="552">
                  <c:v>5.300979368138686</c:v>
                </c:pt>
                <c:pt idx="553">
                  <c:v>5.300979368138686</c:v>
                </c:pt>
                <c:pt idx="554">
                  <c:v>5.300979368138686</c:v>
                </c:pt>
                <c:pt idx="555">
                  <c:v>5.300979368138686</c:v>
                </c:pt>
                <c:pt idx="556">
                  <c:v>5.300979368138686</c:v>
                </c:pt>
                <c:pt idx="557">
                  <c:v>5.300979368138686</c:v>
                </c:pt>
                <c:pt idx="558">
                  <c:v>5.300979368138686</c:v>
                </c:pt>
                <c:pt idx="559">
                  <c:v>5.300979368138686</c:v>
                </c:pt>
                <c:pt idx="560">
                  <c:v>5.300979368138686</c:v>
                </c:pt>
                <c:pt idx="561">
                  <c:v>5.300979368138686</c:v>
                </c:pt>
                <c:pt idx="562">
                  <c:v>5.300979368138686</c:v>
                </c:pt>
                <c:pt idx="563">
                  <c:v>5.300979368138686</c:v>
                </c:pt>
                <c:pt idx="564">
                  <c:v>5.300979368138686</c:v>
                </c:pt>
                <c:pt idx="565">
                  <c:v>5.327587690878728</c:v>
                </c:pt>
                <c:pt idx="566">
                  <c:v>5.327587690878728</c:v>
                </c:pt>
                <c:pt idx="567">
                  <c:v>5.35420349417062</c:v>
                </c:pt>
                <c:pt idx="568">
                  <c:v>5.35420349417062</c:v>
                </c:pt>
                <c:pt idx="569">
                  <c:v>5.380819297462477</c:v>
                </c:pt>
                <c:pt idx="570">
                  <c:v>5.380819297462477</c:v>
                </c:pt>
                <c:pt idx="571">
                  <c:v>5.407435100754332</c:v>
                </c:pt>
                <c:pt idx="572">
                  <c:v>5.407435100754332</c:v>
                </c:pt>
                <c:pt idx="573">
                  <c:v>5.434050904046193</c:v>
                </c:pt>
                <c:pt idx="574">
                  <c:v>5.434050904046193</c:v>
                </c:pt>
                <c:pt idx="575">
                  <c:v>5.434050904046193</c:v>
                </c:pt>
                <c:pt idx="576">
                  <c:v>5.460674200525895</c:v>
                </c:pt>
                <c:pt idx="577">
                  <c:v>5.460674200525895</c:v>
                </c:pt>
                <c:pt idx="578">
                  <c:v>5.513920793485351</c:v>
                </c:pt>
                <c:pt idx="579">
                  <c:v>5.513920793485351</c:v>
                </c:pt>
                <c:pt idx="580">
                  <c:v>5.540544089965071</c:v>
                </c:pt>
                <c:pt idx="581">
                  <c:v>5.540544089965071</c:v>
                </c:pt>
                <c:pt idx="582">
                  <c:v>5.567167386444789</c:v>
                </c:pt>
                <c:pt idx="583">
                  <c:v>5.567167386444789</c:v>
                </c:pt>
                <c:pt idx="584">
                  <c:v>5.593790682924518</c:v>
                </c:pt>
                <c:pt idx="585">
                  <c:v>5.593790682924518</c:v>
                </c:pt>
                <c:pt idx="586">
                  <c:v>5.593790682924518</c:v>
                </c:pt>
                <c:pt idx="587">
                  <c:v>5.67368310265688</c:v>
                </c:pt>
                <c:pt idx="588">
                  <c:v>5.67368310265688</c:v>
                </c:pt>
                <c:pt idx="589">
                  <c:v>5.67368310265688</c:v>
                </c:pt>
                <c:pt idx="590">
                  <c:v>5.67368310265688</c:v>
                </c:pt>
                <c:pt idx="591">
                  <c:v>5.67368310265688</c:v>
                </c:pt>
                <c:pt idx="592">
                  <c:v>5.67368310265688</c:v>
                </c:pt>
                <c:pt idx="593">
                  <c:v>5.700351555271332</c:v>
                </c:pt>
                <c:pt idx="594">
                  <c:v>5.700351555271332</c:v>
                </c:pt>
                <c:pt idx="595">
                  <c:v>5.727020007885764</c:v>
                </c:pt>
                <c:pt idx="596">
                  <c:v>5.727020007885764</c:v>
                </c:pt>
                <c:pt idx="597">
                  <c:v>5.780387106664231</c:v>
                </c:pt>
                <c:pt idx="598">
                  <c:v>5.780387106664231</c:v>
                </c:pt>
                <c:pt idx="599">
                  <c:v>5.780387106664231</c:v>
                </c:pt>
                <c:pt idx="600">
                  <c:v>5.780387106664231</c:v>
                </c:pt>
                <c:pt idx="601">
                  <c:v>5.780387106664231</c:v>
                </c:pt>
                <c:pt idx="602">
                  <c:v>5.780387106664231</c:v>
                </c:pt>
                <c:pt idx="603">
                  <c:v>5.780387106664231</c:v>
                </c:pt>
                <c:pt idx="604">
                  <c:v>5.780387106664231</c:v>
                </c:pt>
                <c:pt idx="605">
                  <c:v>5.780387106664231</c:v>
                </c:pt>
                <c:pt idx="606">
                  <c:v>5.807078215132598</c:v>
                </c:pt>
                <c:pt idx="607">
                  <c:v>5.807078215132598</c:v>
                </c:pt>
                <c:pt idx="608">
                  <c:v>5.83376932360097</c:v>
                </c:pt>
                <c:pt idx="609">
                  <c:v>5.83376932360097</c:v>
                </c:pt>
                <c:pt idx="610">
                  <c:v>5.83376932360097</c:v>
                </c:pt>
                <c:pt idx="611">
                  <c:v>5.83376932360097</c:v>
                </c:pt>
                <c:pt idx="612">
                  <c:v>5.887166675841626</c:v>
                </c:pt>
                <c:pt idx="613">
                  <c:v>5.887166675841626</c:v>
                </c:pt>
                <c:pt idx="614">
                  <c:v>5.887166675841626</c:v>
                </c:pt>
                <c:pt idx="615">
                  <c:v>5.887166675841626</c:v>
                </c:pt>
                <c:pt idx="616">
                  <c:v>5.887166675841626</c:v>
                </c:pt>
                <c:pt idx="617">
                  <c:v>5.887166675841626</c:v>
                </c:pt>
                <c:pt idx="618">
                  <c:v>5.91388809359408</c:v>
                </c:pt>
                <c:pt idx="619">
                  <c:v>5.91388809359408</c:v>
                </c:pt>
                <c:pt idx="620">
                  <c:v>5.91388809359408</c:v>
                </c:pt>
                <c:pt idx="621">
                  <c:v>5.9406171026584</c:v>
                </c:pt>
                <c:pt idx="622">
                  <c:v>5.9406171026584</c:v>
                </c:pt>
                <c:pt idx="623">
                  <c:v>5.967346111722718</c:v>
                </c:pt>
                <c:pt idx="624">
                  <c:v>5.967346111722718</c:v>
                </c:pt>
                <c:pt idx="625">
                  <c:v>5.967346111722718</c:v>
                </c:pt>
                <c:pt idx="626">
                  <c:v>5.967346111722718</c:v>
                </c:pt>
                <c:pt idx="627">
                  <c:v>5.99408272073275</c:v>
                </c:pt>
                <c:pt idx="628">
                  <c:v>5.99408272073275</c:v>
                </c:pt>
                <c:pt idx="629">
                  <c:v>5.99408272073275</c:v>
                </c:pt>
                <c:pt idx="630">
                  <c:v>5.99408272073275</c:v>
                </c:pt>
                <c:pt idx="631">
                  <c:v>5.99408272073275</c:v>
                </c:pt>
                <c:pt idx="632">
                  <c:v>5.99408272073275</c:v>
                </c:pt>
                <c:pt idx="633">
                  <c:v>5.99408272073275</c:v>
                </c:pt>
                <c:pt idx="634">
                  <c:v>5.99408272073275</c:v>
                </c:pt>
                <c:pt idx="635">
                  <c:v>6.047586373139834</c:v>
                </c:pt>
                <c:pt idx="636">
                  <c:v>6.047586373139834</c:v>
                </c:pt>
                <c:pt idx="637">
                  <c:v>6.0743381993434</c:v>
                </c:pt>
                <c:pt idx="638">
                  <c:v>6.0743381993434</c:v>
                </c:pt>
                <c:pt idx="639">
                  <c:v>6.10109002554695</c:v>
                </c:pt>
                <c:pt idx="640">
                  <c:v>6.10109002554695</c:v>
                </c:pt>
                <c:pt idx="641">
                  <c:v>6.10109002554695</c:v>
                </c:pt>
                <c:pt idx="642">
                  <c:v>6.10109002554695</c:v>
                </c:pt>
                <c:pt idx="643">
                  <c:v>6.181345504157599</c:v>
                </c:pt>
                <c:pt idx="644">
                  <c:v>6.181345504157599</c:v>
                </c:pt>
                <c:pt idx="645">
                  <c:v>6.181345504157599</c:v>
                </c:pt>
                <c:pt idx="646">
                  <c:v>6.181345504157599</c:v>
                </c:pt>
                <c:pt idx="647">
                  <c:v>6.20809733036114</c:v>
                </c:pt>
                <c:pt idx="648">
                  <c:v>6.20809733036114</c:v>
                </c:pt>
                <c:pt idx="649">
                  <c:v>6.234849156564692</c:v>
                </c:pt>
                <c:pt idx="650">
                  <c:v>6.234849156564692</c:v>
                </c:pt>
                <c:pt idx="651">
                  <c:v>6.234849156564692</c:v>
                </c:pt>
                <c:pt idx="652">
                  <c:v>6.234849156564692</c:v>
                </c:pt>
                <c:pt idx="653">
                  <c:v>6.261600982768245</c:v>
                </c:pt>
                <c:pt idx="654">
                  <c:v>6.261600982768245</c:v>
                </c:pt>
                <c:pt idx="655">
                  <c:v>6.288352808971787</c:v>
                </c:pt>
                <c:pt idx="656">
                  <c:v>6.288352808971787</c:v>
                </c:pt>
                <c:pt idx="657">
                  <c:v>6.315104635175325</c:v>
                </c:pt>
                <c:pt idx="658">
                  <c:v>6.315104635175325</c:v>
                </c:pt>
                <c:pt idx="659">
                  <c:v>6.341856461378895</c:v>
                </c:pt>
                <c:pt idx="660">
                  <c:v>6.341856461378895</c:v>
                </c:pt>
                <c:pt idx="661">
                  <c:v>6.341856461378895</c:v>
                </c:pt>
                <c:pt idx="662">
                  <c:v>6.341856461378895</c:v>
                </c:pt>
                <c:pt idx="663">
                  <c:v>6.341856461378895</c:v>
                </c:pt>
                <c:pt idx="664">
                  <c:v>6.341856461378895</c:v>
                </c:pt>
                <c:pt idx="665">
                  <c:v>6.341856461378895</c:v>
                </c:pt>
                <c:pt idx="666">
                  <c:v>6.341856461378895</c:v>
                </c:pt>
                <c:pt idx="667">
                  <c:v>6.341856461378895</c:v>
                </c:pt>
                <c:pt idx="668">
                  <c:v>6.341856461378895</c:v>
                </c:pt>
                <c:pt idx="669">
                  <c:v>6.341856461378895</c:v>
                </c:pt>
                <c:pt idx="670">
                  <c:v>6.368608287582433</c:v>
                </c:pt>
                <c:pt idx="671">
                  <c:v>6.368608287582433</c:v>
                </c:pt>
                <c:pt idx="672">
                  <c:v>6.422111939989525</c:v>
                </c:pt>
                <c:pt idx="673">
                  <c:v>6.422111939989525</c:v>
                </c:pt>
                <c:pt idx="674">
                  <c:v>6.422111939989525</c:v>
                </c:pt>
                <c:pt idx="675">
                  <c:v>6.422111939989525</c:v>
                </c:pt>
                <c:pt idx="676">
                  <c:v>6.448871416129077</c:v>
                </c:pt>
                <c:pt idx="677">
                  <c:v>6.448871416129077</c:v>
                </c:pt>
                <c:pt idx="678">
                  <c:v>6.475638548771089</c:v>
                </c:pt>
                <c:pt idx="679">
                  <c:v>6.475638548771089</c:v>
                </c:pt>
                <c:pt idx="680">
                  <c:v>6.475638548771089</c:v>
                </c:pt>
                <c:pt idx="681">
                  <c:v>6.475638548771089</c:v>
                </c:pt>
                <c:pt idx="682">
                  <c:v>6.529188140211816</c:v>
                </c:pt>
                <c:pt idx="683">
                  <c:v>6.529188140211816</c:v>
                </c:pt>
                <c:pt idx="684">
                  <c:v>6.555962935932181</c:v>
                </c:pt>
                <c:pt idx="685">
                  <c:v>6.555962935932181</c:v>
                </c:pt>
                <c:pt idx="686">
                  <c:v>6.555962935932181</c:v>
                </c:pt>
                <c:pt idx="687">
                  <c:v>6.555962935932181</c:v>
                </c:pt>
                <c:pt idx="688">
                  <c:v>6.555962935932181</c:v>
                </c:pt>
                <c:pt idx="689">
                  <c:v>6.555962935932181</c:v>
                </c:pt>
                <c:pt idx="690">
                  <c:v>6.555962935932181</c:v>
                </c:pt>
                <c:pt idx="691">
                  <c:v>6.555962935932181</c:v>
                </c:pt>
                <c:pt idx="692">
                  <c:v>6.609512527372884</c:v>
                </c:pt>
                <c:pt idx="693">
                  <c:v>6.609512527372884</c:v>
                </c:pt>
                <c:pt idx="694">
                  <c:v>6.609512527372884</c:v>
                </c:pt>
                <c:pt idx="695">
                  <c:v>6.609512527372884</c:v>
                </c:pt>
                <c:pt idx="696">
                  <c:v>6.609512527372884</c:v>
                </c:pt>
                <c:pt idx="697">
                  <c:v>6.609512527372884</c:v>
                </c:pt>
                <c:pt idx="698">
                  <c:v>6.609512527372884</c:v>
                </c:pt>
                <c:pt idx="699">
                  <c:v>6.636295001554905</c:v>
                </c:pt>
                <c:pt idx="700">
                  <c:v>6.636295001554905</c:v>
                </c:pt>
                <c:pt idx="701">
                  <c:v>6.663077475736895</c:v>
                </c:pt>
                <c:pt idx="702">
                  <c:v>6.663077475736895</c:v>
                </c:pt>
                <c:pt idx="703">
                  <c:v>6.716642424100918</c:v>
                </c:pt>
                <c:pt idx="704">
                  <c:v>6.716642424100918</c:v>
                </c:pt>
                <c:pt idx="705">
                  <c:v>6.716642424100918</c:v>
                </c:pt>
                <c:pt idx="706">
                  <c:v>6.716642424100918</c:v>
                </c:pt>
                <c:pt idx="707">
                  <c:v>6.716642424100918</c:v>
                </c:pt>
                <c:pt idx="708">
                  <c:v>6.743432589975662</c:v>
                </c:pt>
                <c:pt idx="709">
                  <c:v>6.743432589975662</c:v>
                </c:pt>
                <c:pt idx="710">
                  <c:v>6.743432589975662</c:v>
                </c:pt>
                <c:pt idx="711">
                  <c:v>6.743432589975662</c:v>
                </c:pt>
                <c:pt idx="712">
                  <c:v>6.743432589975662</c:v>
                </c:pt>
                <c:pt idx="713">
                  <c:v>6.743432589975662</c:v>
                </c:pt>
                <c:pt idx="714">
                  <c:v>6.823803087599934</c:v>
                </c:pt>
                <c:pt idx="715">
                  <c:v>6.823803087599934</c:v>
                </c:pt>
                <c:pt idx="716">
                  <c:v>6.850600958440395</c:v>
                </c:pt>
                <c:pt idx="717">
                  <c:v>6.850600958440395</c:v>
                </c:pt>
                <c:pt idx="718">
                  <c:v>6.904212123356424</c:v>
                </c:pt>
                <c:pt idx="719">
                  <c:v>6.904212123356424</c:v>
                </c:pt>
                <c:pt idx="720">
                  <c:v>6.931025426316285</c:v>
                </c:pt>
                <c:pt idx="721">
                  <c:v>6.931025426316285</c:v>
                </c:pt>
                <c:pt idx="722">
                  <c:v>6.957846456452788</c:v>
                </c:pt>
                <c:pt idx="723">
                  <c:v>6.957846456452788</c:v>
                </c:pt>
                <c:pt idx="724">
                  <c:v>6.957846456452788</c:v>
                </c:pt>
                <c:pt idx="725">
                  <c:v>6.957846456452788</c:v>
                </c:pt>
                <c:pt idx="726">
                  <c:v>6.984682958772814</c:v>
                </c:pt>
                <c:pt idx="727">
                  <c:v>6.984682958772814</c:v>
                </c:pt>
                <c:pt idx="728">
                  <c:v>7.011519461092841</c:v>
                </c:pt>
                <c:pt idx="729">
                  <c:v>7.011519461092841</c:v>
                </c:pt>
                <c:pt idx="730">
                  <c:v>7.011519461092841</c:v>
                </c:pt>
                <c:pt idx="731">
                  <c:v>7.011519461092841</c:v>
                </c:pt>
                <c:pt idx="732">
                  <c:v>7.011519461092841</c:v>
                </c:pt>
                <c:pt idx="733">
                  <c:v>7.011519461092841</c:v>
                </c:pt>
                <c:pt idx="734">
                  <c:v>7.03835596341288</c:v>
                </c:pt>
                <c:pt idx="735">
                  <c:v>7.03835596341288</c:v>
                </c:pt>
                <c:pt idx="736">
                  <c:v>7.065192465732907</c:v>
                </c:pt>
                <c:pt idx="737">
                  <c:v>7.065192465732907</c:v>
                </c:pt>
                <c:pt idx="738">
                  <c:v>7.118865470372969</c:v>
                </c:pt>
                <c:pt idx="739">
                  <c:v>7.118865470372969</c:v>
                </c:pt>
                <c:pt idx="740">
                  <c:v>7.118865470372969</c:v>
                </c:pt>
                <c:pt idx="741">
                  <c:v>7.145701972692986</c:v>
                </c:pt>
                <c:pt idx="742">
                  <c:v>7.145701972692986</c:v>
                </c:pt>
                <c:pt idx="743">
                  <c:v>7.145701972692986</c:v>
                </c:pt>
                <c:pt idx="744">
                  <c:v>7.253079015800611</c:v>
                </c:pt>
                <c:pt idx="745">
                  <c:v>7.253079015800611</c:v>
                </c:pt>
                <c:pt idx="746">
                  <c:v>7.279923276577515</c:v>
                </c:pt>
                <c:pt idx="747">
                  <c:v>7.279923276577515</c:v>
                </c:pt>
                <c:pt idx="748">
                  <c:v>7.306767537354418</c:v>
                </c:pt>
                <c:pt idx="749">
                  <c:v>7.306767537354418</c:v>
                </c:pt>
                <c:pt idx="750">
                  <c:v>7.306767537354418</c:v>
                </c:pt>
                <c:pt idx="751">
                  <c:v>7.333635140966787</c:v>
                </c:pt>
                <c:pt idx="752">
                  <c:v>7.333635140966787</c:v>
                </c:pt>
                <c:pt idx="753">
                  <c:v>7.387370348191474</c:v>
                </c:pt>
                <c:pt idx="754">
                  <c:v>7.387370348191474</c:v>
                </c:pt>
                <c:pt idx="755">
                  <c:v>7.414237951803858</c:v>
                </c:pt>
                <c:pt idx="756">
                  <c:v>7.414237951803858</c:v>
                </c:pt>
                <c:pt idx="757">
                  <c:v>7.414237951803858</c:v>
                </c:pt>
                <c:pt idx="758">
                  <c:v>7.414237951803858</c:v>
                </c:pt>
                <c:pt idx="759">
                  <c:v>7.414237951803858</c:v>
                </c:pt>
                <c:pt idx="760">
                  <c:v>7.414237951803858</c:v>
                </c:pt>
                <c:pt idx="761">
                  <c:v>7.414237951803858</c:v>
                </c:pt>
                <c:pt idx="762">
                  <c:v>7.414237951803858</c:v>
                </c:pt>
                <c:pt idx="763">
                  <c:v>7.414237951803858</c:v>
                </c:pt>
                <c:pt idx="764">
                  <c:v>7.414237951803858</c:v>
                </c:pt>
                <c:pt idx="765">
                  <c:v>7.468004364143112</c:v>
                </c:pt>
                <c:pt idx="766">
                  <c:v>7.468004364143112</c:v>
                </c:pt>
                <c:pt idx="767">
                  <c:v>7.521770776482362</c:v>
                </c:pt>
                <c:pt idx="768">
                  <c:v>7.521770776482362</c:v>
                </c:pt>
                <c:pt idx="769">
                  <c:v>7.521770776482362</c:v>
                </c:pt>
                <c:pt idx="770">
                  <c:v>7.521770776482362</c:v>
                </c:pt>
                <c:pt idx="771">
                  <c:v>7.57559978068697</c:v>
                </c:pt>
                <c:pt idx="772">
                  <c:v>7.57559978068697</c:v>
                </c:pt>
                <c:pt idx="773">
                  <c:v>7.602514282789228</c:v>
                </c:pt>
                <c:pt idx="774">
                  <c:v>7.602514282789228</c:v>
                </c:pt>
                <c:pt idx="775">
                  <c:v>7.602514282789228</c:v>
                </c:pt>
                <c:pt idx="776">
                  <c:v>7.602514282789228</c:v>
                </c:pt>
                <c:pt idx="777">
                  <c:v>7.602514282789228</c:v>
                </c:pt>
                <c:pt idx="778">
                  <c:v>7.602514282789228</c:v>
                </c:pt>
                <c:pt idx="779">
                  <c:v>7.602514282789228</c:v>
                </c:pt>
                <c:pt idx="780">
                  <c:v>7.629468041749948</c:v>
                </c:pt>
                <c:pt idx="781">
                  <c:v>7.629468041749948</c:v>
                </c:pt>
                <c:pt idx="782">
                  <c:v>7.629468041749948</c:v>
                </c:pt>
                <c:pt idx="783">
                  <c:v>7.656437540131895</c:v>
                </c:pt>
                <c:pt idx="784">
                  <c:v>7.656437540131895</c:v>
                </c:pt>
                <c:pt idx="785">
                  <c:v>7.683422800932591</c:v>
                </c:pt>
                <c:pt idx="786">
                  <c:v>7.683422800932591</c:v>
                </c:pt>
                <c:pt idx="787">
                  <c:v>7.683422800932591</c:v>
                </c:pt>
                <c:pt idx="788">
                  <c:v>7.683422800932591</c:v>
                </c:pt>
                <c:pt idx="789">
                  <c:v>7.683422800932591</c:v>
                </c:pt>
                <c:pt idx="790">
                  <c:v>7.683422800932591</c:v>
                </c:pt>
                <c:pt idx="791">
                  <c:v>7.683422800932591</c:v>
                </c:pt>
                <c:pt idx="792">
                  <c:v>7.683422800932591</c:v>
                </c:pt>
                <c:pt idx="793">
                  <c:v>7.683422800932591</c:v>
                </c:pt>
                <c:pt idx="794">
                  <c:v>7.683422800932591</c:v>
                </c:pt>
                <c:pt idx="795">
                  <c:v>7.683422800932591</c:v>
                </c:pt>
                <c:pt idx="796">
                  <c:v>7.683422800932591</c:v>
                </c:pt>
                <c:pt idx="797">
                  <c:v>7.710889798016518</c:v>
                </c:pt>
                <c:pt idx="798">
                  <c:v>7.710889798016518</c:v>
                </c:pt>
                <c:pt idx="799">
                  <c:v>7.766004226324648</c:v>
                </c:pt>
                <c:pt idx="800">
                  <c:v>7.766004226324648</c:v>
                </c:pt>
                <c:pt idx="801">
                  <c:v>7.793652306592535</c:v>
                </c:pt>
                <c:pt idx="802">
                  <c:v>7.793652306592535</c:v>
                </c:pt>
                <c:pt idx="803">
                  <c:v>7.849081430544081</c:v>
                </c:pt>
                <c:pt idx="804">
                  <c:v>7.849081430544081</c:v>
                </c:pt>
                <c:pt idx="805">
                  <c:v>7.849081430544081</c:v>
                </c:pt>
                <c:pt idx="806">
                  <c:v>7.849081430544081</c:v>
                </c:pt>
                <c:pt idx="807">
                  <c:v>7.849081430544081</c:v>
                </c:pt>
                <c:pt idx="808">
                  <c:v>7.849081430544081</c:v>
                </c:pt>
                <c:pt idx="809">
                  <c:v>7.849081430544081</c:v>
                </c:pt>
                <c:pt idx="810">
                  <c:v>7.849081430544081</c:v>
                </c:pt>
                <c:pt idx="811">
                  <c:v>7.849081430544081</c:v>
                </c:pt>
                <c:pt idx="812">
                  <c:v>7.849081430544081</c:v>
                </c:pt>
                <c:pt idx="813">
                  <c:v>7.877593472180667</c:v>
                </c:pt>
                <c:pt idx="814">
                  <c:v>7.877593472180667</c:v>
                </c:pt>
                <c:pt idx="815">
                  <c:v>7.906185156391666</c:v>
                </c:pt>
                <c:pt idx="816">
                  <c:v>7.906185156391666</c:v>
                </c:pt>
                <c:pt idx="817">
                  <c:v>7.906185156391666</c:v>
                </c:pt>
                <c:pt idx="818">
                  <c:v>7.906185156391666</c:v>
                </c:pt>
                <c:pt idx="819">
                  <c:v>7.906185156391666</c:v>
                </c:pt>
                <c:pt idx="820">
                  <c:v>7.906185156391666</c:v>
                </c:pt>
                <c:pt idx="821">
                  <c:v>7.906185156391666</c:v>
                </c:pt>
                <c:pt idx="822">
                  <c:v>7.906185156391666</c:v>
                </c:pt>
                <c:pt idx="823">
                  <c:v>7.906185156391666</c:v>
                </c:pt>
                <c:pt idx="824">
                  <c:v>7.935589311833437</c:v>
                </c:pt>
                <c:pt idx="825">
                  <c:v>7.935589311833437</c:v>
                </c:pt>
                <c:pt idx="826">
                  <c:v>7.96516348809048</c:v>
                </c:pt>
                <c:pt idx="827">
                  <c:v>7.96516348809048</c:v>
                </c:pt>
                <c:pt idx="828">
                  <c:v>7.995074062192486</c:v>
                </c:pt>
                <c:pt idx="829">
                  <c:v>7.995074062192486</c:v>
                </c:pt>
                <c:pt idx="830">
                  <c:v>8.055168723157733</c:v>
                </c:pt>
                <c:pt idx="831">
                  <c:v>8.055168723157733</c:v>
                </c:pt>
                <c:pt idx="832">
                  <c:v>8.08531456947802</c:v>
                </c:pt>
                <c:pt idx="833">
                  <c:v>8.08531456947802</c:v>
                </c:pt>
                <c:pt idx="834">
                  <c:v>8.08531456947802</c:v>
                </c:pt>
                <c:pt idx="835">
                  <c:v>8.11569958945505</c:v>
                </c:pt>
                <c:pt idx="836">
                  <c:v>8.11569958945505</c:v>
                </c:pt>
                <c:pt idx="837">
                  <c:v>8.11569958945505</c:v>
                </c:pt>
                <c:pt idx="838">
                  <c:v>8.146358348350711</c:v>
                </c:pt>
                <c:pt idx="839">
                  <c:v>8.146358348350711</c:v>
                </c:pt>
                <c:pt idx="840">
                  <c:v>8.146358348350711</c:v>
                </c:pt>
                <c:pt idx="841">
                  <c:v>8.146358348350711</c:v>
                </c:pt>
                <c:pt idx="842">
                  <c:v>8.17754803991333</c:v>
                </c:pt>
                <c:pt idx="843">
                  <c:v>8.17754803991333</c:v>
                </c:pt>
                <c:pt idx="844">
                  <c:v>8.17754803991333</c:v>
                </c:pt>
                <c:pt idx="845">
                  <c:v>8.17754803991333</c:v>
                </c:pt>
                <c:pt idx="846">
                  <c:v>8.209080475339181</c:v>
                </c:pt>
                <c:pt idx="847">
                  <c:v>8.209080475339181</c:v>
                </c:pt>
                <c:pt idx="848">
                  <c:v>8.240732516554585</c:v>
                </c:pt>
                <c:pt idx="849">
                  <c:v>8.240732516554585</c:v>
                </c:pt>
                <c:pt idx="850">
                  <c:v>8.240732516554585</c:v>
                </c:pt>
                <c:pt idx="851">
                  <c:v>8.240732516554585</c:v>
                </c:pt>
                <c:pt idx="852">
                  <c:v>8.240732516554585</c:v>
                </c:pt>
                <c:pt idx="853">
                  <c:v>8.240732516554585</c:v>
                </c:pt>
                <c:pt idx="854">
                  <c:v>8.273133387841111</c:v>
                </c:pt>
                <c:pt idx="855">
                  <c:v>8.273133387841111</c:v>
                </c:pt>
                <c:pt idx="856">
                  <c:v>8.273133387841111</c:v>
                </c:pt>
                <c:pt idx="857">
                  <c:v>8.273133387841111</c:v>
                </c:pt>
                <c:pt idx="858">
                  <c:v>8.3059515869868</c:v>
                </c:pt>
                <c:pt idx="859">
                  <c:v>8.3059515869868</c:v>
                </c:pt>
                <c:pt idx="860">
                  <c:v>8.338958803838111</c:v>
                </c:pt>
                <c:pt idx="861">
                  <c:v>8.338958803838111</c:v>
                </c:pt>
                <c:pt idx="862">
                  <c:v>8.338958803838111</c:v>
                </c:pt>
                <c:pt idx="863">
                  <c:v>8.338958803838111</c:v>
                </c:pt>
                <c:pt idx="864">
                  <c:v>8.338958803838111</c:v>
                </c:pt>
                <c:pt idx="865">
                  <c:v>8.338958803838111</c:v>
                </c:pt>
                <c:pt idx="866">
                  <c:v>8.338958803838111</c:v>
                </c:pt>
                <c:pt idx="867">
                  <c:v>8.338958803838111</c:v>
                </c:pt>
                <c:pt idx="868">
                  <c:v>8.3729199158041</c:v>
                </c:pt>
                <c:pt idx="869">
                  <c:v>8.3729199158041</c:v>
                </c:pt>
                <c:pt idx="870">
                  <c:v>8.3729199158041</c:v>
                </c:pt>
                <c:pt idx="871">
                  <c:v>8.3729199158041</c:v>
                </c:pt>
                <c:pt idx="872">
                  <c:v>8.3729199158041</c:v>
                </c:pt>
                <c:pt idx="873">
                  <c:v>8.3729199158041</c:v>
                </c:pt>
                <c:pt idx="874">
                  <c:v>8.3729199158041</c:v>
                </c:pt>
                <c:pt idx="875">
                  <c:v>8.442731024439673</c:v>
                </c:pt>
                <c:pt idx="876">
                  <c:v>8.442731024439673</c:v>
                </c:pt>
                <c:pt idx="877">
                  <c:v>8.442731024439673</c:v>
                </c:pt>
                <c:pt idx="878">
                  <c:v>8.442731024439673</c:v>
                </c:pt>
                <c:pt idx="879">
                  <c:v>8.442731024439673</c:v>
                </c:pt>
                <c:pt idx="880">
                  <c:v>8.442731024439673</c:v>
                </c:pt>
                <c:pt idx="881">
                  <c:v>8.478204588552637</c:v>
                </c:pt>
                <c:pt idx="882">
                  <c:v>8.478204588552637</c:v>
                </c:pt>
                <c:pt idx="883">
                  <c:v>8.478204588552637</c:v>
                </c:pt>
                <c:pt idx="884">
                  <c:v>8.514208441979582</c:v>
                </c:pt>
                <c:pt idx="885">
                  <c:v>8.514208441979582</c:v>
                </c:pt>
                <c:pt idx="886">
                  <c:v>8.514208441979582</c:v>
                </c:pt>
                <c:pt idx="887">
                  <c:v>8.514208441979582</c:v>
                </c:pt>
                <c:pt idx="888">
                  <c:v>8.55048353775998</c:v>
                </c:pt>
                <c:pt idx="889">
                  <c:v>8.55048353775998</c:v>
                </c:pt>
                <c:pt idx="890">
                  <c:v>8.55048353775998</c:v>
                </c:pt>
                <c:pt idx="891">
                  <c:v>8.55048353775998</c:v>
                </c:pt>
                <c:pt idx="892">
                  <c:v>8.55048353775998</c:v>
                </c:pt>
                <c:pt idx="893">
                  <c:v>8.587825112468934</c:v>
                </c:pt>
                <c:pt idx="894">
                  <c:v>8.587825112468934</c:v>
                </c:pt>
                <c:pt idx="895">
                  <c:v>8.587825112468934</c:v>
                </c:pt>
                <c:pt idx="896">
                  <c:v>8.587825112468934</c:v>
                </c:pt>
                <c:pt idx="897">
                  <c:v>8.587825112468934</c:v>
                </c:pt>
                <c:pt idx="898">
                  <c:v>8.587825112468934</c:v>
                </c:pt>
                <c:pt idx="899">
                  <c:v>8.587825112468934</c:v>
                </c:pt>
                <c:pt idx="900">
                  <c:v>8.587825112468934</c:v>
                </c:pt>
                <c:pt idx="901">
                  <c:v>8.587825112468934</c:v>
                </c:pt>
                <c:pt idx="902">
                  <c:v>8.587825112468934</c:v>
                </c:pt>
                <c:pt idx="903">
                  <c:v>8.587825112468934</c:v>
                </c:pt>
                <c:pt idx="904">
                  <c:v>8.587825112468934</c:v>
                </c:pt>
                <c:pt idx="905">
                  <c:v>8.587825112468934</c:v>
                </c:pt>
                <c:pt idx="906">
                  <c:v>8.587825112468934</c:v>
                </c:pt>
                <c:pt idx="907">
                  <c:v>8.627953371857661</c:v>
                </c:pt>
                <c:pt idx="908">
                  <c:v>8.627953371857661</c:v>
                </c:pt>
                <c:pt idx="909">
                  <c:v>8.627953371857661</c:v>
                </c:pt>
                <c:pt idx="910">
                  <c:v>8.66858122718366</c:v>
                </c:pt>
                <c:pt idx="911">
                  <c:v>8.66858122718366</c:v>
                </c:pt>
                <c:pt idx="912">
                  <c:v>8.66858122718366</c:v>
                </c:pt>
                <c:pt idx="913">
                  <c:v>8.66858122718366</c:v>
                </c:pt>
                <c:pt idx="914">
                  <c:v>8.66858122718366</c:v>
                </c:pt>
                <c:pt idx="915">
                  <c:v>8.66858122718366</c:v>
                </c:pt>
                <c:pt idx="916">
                  <c:v>8.66858122718366</c:v>
                </c:pt>
                <c:pt idx="917">
                  <c:v>8.66858122718366</c:v>
                </c:pt>
                <c:pt idx="918">
                  <c:v>8.70964751260309</c:v>
                </c:pt>
                <c:pt idx="919">
                  <c:v>8.70964751260309</c:v>
                </c:pt>
                <c:pt idx="920">
                  <c:v>8.70964751260309</c:v>
                </c:pt>
                <c:pt idx="921">
                  <c:v>8.70964751260309</c:v>
                </c:pt>
                <c:pt idx="922">
                  <c:v>8.70964751260309</c:v>
                </c:pt>
                <c:pt idx="923">
                  <c:v>8.70964751260309</c:v>
                </c:pt>
                <c:pt idx="924">
                  <c:v>8.70964751260309</c:v>
                </c:pt>
                <c:pt idx="925">
                  <c:v>8.70964751260309</c:v>
                </c:pt>
                <c:pt idx="926">
                  <c:v>8.751620088459365</c:v>
                </c:pt>
                <c:pt idx="927">
                  <c:v>8.751620088459365</c:v>
                </c:pt>
                <c:pt idx="928">
                  <c:v>8.79363131309636</c:v>
                </c:pt>
                <c:pt idx="929">
                  <c:v>8.79363131309636</c:v>
                </c:pt>
                <c:pt idx="930">
                  <c:v>8.79363131309636</c:v>
                </c:pt>
                <c:pt idx="931">
                  <c:v>8.83589561739984</c:v>
                </c:pt>
                <c:pt idx="932">
                  <c:v>8.83589561739984</c:v>
                </c:pt>
                <c:pt idx="933">
                  <c:v>8.83589561739984</c:v>
                </c:pt>
                <c:pt idx="934">
                  <c:v>8.920857504056501</c:v>
                </c:pt>
                <c:pt idx="935">
                  <c:v>8.920857504056501</c:v>
                </c:pt>
                <c:pt idx="936">
                  <c:v>8.920857504056501</c:v>
                </c:pt>
                <c:pt idx="937">
                  <c:v>8.920857504056501</c:v>
                </c:pt>
                <c:pt idx="938">
                  <c:v>8.9638193637244</c:v>
                </c:pt>
                <c:pt idx="939">
                  <c:v>8.9638193637244</c:v>
                </c:pt>
                <c:pt idx="940">
                  <c:v>9.093623803795138</c:v>
                </c:pt>
                <c:pt idx="941">
                  <c:v>9.093623803795138</c:v>
                </c:pt>
                <c:pt idx="942">
                  <c:v>9.093623803795138</c:v>
                </c:pt>
                <c:pt idx="943">
                  <c:v>9.093623803795138</c:v>
                </c:pt>
                <c:pt idx="944">
                  <c:v>9.093623803795138</c:v>
                </c:pt>
                <c:pt idx="945">
                  <c:v>9.093623803795138</c:v>
                </c:pt>
                <c:pt idx="946">
                  <c:v>9.093623803795138</c:v>
                </c:pt>
                <c:pt idx="947">
                  <c:v>9.093623803795138</c:v>
                </c:pt>
                <c:pt idx="948">
                  <c:v>9.093623803795138</c:v>
                </c:pt>
                <c:pt idx="949">
                  <c:v>9.138076799490037</c:v>
                </c:pt>
                <c:pt idx="950">
                  <c:v>9.138076799490037</c:v>
                </c:pt>
                <c:pt idx="951">
                  <c:v>9.138076799490037</c:v>
                </c:pt>
                <c:pt idx="952">
                  <c:v>9.138076799490037</c:v>
                </c:pt>
                <c:pt idx="953">
                  <c:v>9.138076799490037</c:v>
                </c:pt>
                <c:pt idx="954">
                  <c:v>9.138076799490037</c:v>
                </c:pt>
                <c:pt idx="955">
                  <c:v>9.183644464084137</c:v>
                </c:pt>
                <c:pt idx="956">
                  <c:v>9.183644464084137</c:v>
                </c:pt>
                <c:pt idx="957">
                  <c:v>9.183644464084137</c:v>
                </c:pt>
                <c:pt idx="958">
                  <c:v>9.183644464084137</c:v>
                </c:pt>
                <c:pt idx="959">
                  <c:v>9.183644464084137</c:v>
                </c:pt>
                <c:pt idx="960">
                  <c:v>9.183644464084137</c:v>
                </c:pt>
                <c:pt idx="961">
                  <c:v>9.183644464084137</c:v>
                </c:pt>
                <c:pt idx="962">
                  <c:v>9.183644464084137</c:v>
                </c:pt>
                <c:pt idx="963">
                  <c:v>9.183644464084137</c:v>
                </c:pt>
                <c:pt idx="964">
                  <c:v>9.183644464084137</c:v>
                </c:pt>
                <c:pt idx="965">
                  <c:v>9.183644464084137</c:v>
                </c:pt>
                <c:pt idx="966">
                  <c:v>9.183644464084137</c:v>
                </c:pt>
                <c:pt idx="967">
                  <c:v>9.183644464084137</c:v>
                </c:pt>
                <c:pt idx="968">
                  <c:v>9.183644464084137</c:v>
                </c:pt>
                <c:pt idx="969">
                  <c:v>9.183644464084137</c:v>
                </c:pt>
                <c:pt idx="970">
                  <c:v>9.183644464084137</c:v>
                </c:pt>
                <c:pt idx="971">
                  <c:v>9.183644464084137</c:v>
                </c:pt>
                <c:pt idx="972">
                  <c:v>9.183644464084137</c:v>
                </c:pt>
                <c:pt idx="973">
                  <c:v>9.183644464084137</c:v>
                </c:pt>
                <c:pt idx="974">
                  <c:v>9.232894114591683</c:v>
                </c:pt>
                <c:pt idx="975">
                  <c:v>9.232894114591683</c:v>
                </c:pt>
                <c:pt idx="976">
                  <c:v>9.232894114591683</c:v>
                </c:pt>
                <c:pt idx="977">
                  <c:v>9.232894114591683</c:v>
                </c:pt>
                <c:pt idx="978">
                  <c:v>9.282958706916748</c:v>
                </c:pt>
                <c:pt idx="979">
                  <c:v>9.282958706916748</c:v>
                </c:pt>
                <c:pt idx="980">
                  <c:v>9.383979911029356</c:v>
                </c:pt>
                <c:pt idx="981">
                  <c:v>9.383979911029356</c:v>
                </c:pt>
                <c:pt idx="982">
                  <c:v>9.383979911029356</c:v>
                </c:pt>
                <c:pt idx="983">
                  <c:v>9.383979911029356</c:v>
                </c:pt>
                <c:pt idx="984">
                  <c:v>9.43543704906965</c:v>
                </c:pt>
                <c:pt idx="985">
                  <c:v>9.43543704906965</c:v>
                </c:pt>
                <c:pt idx="986">
                  <c:v>9.43543704906965</c:v>
                </c:pt>
                <c:pt idx="987">
                  <c:v>9.43543704906965</c:v>
                </c:pt>
                <c:pt idx="988">
                  <c:v>9.48754554328768</c:v>
                </c:pt>
                <c:pt idx="989">
                  <c:v>9.48754554328768</c:v>
                </c:pt>
                <c:pt idx="990">
                  <c:v>9.539864881123923</c:v>
                </c:pt>
                <c:pt idx="991">
                  <c:v>9.539864881123923</c:v>
                </c:pt>
                <c:pt idx="992">
                  <c:v>9.539864881123923</c:v>
                </c:pt>
                <c:pt idx="993">
                  <c:v>9.539864881123923</c:v>
                </c:pt>
                <c:pt idx="994">
                  <c:v>9.539864881123923</c:v>
                </c:pt>
                <c:pt idx="995">
                  <c:v>9.593170794570458</c:v>
                </c:pt>
                <c:pt idx="996">
                  <c:v>9.593170794570458</c:v>
                </c:pt>
                <c:pt idx="997">
                  <c:v>9.593170794570458</c:v>
                </c:pt>
                <c:pt idx="998">
                  <c:v>9.593170794570458</c:v>
                </c:pt>
                <c:pt idx="999">
                  <c:v>9.593170794570458</c:v>
                </c:pt>
                <c:pt idx="1000">
                  <c:v>9.593170794570458</c:v>
                </c:pt>
                <c:pt idx="1001">
                  <c:v>9.648062615581718</c:v>
                </c:pt>
                <c:pt idx="1002">
                  <c:v>9.648062615581718</c:v>
                </c:pt>
                <c:pt idx="1003">
                  <c:v>9.703391419858761</c:v>
                </c:pt>
                <c:pt idx="1004">
                  <c:v>9.703391419858761</c:v>
                </c:pt>
                <c:pt idx="1005">
                  <c:v>9.759302632601887</c:v>
                </c:pt>
                <c:pt idx="1006">
                  <c:v>9.759302632601887</c:v>
                </c:pt>
                <c:pt idx="1007">
                  <c:v>9.759302632601887</c:v>
                </c:pt>
                <c:pt idx="1008">
                  <c:v>9.815950904646706</c:v>
                </c:pt>
                <c:pt idx="1009">
                  <c:v>9.815950904646706</c:v>
                </c:pt>
                <c:pt idx="1010">
                  <c:v>9.815950904646706</c:v>
                </c:pt>
                <c:pt idx="1011">
                  <c:v>9.87302941673237</c:v>
                </c:pt>
                <c:pt idx="1012">
                  <c:v>9.87302941673237</c:v>
                </c:pt>
                <c:pt idx="1013">
                  <c:v>9.930435130479676</c:v>
                </c:pt>
                <c:pt idx="1014">
                  <c:v>9.930435130479676</c:v>
                </c:pt>
                <c:pt idx="1015">
                  <c:v>9.930435130479676</c:v>
                </c:pt>
                <c:pt idx="1016">
                  <c:v>9.930435130479676</c:v>
                </c:pt>
                <c:pt idx="1017">
                  <c:v>9.98907417010827</c:v>
                </c:pt>
                <c:pt idx="1018">
                  <c:v>9.98907417010827</c:v>
                </c:pt>
                <c:pt idx="1019">
                  <c:v>9.98907417010827</c:v>
                </c:pt>
                <c:pt idx="1020">
                  <c:v>9.98907417010827</c:v>
                </c:pt>
                <c:pt idx="1021">
                  <c:v>9.98907417010827</c:v>
                </c:pt>
                <c:pt idx="1022">
                  <c:v>9.98907417010827</c:v>
                </c:pt>
                <c:pt idx="1023">
                  <c:v>9.98907417010827</c:v>
                </c:pt>
                <c:pt idx="1024">
                  <c:v>9.98907417010827</c:v>
                </c:pt>
                <c:pt idx="1025">
                  <c:v>9.98907417010827</c:v>
                </c:pt>
                <c:pt idx="1026">
                  <c:v>9.98907417010827</c:v>
                </c:pt>
                <c:pt idx="1027">
                  <c:v>9.98907417010827</c:v>
                </c:pt>
                <c:pt idx="1028">
                  <c:v>9.98907417010827</c:v>
                </c:pt>
                <c:pt idx="1029">
                  <c:v>9.98907417010827</c:v>
                </c:pt>
                <c:pt idx="1030">
                  <c:v>9.98907417010827</c:v>
                </c:pt>
                <c:pt idx="1031">
                  <c:v>9.98907417010827</c:v>
                </c:pt>
                <c:pt idx="1032">
                  <c:v>9.98907417010827</c:v>
                </c:pt>
                <c:pt idx="1033">
                  <c:v>9.98907417010827</c:v>
                </c:pt>
                <c:pt idx="1034">
                  <c:v>9.98907417010827</c:v>
                </c:pt>
                <c:pt idx="1035">
                  <c:v>9.98907417010827</c:v>
                </c:pt>
                <c:pt idx="1036">
                  <c:v>9.98907417010827</c:v>
                </c:pt>
                <c:pt idx="1037">
                  <c:v>9.98907417010827</c:v>
                </c:pt>
                <c:pt idx="1038">
                  <c:v>9.98907417010827</c:v>
                </c:pt>
                <c:pt idx="1039">
                  <c:v>9.98907417010827</c:v>
                </c:pt>
                <c:pt idx="1040">
                  <c:v>9.98907417010827</c:v>
                </c:pt>
                <c:pt idx="1041">
                  <c:v>9.98907417010827</c:v>
                </c:pt>
                <c:pt idx="1042">
                  <c:v>9.98907417010827</c:v>
                </c:pt>
                <c:pt idx="1043">
                  <c:v>9.98907417010827</c:v>
                </c:pt>
                <c:pt idx="1044">
                  <c:v>9.98907417010827</c:v>
                </c:pt>
                <c:pt idx="1045">
                  <c:v>9.98907417010827</c:v>
                </c:pt>
                <c:pt idx="1046">
                  <c:v>9.98907417010827</c:v>
                </c:pt>
                <c:pt idx="1047">
                  <c:v>9.98907417010827</c:v>
                </c:pt>
                <c:pt idx="1048">
                  <c:v>10.06249254354212</c:v>
                </c:pt>
                <c:pt idx="1049">
                  <c:v>10.06249254354212</c:v>
                </c:pt>
                <c:pt idx="1050">
                  <c:v>10.13639353570025</c:v>
                </c:pt>
                <c:pt idx="1051">
                  <c:v>10.13639353570025</c:v>
                </c:pt>
                <c:pt idx="1052">
                  <c:v>10.21066097905917</c:v>
                </c:pt>
                <c:pt idx="1053">
                  <c:v>10.21066097905917</c:v>
                </c:pt>
                <c:pt idx="1054">
                  <c:v>10.21066097905917</c:v>
                </c:pt>
                <c:pt idx="1055">
                  <c:v>10.21066097905917</c:v>
                </c:pt>
                <c:pt idx="1056">
                  <c:v>10.21066097905917</c:v>
                </c:pt>
                <c:pt idx="1057">
                  <c:v>10.21066097905917</c:v>
                </c:pt>
                <c:pt idx="1058">
                  <c:v>10.21066097905917</c:v>
                </c:pt>
                <c:pt idx="1059">
                  <c:v>10.21066097905917</c:v>
                </c:pt>
                <c:pt idx="1060">
                  <c:v>10.28675363924642</c:v>
                </c:pt>
                <c:pt idx="1061">
                  <c:v>10.28675363924642</c:v>
                </c:pt>
                <c:pt idx="1062">
                  <c:v>10.28675363924642</c:v>
                </c:pt>
                <c:pt idx="1063">
                  <c:v>10.28675363924642</c:v>
                </c:pt>
                <c:pt idx="1064">
                  <c:v>10.28675363924642</c:v>
                </c:pt>
                <c:pt idx="1065">
                  <c:v>10.28675363924642</c:v>
                </c:pt>
                <c:pt idx="1066">
                  <c:v>10.28675363924642</c:v>
                </c:pt>
                <c:pt idx="1067">
                  <c:v>10.28675363924642</c:v>
                </c:pt>
                <c:pt idx="1068">
                  <c:v>10.28675363924642</c:v>
                </c:pt>
                <c:pt idx="1069">
                  <c:v>10.28675363924642</c:v>
                </c:pt>
                <c:pt idx="1070">
                  <c:v>10.28675363924642</c:v>
                </c:pt>
                <c:pt idx="1071">
                  <c:v>10.28675363924642</c:v>
                </c:pt>
                <c:pt idx="1072">
                  <c:v>10.28675363924642</c:v>
                </c:pt>
                <c:pt idx="1073">
                  <c:v>10.28675363924642</c:v>
                </c:pt>
                <c:pt idx="1074">
                  <c:v>10.28675363924642</c:v>
                </c:pt>
                <c:pt idx="1075">
                  <c:v>10.28675363924642</c:v>
                </c:pt>
                <c:pt idx="1076">
                  <c:v>10.28675363924642</c:v>
                </c:pt>
                <c:pt idx="1077">
                  <c:v>10.28675363924642</c:v>
                </c:pt>
                <c:pt idx="1078">
                  <c:v>10.28675363924642</c:v>
                </c:pt>
                <c:pt idx="1079">
                  <c:v>10.28675363924642</c:v>
                </c:pt>
                <c:pt idx="1080">
                  <c:v>10.28675363924642</c:v>
                </c:pt>
                <c:pt idx="1081">
                  <c:v>10.28675363924642</c:v>
                </c:pt>
                <c:pt idx="1082">
                  <c:v>10.28675363924642</c:v>
                </c:pt>
                <c:pt idx="1083">
                  <c:v>10.28675363924642</c:v>
                </c:pt>
                <c:pt idx="1084">
                  <c:v>10.28675363924642</c:v>
                </c:pt>
                <c:pt idx="1085">
                  <c:v>10.28675363924642</c:v>
                </c:pt>
                <c:pt idx="1086">
                  <c:v>10.28675363924642</c:v>
                </c:pt>
                <c:pt idx="1087">
                  <c:v>10.28675363924642</c:v>
                </c:pt>
                <c:pt idx="1088">
                  <c:v>10.28675363924642</c:v>
                </c:pt>
                <c:pt idx="1089">
                  <c:v>10.28675363924642</c:v>
                </c:pt>
                <c:pt idx="1090">
                  <c:v>10.28675363924642</c:v>
                </c:pt>
                <c:pt idx="1091">
                  <c:v>10.28675363924642</c:v>
                </c:pt>
                <c:pt idx="1092">
                  <c:v>10.28675363924642</c:v>
                </c:pt>
                <c:pt idx="1093">
                  <c:v>10.28675363924642</c:v>
                </c:pt>
                <c:pt idx="1094">
                  <c:v>10.28675363924642</c:v>
                </c:pt>
                <c:pt idx="1095">
                  <c:v>10.28675363924642</c:v>
                </c:pt>
                <c:pt idx="1096">
                  <c:v>10.28675363924642</c:v>
                </c:pt>
                <c:pt idx="1097">
                  <c:v>10.28675363924642</c:v>
                </c:pt>
                <c:pt idx="1098">
                  <c:v>10.28675363924642</c:v>
                </c:pt>
                <c:pt idx="1099">
                  <c:v>10.28675363924642</c:v>
                </c:pt>
                <c:pt idx="1100">
                  <c:v>10.4904159465353</c:v>
                </c:pt>
                <c:pt idx="1101">
                  <c:v>10.4904159465353</c:v>
                </c:pt>
                <c:pt idx="1102">
                  <c:v>10.4904159465353</c:v>
                </c:pt>
                <c:pt idx="1103">
                  <c:v>10.4904159465353</c:v>
                </c:pt>
                <c:pt idx="1104">
                  <c:v>10.4904159465353</c:v>
                </c:pt>
                <c:pt idx="1105">
                  <c:v>10.4904159465353</c:v>
                </c:pt>
                <c:pt idx="1106">
                  <c:v>10.4904159465353</c:v>
                </c:pt>
                <c:pt idx="1107">
                  <c:v>10.4904159465353</c:v>
                </c:pt>
                <c:pt idx="1108">
                  <c:v>10.4904159465353</c:v>
                </c:pt>
                <c:pt idx="1109">
                  <c:v>10.4904159465353</c:v>
                </c:pt>
                <c:pt idx="1110">
                  <c:v>10.4904159465353</c:v>
                </c:pt>
                <c:pt idx="1111">
                  <c:v>10.4904159465353</c:v>
                </c:pt>
                <c:pt idx="1112">
                  <c:v>10.6021632424822</c:v>
                </c:pt>
                <c:pt idx="1113">
                  <c:v>10.6021632424822</c:v>
                </c:pt>
                <c:pt idx="1114">
                  <c:v>10.6021632424822</c:v>
                </c:pt>
                <c:pt idx="1115">
                  <c:v>10.6021632424822</c:v>
                </c:pt>
                <c:pt idx="1116">
                  <c:v>10.6021632424822</c:v>
                </c:pt>
                <c:pt idx="1117">
                  <c:v>10.6021632424822</c:v>
                </c:pt>
                <c:pt idx="1118">
                  <c:v>10.6021632424822</c:v>
                </c:pt>
                <c:pt idx="1119">
                  <c:v>10.6021632424822</c:v>
                </c:pt>
                <c:pt idx="1120">
                  <c:v>10.6021632424822</c:v>
                </c:pt>
                <c:pt idx="1121">
                  <c:v>10.6021632424822</c:v>
                </c:pt>
                <c:pt idx="1122">
                  <c:v>10.6021632424822</c:v>
                </c:pt>
                <c:pt idx="1123">
                  <c:v>10.6021632424822</c:v>
                </c:pt>
                <c:pt idx="1124">
                  <c:v>10.6021632424822</c:v>
                </c:pt>
                <c:pt idx="1125">
                  <c:v>10.6021632424822</c:v>
                </c:pt>
                <c:pt idx="1126">
                  <c:v>10.6021632424822</c:v>
                </c:pt>
                <c:pt idx="1127">
                  <c:v>10.6021632424822</c:v>
                </c:pt>
                <c:pt idx="1128">
                  <c:v>10.6021632424822</c:v>
                </c:pt>
                <c:pt idx="1129">
                  <c:v>10.6021632424822</c:v>
                </c:pt>
                <c:pt idx="1130">
                  <c:v>10.6021632424822</c:v>
                </c:pt>
                <c:pt idx="1131">
                  <c:v>10.6021632424822</c:v>
                </c:pt>
                <c:pt idx="1132">
                  <c:v>10.6021632424822</c:v>
                </c:pt>
                <c:pt idx="1133">
                  <c:v>10.6021632424822</c:v>
                </c:pt>
                <c:pt idx="1134">
                  <c:v>10.6021632424822</c:v>
                </c:pt>
                <c:pt idx="1135">
                  <c:v>10.6021632424822</c:v>
                </c:pt>
                <c:pt idx="1136">
                  <c:v>10.6021632424822</c:v>
                </c:pt>
                <c:pt idx="1137">
                  <c:v>10.6021632424822</c:v>
                </c:pt>
                <c:pt idx="1138">
                  <c:v>10.6021632424822</c:v>
                </c:pt>
                <c:pt idx="1139">
                  <c:v>10.6021632424822</c:v>
                </c:pt>
                <c:pt idx="1140">
                  <c:v>10.6021632424822</c:v>
                </c:pt>
                <c:pt idx="1141">
                  <c:v>10.6021632424822</c:v>
                </c:pt>
                <c:pt idx="1142">
                  <c:v>10.6021632424822</c:v>
                </c:pt>
                <c:pt idx="1143">
                  <c:v>10.6021632424822</c:v>
                </c:pt>
                <c:pt idx="1144">
                  <c:v>10.6021632424822</c:v>
                </c:pt>
                <c:pt idx="1145">
                  <c:v>10.6021632424822</c:v>
                </c:pt>
                <c:pt idx="1146">
                  <c:v>10.6021632424822</c:v>
                </c:pt>
                <c:pt idx="1147">
                  <c:v>10.6021632424822</c:v>
                </c:pt>
                <c:pt idx="1148">
                  <c:v>10.6021632424822</c:v>
                </c:pt>
                <c:pt idx="1149">
                  <c:v>10.6021632424822</c:v>
                </c:pt>
                <c:pt idx="1150">
                  <c:v>10.6021632424822</c:v>
                </c:pt>
                <c:pt idx="1151">
                  <c:v>10.6021632424822</c:v>
                </c:pt>
                <c:pt idx="1152">
                  <c:v>10.6021632424822</c:v>
                </c:pt>
                <c:pt idx="1153">
                  <c:v>10.6021632424822</c:v>
                </c:pt>
                <c:pt idx="1154">
                  <c:v>10.6021632424822</c:v>
                </c:pt>
                <c:pt idx="1155">
                  <c:v>10.6021632424822</c:v>
                </c:pt>
                <c:pt idx="1156">
                  <c:v>10.6021632424822</c:v>
                </c:pt>
                <c:pt idx="1157">
                  <c:v>10.6021632424822</c:v>
                </c:pt>
                <c:pt idx="1158">
                  <c:v>10.6021632424822</c:v>
                </c:pt>
                <c:pt idx="1159">
                  <c:v>10.6021632424822</c:v>
                </c:pt>
                <c:pt idx="1160">
                  <c:v>10.6021632424822</c:v>
                </c:pt>
                <c:pt idx="1161">
                  <c:v>10.6021632424822</c:v>
                </c:pt>
                <c:pt idx="1162">
                  <c:v>10.6021632424822</c:v>
                </c:pt>
                <c:pt idx="1163">
                  <c:v>10.6021632424822</c:v>
                </c:pt>
                <c:pt idx="1164">
                  <c:v>10.80814904146266</c:v>
                </c:pt>
                <c:pt idx="1165">
                  <c:v>10.80814904146266</c:v>
                </c:pt>
                <c:pt idx="1166">
                  <c:v>10.80814904146266</c:v>
                </c:pt>
                <c:pt idx="1167">
                  <c:v>10.80814904146266</c:v>
                </c:pt>
                <c:pt idx="1168">
                  <c:v>10.80814904146266</c:v>
                </c:pt>
                <c:pt idx="1169">
                  <c:v>10.80814904146266</c:v>
                </c:pt>
                <c:pt idx="1170">
                  <c:v>10.80814904146266</c:v>
                </c:pt>
                <c:pt idx="1171">
                  <c:v>10.80814904146266</c:v>
                </c:pt>
                <c:pt idx="1172">
                  <c:v>10.80814904146266</c:v>
                </c:pt>
                <c:pt idx="1173">
                  <c:v>10.80814904146266</c:v>
                </c:pt>
                <c:pt idx="1174">
                  <c:v>10.80814904146266</c:v>
                </c:pt>
                <c:pt idx="1175">
                  <c:v>10.80814904146266</c:v>
                </c:pt>
                <c:pt idx="1176">
                  <c:v>10.80814904146266</c:v>
                </c:pt>
                <c:pt idx="1177">
                  <c:v>10.80814904146266</c:v>
                </c:pt>
                <c:pt idx="1178">
                  <c:v>10.80814904146266</c:v>
                </c:pt>
                <c:pt idx="1179">
                  <c:v>10.80814904146266</c:v>
                </c:pt>
                <c:pt idx="1180">
                  <c:v>10.80814904146266</c:v>
                </c:pt>
                <c:pt idx="1181">
                  <c:v>10.80814904146266</c:v>
                </c:pt>
                <c:pt idx="1182">
                  <c:v>10.80814904146266</c:v>
                </c:pt>
                <c:pt idx="1183">
                  <c:v>10.80814904146266</c:v>
                </c:pt>
                <c:pt idx="1184">
                  <c:v>10.80814904146266</c:v>
                </c:pt>
                <c:pt idx="1185">
                  <c:v>10.80814904146266</c:v>
                </c:pt>
                <c:pt idx="1186">
                  <c:v>10.80814904146266</c:v>
                </c:pt>
                <c:pt idx="1187">
                  <c:v>10.80814904146266</c:v>
                </c:pt>
                <c:pt idx="1188">
                  <c:v>10.80814904146266</c:v>
                </c:pt>
                <c:pt idx="1189">
                  <c:v>10.80814904146266</c:v>
                </c:pt>
                <c:pt idx="1190">
                  <c:v>10.80814904146266</c:v>
                </c:pt>
                <c:pt idx="1191">
                  <c:v>10.80814904146266</c:v>
                </c:pt>
                <c:pt idx="1192">
                  <c:v>10.80814904146266</c:v>
                </c:pt>
                <c:pt idx="1193">
                  <c:v>10.80814904146266</c:v>
                </c:pt>
                <c:pt idx="1194">
                  <c:v>10.80814904146266</c:v>
                </c:pt>
                <c:pt idx="1195">
                  <c:v>10.80814904146266</c:v>
                </c:pt>
                <c:pt idx="1196">
                  <c:v>10.80814904146266</c:v>
                </c:pt>
                <c:pt idx="1197">
                  <c:v>10.80814904146266</c:v>
                </c:pt>
                <c:pt idx="1198">
                  <c:v>10.80814904146266</c:v>
                </c:pt>
                <c:pt idx="1199">
                  <c:v>10.80814904146266</c:v>
                </c:pt>
                <c:pt idx="1200">
                  <c:v>10.80814904146266</c:v>
                </c:pt>
                <c:pt idx="1201">
                  <c:v>10.80814904146266</c:v>
                </c:pt>
                <c:pt idx="1202">
                  <c:v>10.80814904146266</c:v>
                </c:pt>
                <c:pt idx="1203">
                  <c:v>10.80814904146266</c:v>
                </c:pt>
                <c:pt idx="1204">
                  <c:v>10.80814904146266</c:v>
                </c:pt>
                <c:pt idx="1205">
                  <c:v>10.80814904146266</c:v>
                </c:pt>
                <c:pt idx="1206">
                  <c:v>10.80814904146266</c:v>
                </c:pt>
                <c:pt idx="1207">
                  <c:v>10.80814904146266</c:v>
                </c:pt>
                <c:pt idx="1208">
                  <c:v>10.80814904146266</c:v>
                </c:pt>
                <c:pt idx="1209">
                  <c:v>10.80814904146266</c:v>
                </c:pt>
                <c:pt idx="1210">
                  <c:v>10.80814904146266</c:v>
                </c:pt>
                <c:pt idx="1211">
                  <c:v>10.80814904146266</c:v>
                </c:pt>
                <c:pt idx="1212">
                  <c:v>10.80814904146266</c:v>
                </c:pt>
                <c:pt idx="1213">
                  <c:v>10.80814904146266</c:v>
                </c:pt>
                <c:pt idx="1214">
                  <c:v>10.80814904146266</c:v>
                </c:pt>
                <c:pt idx="1215">
                  <c:v>10.80814904146266</c:v>
                </c:pt>
                <c:pt idx="1216">
                  <c:v>10.80814904146266</c:v>
                </c:pt>
                <c:pt idx="1217">
                  <c:v>10.80814904146266</c:v>
                </c:pt>
                <c:pt idx="1218">
                  <c:v>10.80814904146266</c:v>
                </c:pt>
                <c:pt idx="1219">
                  <c:v>10.80814904146266</c:v>
                </c:pt>
                <c:pt idx="1220">
                  <c:v>10.80814904146266</c:v>
                </c:pt>
                <c:pt idx="1221">
                  <c:v>10.80814904146266</c:v>
                </c:pt>
                <c:pt idx="1222">
                  <c:v>10.80814904146266</c:v>
                </c:pt>
                <c:pt idx="1223">
                  <c:v>10.80814904146266</c:v>
                </c:pt>
                <c:pt idx="1224">
                  <c:v>10.80814904146266</c:v>
                </c:pt>
                <c:pt idx="1225">
                  <c:v>10.80814904146266</c:v>
                </c:pt>
                <c:pt idx="1226">
                  <c:v>10.80814904146266</c:v>
                </c:pt>
                <c:pt idx="1227">
                  <c:v>10.80814904146266</c:v>
                </c:pt>
                <c:pt idx="1228">
                  <c:v>10.80814904146266</c:v>
                </c:pt>
                <c:pt idx="1229">
                  <c:v>10.80814904146266</c:v>
                </c:pt>
                <c:pt idx="1230">
                  <c:v>10.80814904146266</c:v>
                </c:pt>
                <c:pt idx="1231">
                  <c:v>10.80814904146266</c:v>
                </c:pt>
                <c:pt idx="1232">
                  <c:v>10.80814904146266</c:v>
                </c:pt>
                <c:pt idx="1233">
                  <c:v>10.80814904146266</c:v>
                </c:pt>
                <c:pt idx="1234">
                  <c:v>10.80814904146266</c:v>
                </c:pt>
                <c:pt idx="1235">
                  <c:v>10.80814904146266</c:v>
                </c:pt>
                <c:pt idx="1236">
                  <c:v>10.80814904146266</c:v>
                </c:pt>
                <c:pt idx="1237">
                  <c:v>10.80814904146266</c:v>
                </c:pt>
                <c:pt idx="1238">
                  <c:v>10.80814904146266</c:v>
                </c:pt>
                <c:pt idx="1239">
                  <c:v>10.80814904146266</c:v>
                </c:pt>
                <c:pt idx="1240">
                  <c:v>10.80814904146266</c:v>
                </c:pt>
                <c:pt idx="1241">
                  <c:v>10.80814904146266</c:v>
                </c:pt>
                <c:pt idx="1242">
                  <c:v>10.80814904146266</c:v>
                </c:pt>
                <c:pt idx="1243">
                  <c:v>10.80814904146266</c:v>
                </c:pt>
                <c:pt idx="1244">
                  <c:v>10.80814904146266</c:v>
                </c:pt>
                <c:pt idx="1245">
                  <c:v>10.80814904146266</c:v>
                </c:pt>
                <c:pt idx="1246">
                  <c:v>10.80814904146266</c:v>
                </c:pt>
                <c:pt idx="1247">
                  <c:v>10.80814904146266</c:v>
                </c:pt>
                <c:pt idx="1248">
                  <c:v>10.80814904146266</c:v>
                </c:pt>
                <c:pt idx="1249">
                  <c:v>10.80814904146266</c:v>
                </c:pt>
                <c:pt idx="1250">
                  <c:v>10.80814904146266</c:v>
                </c:pt>
                <c:pt idx="1251">
                  <c:v>10.80814904146266</c:v>
                </c:pt>
                <c:pt idx="1252">
                  <c:v>10.80814904146266</c:v>
                </c:pt>
                <c:pt idx="1253">
                  <c:v>10.80814904146266</c:v>
                </c:pt>
                <c:pt idx="1254">
                  <c:v>10.80814904146266</c:v>
                </c:pt>
                <c:pt idx="1255">
                  <c:v>10.80814904146266</c:v>
                </c:pt>
                <c:pt idx="1256">
                  <c:v>10.80814904146266</c:v>
                </c:pt>
                <c:pt idx="1257">
                  <c:v>10.80814904146266</c:v>
                </c:pt>
                <c:pt idx="1258">
                  <c:v>10.80814904146266</c:v>
                </c:pt>
                <c:pt idx="1259">
                  <c:v>10.80814904146266</c:v>
                </c:pt>
                <c:pt idx="1260">
                  <c:v>10.80814904146266</c:v>
                </c:pt>
                <c:pt idx="1261">
                  <c:v>10.80814904146266</c:v>
                </c:pt>
                <c:pt idx="1262">
                  <c:v>10.80814904146266</c:v>
                </c:pt>
                <c:pt idx="1263">
                  <c:v>10.80814904146266</c:v>
                </c:pt>
                <c:pt idx="1264">
                  <c:v>10.80814904146266</c:v>
                </c:pt>
                <c:pt idx="1265">
                  <c:v>10.80814904146266</c:v>
                </c:pt>
                <c:pt idx="1266">
                  <c:v>10.80814904146266</c:v>
                </c:pt>
                <c:pt idx="1267">
                  <c:v>10.80814904146266</c:v>
                </c:pt>
                <c:pt idx="1268">
                  <c:v>10.80814904146266</c:v>
                </c:pt>
                <c:pt idx="1269">
                  <c:v>10.80814904146266</c:v>
                </c:pt>
                <c:pt idx="1270">
                  <c:v>10.80814904146266</c:v>
                </c:pt>
                <c:pt idx="1271">
                  <c:v>10.80814904146266</c:v>
                </c:pt>
                <c:pt idx="1272">
                  <c:v>10.80814904146266</c:v>
                </c:pt>
                <c:pt idx="1273">
                  <c:v>10.80814904146266</c:v>
                </c:pt>
                <c:pt idx="1274">
                  <c:v>10.80814904146266</c:v>
                </c:pt>
                <c:pt idx="1275">
                  <c:v>10.80814904146266</c:v>
                </c:pt>
                <c:pt idx="1276">
                  <c:v>10.80814904146266</c:v>
                </c:pt>
                <c:pt idx="1277">
                  <c:v>10.80814904146266</c:v>
                </c:pt>
                <c:pt idx="1278">
                  <c:v>10.80814904146266</c:v>
                </c:pt>
                <c:pt idx="1279">
                  <c:v>10.80814904146266</c:v>
                </c:pt>
                <c:pt idx="1280">
                  <c:v>10.80814904146266</c:v>
                </c:pt>
                <c:pt idx="1281">
                  <c:v>10.80814904146266</c:v>
                </c:pt>
                <c:pt idx="1282">
                  <c:v>10.80814904146266</c:v>
                </c:pt>
                <c:pt idx="1283">
                  <c:v>10.80814904146266</c:v>
                </c:pt>
                <c:pt idx="1284">
                  <c:v>10.80814904146266</c:v>
                </c:pt>
                <c:pt idx="1285">
                  <c:v>10.80814904146266</c:v>
                </c:pt>
                <c:pt idx="1286">
                  <c:v>10.80814904146266</c:v>
                </c:pt>
                <c:pt idx="1287">
                  <c:v>10.80814904146266</c:v>
                </c:pt>
                <c:pt idx="1288">
                  <c:v>10.80814904146266</c:v>
                </c:pt>
                <c:pt idx="1289">
                  <c:v>10.80814904146266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FD24-41A0-BD0C-18D306457E2C}"/>
            </c:ext>
          </c:extLst>
        </c:ser>
        <c:ser>
          <c:idx val="1"/>
          <c:order val="1"/>
          <c:tx>
            <c:strRef>
              <c:f>'Scatter chart - by week'!$B$1</c:f>
              <c:strCache>
                <c:ptCount val="1"/>
                <c:pt idx="0">
                  <c:v>Ideg</c:v>
                </c:pt>
              </c:strCache>
            </c:strRef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Pt>
            <c:idx val="18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BD00-4D2E-9A19-5A3CE4AFE316}"/>
              </c:ext>
            </c:extLst>
          </c:dPt>
          <c:xVal>
            <c:numRef>
              <c:f>'Scatter chart - by week'!$A$2:$A$1292</c:f>
              <c:numCache>
                <c:formatCode>General</c:formatCode>
                <c:ptCount val="1291"/>
                <c:pt idx="0">
                  <c:v>0.0</c:v>
                </c:pt>
                <c:pt idx="1">
                  <c:v>0.0327868852459016</c:v>
                </c:pt>
                <c:pt idx="2">
                  <c:v>0.0655737704918033</c:v>
                </c:pt>
                <c:pt idx="3">
                  <c:v>0.0655737704918033</c:v>
                </c:pt>
                <c:pt idx="4">
                  <c:v>0.0983606557377049</c:v>
                </c:pt>
                <c:pt idx="5">
                  <c:v>0.0983606557377049</c:v>
                </c:pt>
                <c:pt idx="6">
                  <c:v>0.19672131147541</c:v>
                </c:pt>
                <c:pt idx="7">
                  <c:v>0.19672131147541</c:v>
                </c:pt>
                <c:pt idx="8">
                  <c:v>0.262295081967213</c:v>
                </c:pt>
                <c:pt idx="9">
                  <c:v>0.262295081967213</c:v>
                </c:pt>
                <c:pt idx="10">
                  <c:v>0.295081967213115</c:v>
                </c:pt>
                <c:pt idx="11">
                  <c:v>0.327868852459016</c:v>
                </c:pt>
                <c:pt idx="12">
                  <c:v>0.327868852459016</c:v>
                </c:pt>
                <c:pt idx="13">
                  <c:v>0.360655737704918</c:v>
                </c:pt>
                <c:pt idx="14">
                  <c:v>0.360655737704918</c:v>
                </c:pt>
                <c:pt idx="15">
                  <c:v>0.39344262295082</c:v>
                </c:pt>
                <c:pt idx="16">
                  <c:v>0.39344262295082</c:v>
                </c:pt>
                <c:pt idx="17">
                  <c:v>0.426229508196721</c:v>
                </c:pt>
                <c:pt idx="18">
                  <c:v>0.426229508196721</c:v>
                </c:pt>
                <c:pt idx="19">
                  <c:v>0.459016393442623</c:v>
                </c:pt>
                <c:pt idx="20">
                  <c:v>0.491803278688525</c:v>
                </c:pt>
                <c:pt idx="21">
                  <c:v>0.491803278688525</c:v>
                </c:pt>
                <c:pt idx="22">
                  <c:v>0.557377049180328</c:v>
                </c:pt>
                <c:pt idx="23">
                  <c:v>0.557377049180328</c:v>
                </c:pt>
                <c:pt idx="24">
                  <c:v>0.655737704918033</c:v>
                </c:pt>
                <c:pt idx="25">
                  <c:v>0.655737704918033</c:v>
                </c:pt>
                <c:pt idx="26">
                  <c:v>0.688524590163934</c:v>
                </c:pt>
                <c:pt idx="27">
                  <c:v>0.688524590163934</c:v>
                </c:pt>
                <c:pt idx="28">
                  <c:v>0.721311475409836</c:v>
                </c:pt>
                <c:pt idx="29">
                  <c:v>0.721311475409836</c:v>
                </c:pt>
                <c:pt idx="30">
                  <c:v>0.754098360655737</c:v>
                </c:pt>
                <c:pt idx="31">
                  <c:v>0.754098360655737</c:v>
                </c:pt>
                <c:pt idx="32">
                  <c:v>0.852459016393443</c:v>
                </c:pt>
                <c:pt idx="33">
                  <c:v>0.852459016393443</c:v>
                </c:pt>
                <c:pt idx="34">
                  <c:v>0.885245901639344</c:v>
                </c:pt>
                <c:pt idx="35">
                  <c:v>0.885245901639344</c:v>
                </c:pt>
                <c:pt idx="36">
                  <c:v>0.918032786885246</c:v>
                </c:pt>
                <c:pt idx="37">
                  <c:v>0.918032786885246</c:v>
                </c:pt>
                <c:pt idx="38">
                  <c:v>0.950819672131148</c:v>
                </c:pt>
                <c:pt idx="39">
                  <c:v>0.983606557377049</c:v>
                </c:pt>
                <c:pt idx="40">
                  <c:v>0.983606557377049</c:v>
                </c:pt>
                <c:pt idx="41">
                  <c:v>1.0</c:v>
                </c:pt>
                <c:pt idx="42">
                  <c:v>1.016393442622951</c:v>
                </c:pt>
                <c:pt idx="43">
                  <c:v>1.016393442622951</c:v>
                </c:pt>
                <c:pt idx="44">
                  <c:v>1.049180327868853</c:v>
                </c:pt>
                <c:pt idx="45">
                  <c:v>1.049180327868853</c:v>
                </c:pt>
                <c:pt idx="46">
                  <c:v>1.147540983606558</c:v>
                </c:pt>
                <c:pt idx="47">
                  <c:v>1.147540983606558</c:v>
                </c:pt>
                <c:pt idx="48">
                  <c:v>1.18032786885246</c:v>
                </c:pt>
                <c:pt idx="49">
                  <c:v>1.18032786885246</c:v>
                </c:pt>
                <c:pt idx="50">
                  <c:v>1.21311475409836</c:v>
                </c:pt>
                <c:pt idx="51">
                  <c:v>1.21311475409836</c:v>
                </c:pt>
                <c:pt idx="52">
                  <c:v>1.245901639344262</c:v>
                </c:pt>
                <c:pt idx="53">
                  <c:v>1.245901639344262</c:v>
                </c:pt>
                <c:pt idx="54">
                  <c:v>1.278688524590164</c:v>
                </c:pt>
                <c:pt idx="55">
                  <c:v>1.278688524590164</c:v>
                </c:pt>
                <c:pt idx="56">
                  <c:v>1.311475409836066</c:v>
                </c:pt>
                <c:pt idx="57">
                  <c:v>1.311475409836066</c:v>
                </c:pt>
                <c:pt idx="58">
                  <c:v>1.377049180327868</c:v>
                </c:pt>
                <c:pt idx="59">
                  <c:v>1.377049180327868</c:v>
                </c:pt>
                <c:pt idx="60">
                  <c:v>1.475409836065574</c:v>
                </c:pt>
                <c:pt idx="61">
                  <c:v>1.475409836065574</c:v>
                </c:pt>
                <c:pt idx="62">
                  <c:v>1.508196721311475</c:v>
                </c:pt>
                <c:pt idx="63">
                  <c:v>1.508196721311475</c:v>
                </c:pt>
                <c:pt idx="64">
                  <c:v>1.540983606557377</c:v>
                </c:pt>
                <c:pt idx="65">
                  <c:v>1.540983606557377</c:v>
                </c:pt>
                <c:pt idx="66">
                  <c:v>1.57377049180328</c:v>
                </c:pt>
                <c:pt idx="67">
                  <c:v>1.57377049180328</c:v>
                </c:pt>
                <c:pt idx="68">
                  <c:v>1.60655737704918</c:v>
                </c:pt>
                <c:pt idx="69">
                  <c:v>1.60655737704918</c:v>
                </c:pt>
                <c:pt idx="70">
                  <c:v>1.639344262295082</c:v>
                </c:pt>
                <c:pt idx="71">
                  <c:v>1.639344262295082</c:v>
                </c:pt>
                <c:pt idx="72">
                  <c:v>1.704918032786885</c:v>
                </c:pt>
                <c:pt idx="73">
                  <c:v>1.704918032786885</c:v>
                </c:pt>
                <c:pt idx="74">
                  <c:v>1.737704918032787</c:v>
                </c:pt>
                <c:pt idx="75">
                  <c:v>1.737704918032787</c:v>
                </c:pt>
                <c:pt idx="76">
                  <c:v>1.80327868852459</c:v>
                </c:pt>
                <c:pt idx="77">
                  <c:v>1.80327868852459</c:v>
                </c:pt>
                <c:pt idx="78">
                  <c:v>1.836065573770492</c:v>
                </c:pt>
                <c:pt idx="79">
                  <c:v>1.836065573770492</c:v>
                </c:pt>
                <c:pt idx="80">
                  <c:v>1.868852459016394</c:v>
                </c:pt>
                <c:pt idx="81">
                  <c:v>1.868852459016394</c:v>
                </c:pt>
                <c:pt idx="82">
                  <c:v>1.967213114754098</c:v>
                </c:pt>
                <c:pt idx="83">
                  <c:v>1.967213114754098</c:v>
                </c:pt>
                <c:pt idx="84">
                  <c:v>2.0</c:v>
                </c:pt>
                <c:pt idx="85">
                  <c:v>2.0</c:v>
                </c:pt>
                <c:pt idx="86">
                  <c:v>2.065573770491804</c:v>
                </c:pt>
                <c:pt idx="87">
                  <c:v>2.065573770491804</c:v>
                </c:pt>
                <c:pt idx="88">
                  <c:v>2.163934426229508</c:v>
                </c:pt>
                <c:pt idx="89">
                  <c:v>2.163934426229508</c:v>
                </c:pt>
                <c:pt idx="90">
                  <c:v>2.196721311475411</c:v>
                </c:pt>
                <c:pt idx="91">
                  <c:v>2.196721311475411</c:v>
                </c:pt>
                <c:pt idx="92">
                  <c:v>2.229508196721312</c:v>
                </c:pt>
                <c:pt idx="93">
                  <c:v>2.229508196721312</c:v>
                </c:pt>
                <c:pt idx="94">
                  <c:v>2.327868852459016</c:v>
                </c:pt>
                <c:pt idx="95">
                  <c:v>2.327868852459016</c:v>
                </c:pt>
                <c:pt idx="96">
                  <c:v>2.393442622950816</c:v>
                </c:pt>
                <c:pt idx="97">
                  <c:v>2.393442622950816</c:v>
                </c:pt>
                <c:pt idx="98">
                  <c:v>2.42622950819672</c:v>
                </c:pt>
                <c:pt idx="99">
                  <c:v>2.42622950819672</c:v>
                </c:pt>
                <c:pt idx="100">
                  <c:v>2.491803278688525</c:v>
                </c:pt>
                <c:pt idx="101">
                  <c:v>2.491803278688525</c:v>
                </c:pt>
                <c:pt idx="102">
                  <c:v>2.524590163934426</c:v>
                </c:pt>
                <c:pt idx="103">
                  <c:v>2.524590163934426</c:v>
                </c:pt>
                <c:pt idx="104">
                  <c:v>2.557377049180328</c:v>
                </c:pt>
                <c:pt idx="105">
                  <c:v>2.557377049180328</c:v>
                </c:pt>
                <c:pt idx="106">
                  <c:v>2.590163934426227</c:v>
                </c:pt>
                <c:pt idx="107">
                  <c:v>2.590163934426227</c:v>
                </c:pt>
                <c:pt idx="108">
                  <c:v>2.622950819672131</c:v>
                </c:pt>
                <c:pt idx="109">
                  <c:v>2.622950819672131</c:v>
                </c:pt>
                <c:pt idx="110">
                  <c:v>2.655737704918033</c:v>
                </c:pt>
                <c:pt idx="111">
                  <c:v>2.655737704918033</c:v>
                </c:pt>
                <c:pt idx="112">
                  <c:v>2.688524590163935</c:v>
                </c:pt>
                <c:pt idx="113">
                  <c:v>2.754098360655737</c:v>
                </c:pt>
                <c:pt idx="114">
                  <c:v>2.754098360655737</c:v>
                </c:pt>
                <c:pt idx="115">
                  <c:v>2.78688524590164</c:v>
                </c:pt>
                <c:pt idx="116">
                  <c:v>2.78688524590164</c:v>
                </c:pt>
                <c:pt idx="117">
                  <c:v>2.819672131147537</c:v>
                </c:pt>
                <c:pt idx="118">
                  <c:v>2.819672131147537</c:v>
                </c:pt>
                <c:pt idx="119">
                  <c:v>2.885245901639343</c:v>
                </c:pt>
                <c:pt idx="120">
                  <c:v>2.885245901639343</c:v>
                </c:pt>
                <c:pt idx="121">
                  <c:v>2.983606557377051</c:v>
                </c:pt>
                <c:pt idx="122">
                  <c:v>3.0</c:v>
                </c:pt>
                <c:pt idx="123">
                  <c:v>3.01639344262295</c:v>
                </c:pt>
                <c:pt idx="124">
                  <c:v>3.01639344262295</c:v>
                </c:pt>
                <c:pt idx="125">
                  <c:v>3.049180327868853</c:v>
                </c:pt>
                <c:pt idx="126">
                  <c:v>3.049180327868853</c:v>
                </c:pt>
                <c:pt idx="127">
                  <c:v>3.081967213114754</c:v>
                </c:pt>
                <c:pt idx="128">
                  <c:v>3.081967213114754</c:v>
                </c:pt>
                <c:pt idx="129">
                  <c:v>3.114754098360656</c:v>
                </c:pt>
                <c:pt idx="130">
                  <c:v>3.114754098360656</c:v>
                </c:pt>
                <c:pt idx="131">
                  <c:v>3.147540983606558</c:v>
                </c:pt>
                <c:pt idx="132">
                  <c:v>3.147540983606558</c:v>
                </c:pt>
                <c:pt idx="133">
                  <c:v>3.18032786885246</c:v>
                </c:pt>
                <c:pt idx="134">
                  <c:v>3.18032786885246</c:v>
                </c:pt>
                <c:pt idx="135">
                  <c:v>3.245901639344263</c:v>
                </c:pt>
                <c:pt idx="136">
                  <c:v>3.245901639344263</c:v>
                </c:pt>
                <c:pt idx="137">
                  <c:v>3.278688524590164</c:v>
                </c:pt>
                <c:pt idx="138">
                  <c:v>3.278688524590164</c:v>
                </c:pt>
                <c:pt idx="139">
                  <c:v>3.311475409836035</c:v>
                </c:pt>
                <c:pt idx="140">
                  <c:v>3.311475409836035</c:v>
                </c:pt>
                <c:pt idx="141">
                  <c:v>3.344262295081967</c:v>
                </c:pt>
                <c:pt idx="142">
                  <c:v>3.344262295081967</c:v>
                </c:pt>
                <c:pt idx="143">
                  <c:v>3.409836065573768</c:v>
                </c:pt>
                <c:pt idx="144">
                  <c:v>3.409836065573768</c:v>
                </c:pt>
                <c:pt idx="145">
                  <c:v>3.442622950819671</c:v>
                </c:pt>
                <c:pt idx="146">
                  <c:v>3.442622950819671</c:v>
                </c:pt>
                <c:pt idx="147">
                  <c:v>3.508196721311475</c:v>
                </c:pt>
                <c:pt idx="148">
                  <c:v>3.540983606557375</c:v>
                </c:pt>
                <c:pt idx="149">
                  <c:v>3.540983606557375</c:v>
                </c:pt>
                <c:pt idx="150">
                  <c:v>3.639344262295081</c:v>
                </c:pt>
                <c:pt idx="151">
                  <c:v>3.639344262295081</c:v>
                </c:pt>
                <c:pt idx="152">
                  <c:v>3.770491803278687</c:v>
                </c:pt>
                <c:pt idx="153">
                  <c:v>3.770491803278687</c:v>
                </c:pt>
                <c:pt idx="154">
                  <c:v>3.803278688524589</c:v>
                </c:pt>
                <c:pt idx="155">
                  <c:v>3.803278688524589</c:v>
                </c:pt>
                <c:pt idx="156">
                  <c:v>3.836065573770492</c:v>
                </c:pt>
                <c:pt idx="157">
                  <c:v>3.836065573770492</c:v>
                </c:pt>
                <c:pt idx="158">
                  <c:v>3.901639344262295</c:v>
                </c:pt>
                <c:pt idx="159">
                  <c:v>3.901639344262295</c:v>
                </c:pt>
                <c:pt idx="160">
                  <c:v>3.934426229508196</c:v>
                </c:pt>
                <c:pt idx="161">
                  <c:v>3.934426229508196</c:v>
                </c:pt>
                <c:pt idx="162">
                  <c:v>3.967213114754099</c:v>
                </c:pt>
                <c:pt idx="163">
                  <c:v>3.967213114754099</c:v>
                </c:pt>
                <c:pt idx="164">
                  <c:v>4.0</c:v>
                </c:pt>
                <c:pt idx="165">
                  <c:v>4.032786885245899</c:v>
                </c:pt>
                <c:pt idx="166">
                  <c:v>4.032786885245899</c:v>
                </c:pt>
                <c:pt idx="167">
                  <c:v>4.098360655737705</c:v>
                </c:pt>
                <c:pt idx="168">
                  <c:v>4.098360655737705</c:v>
                </c:pt>
                <c:pt idx="169">
                  <c:v>4.131147540983607</c:v>
                </c:pt>
                <c:pt idx="170">
                  <c:v>4.163934426229443</c:v>
                </c:pt>
                <c:pt idx="171">
                  <c:v>4.163934426229443</c:v>
                </c:pt>
                <c:pt idx="172">
                  <c:v>4.229508196721313</c:v>
                </c:pt>
                <c:pt idx="173">
                  <c:v>4.229508196721313</c:v>
                </c:pt>
                <c:pt idx="174">
                  <c:v>4.262295081967212</c:v>
                </c:pt>
                <c:pt idx="175">
                  <c:v>4.262295081967212</c:v>
                </c:pt>
                <c:pt idx="176">
                  <c:v>4.295081967213115</c:v>
                </c:pt>
                <c:pt idx="177">
                  <c:v>4.295081967213115</c:v>
                </c:pt>
                <c:pt idx="178">
                  <c:v>4.327868852458978</c:v>
                </c:pt>
                <c:pt idx="179">
                  <c:v>4.327868852458978</c:v>
                </c:pt>
                <c:pt idx="180">
                  <c:v>4.360655737704905</c:v>
                </c:pt>
                <c:pt idx="181">
                  <c:v>4.360655737704905</c:v>
                </c:pt>
                <c:pt idx="182">
                  <c:v>4.393442622950821</c:v>
                </c:pt>
                <c:pt idx="183">
                  <c:v>4.393442622950821</c:v>
                </c:pt>
                <c:pt idx="184">
                  <c:v>4.491803278688525</c:v>
                </c:pt>
                <c:pt idx="185">
                  <c:v>4.491803278688525</c:v>
                </c:pt>
                <c:pt idx="186">
                  <c:v>4.557377049180328</c:v>
                </c:pt>
                <c:pt idx="187">
                  <c:v>4.557377049180328</c:v>
                </c:pt>
                <c:pt idx="188">
                  <c:v>4.622950819672088</c:v>
                </c:pt>
                <c:pt idx="189">
                  <c:v>4.655737704918032</c:v>
                </c:pt>
                <c:pt idx="190">
                  <c:v>4.655737704918032</c:v>
                </c:pt>
                <c:pt idx="191">
                  <c:v>4.688524590163935</c:v>
                </c:pt>
                <c:pt idx="192">
                  <c:v>4.688524590163935</c:v>
                </c:pt>
                <c:pt idx="193">
                  <c:v>4.754098360655726</c:v>
                </c:pt>
                <c:pt idx="194">
                  <c:v>4.754098360655726</c:v>
                </c:pt>
                <c:pt idx="195">
                  <c:v>4.819672131147541</c:v>
                </c:pt>
                <c:pt idx="196">
                  <c:v>4.819672131147541</c:v>
                </c:pt>
                <c:pt idx="197">
                  <c:v>4.852459016393436</c:v>
                </c:pt>
                <c:pt idx="198">
                  <c:v>4.852459016393436</c:v>
                </c:pt>
                <c:pt idx="199">
                  <c:v>4.885245901639344</c:v>
                </c:pt>
                <c:pt idx="200">
                  <c:v>4.885245901639344</c:v>
                </c:pt>
                <c:pt idx="201">
                  <c:v>4.918032786885246</c:v>
                </c:pt>
                <c:pt idx="202">
                  <c:v>4.918032786885246</c:v>
                </c:pt>
                <c:pt idx="203">
                  <c:v>4.983606557377048</c:v>
                </c:pt>
                <c:pt idx="204">
                  <c:v>4.983606557377048</c:v>
                </c:pt>
                <c:pt idx="205">
                  <c:v>5.0</c:v>
                </c:pt>
                <c:pt idx="206">
                  <c:v>5.016393442622951</c:v>
                </c:pt>
                <c:pt idx="207">
                  <c:v>5.049180327868847</c:v>
                </c:pt>
                <c:pt idx="208">
                  <c:v>5.049180327868847</c:v>
                </c:pt>
                <c:pt idx="209">
                  <c:v>5.114754098360645</c:v>
                </c:pt>
                <c:pt idx="210">
                  <c:v>5.114754098360645</c:v>
                </c:pt>
                <c:pt idx="211">
                  <c:v>5.147540983606556</c:v>
                </c:pt>
                <c:pt idx="212">
                  <c:v>5.147540983606556</c:v>
                </c:pt>
                <c:pt idx="213">
                  <c:v>5.180327868852435</c:v>
                </c:pt>
                <c:pt idx="214">
                  <c:v>5.245901639344263</c:v>
                </c:pt>
                <c:pt idx="215">
                  <c:v>5.245901639344263</c:v>
                </c:pt>
                <c:pt idx="216">
                  <c:v>5.27868852459017</c:v>
                </c:pt>
                <c:pt idx="217">
                  <c:v>5.27868852459017</c:v>
                </c:pt>
                <c:pt idx="218">
                  <c:v>5.311475409836065</c:v>
                </c:pt>
                <c:pt idx="219">
                  <c:v>5.37704918032787</c:v>
                </c:pt>
                <c:pt idx="220">
                  <c:v>5.37704918032787</c:v>
                </c:pt>
                <c:pt idx="221">
                  <c:v>5.40983606557377</c:v>
                </c:pt>
                <c:pt idx="222">
                  <c:v>5.40983606557377</c:v>
                </c:pt>
                <c:pt idx="223">
                  <c:v>5.475409836065574</c:v>
                </c:pt>
                <c:pt idx="224">
                  <c:v>5.475409836065574</c:v>
                </c:pt>
                <c:pt idx="225">
                  <c:v>5.508196721311474</c:v>
                </c:pt>
                <c:pt idx="226">
                  <c:v>5.508196721311474</c:v>
                </c:pt>
                <c:pt idx="227">
                  <c:v>5.540983606557376</c:v>
                </c:pt>
                <c:pt idx="228">
                  <c:v>5.540983606557376</c:v>
                </c:pt>
                <c:pt idx="229">
                  <c:v>5.57377049180328</c:v>
                </c:pt>
                <c:pt idx="230">
                  <c:v>5.57377049180328</c:v>
                </c:pt>
                <c:pt idx="231">
                  <c:v>5.639344262295077</c:v>
                </c:pt>
                <c:pt idx="232">
                  <c:v>5.639344262295077</c:v>
                </c:pt>
                <c:pt idx="233">
                  <c:v>5.704918032786876</c:v>
                </c:pt>
                <c:pt idx="234">
                  <c:v>5.704918032786876</c:v>
                </c:pt>
                <c:pt idx="235">
                  <c:v>5.737704918032787</c:v>
                </c:pt>
                <c:pt idx="236">
                  <c:v>5.737704918032787</c:v>
                </c:pt>
                <c:pt idx="237">
                  <c:v>5.836065573770488</c:v>
                </c:pt>
                <c:pt idx="238">
                  <c:v>5.836065573770488</c:v>
                </c:pt>
                <c:pt idx="239">
                  <c:v>5.868852459016375</c:v>
                </c:pt>
                <c:pt idx="240">
                  <c:v>5.868852459016375</c:v>
                </c:pt>
                <c:pt idx="241">
                  <c:v>5.934426229508198</c:v>
                </c:pt>
                <c:pt idx="242">
                  <c:v>5.934426229508198</c:v>
                </c:pt>
                <c:pt idx="243">
                  <c:v>6.0</c:v>
                </c:pt>
                <c:pt idx="244">
                  <c:v>6.0</c:v>
                </c:pt>
                <c:pt idx="245">
                  <c:v>6.032786885245899</c:v>
                </c:pt>
                <c:pt idx="246">
                  <c:v>6.032786885245899</c:v>
                </c:pt>
                <c:pt idx="247">
                  <c:v>6.098360655737705</c:v>
                </c:pt>
                <c:pt idx="248">
                  <c:v>6.098360655737705</c:v>
                </c:pt>
                <c:pt idx="249">
                  <c:v>6.131147540983605</c:v>
                </c:pt>
                <c:pt idx="250">
                  <c:v>6.131147540983605</c:v>
                </c:pt>
                <c:pt idx="251">
                  <c:v>6.163934426229445</c:v>
                </c:pt>
                <c:pt idx="252">
                  <c:v>6.163934426229445</c:v>
                </c:pt>
                <c:pt idx="253">
                  <c:v>6.196721311475406</c:v>
                </c:pt>
                <c:pt idx="254">
                  <c:v>6.196721311475406</c:v>
                </c:pt>
                <c:pt idx="255">
                  <c:v>6.229508196721312</c:v>
                </c:pt>
                <c:pt idx="256">
                  <c:v>6.229508196721312</c:v>
                </c:pt>
                <c:pt idx="257">
                  <c:v>6.262295081967212</c:v>
                </c:pt>
                <c:pt idx="258">
                  <c:v>6.262295081967212</c:v>
                </c:pt>
                <c:pt idx="259">
                  <c:v>6.426229508196721</c:v>
                </c:pt>
                <c:pt idx="260">
                  <c:v>6.426229508196721</c:v>
                </c:pt>
                <c:pt idx="261">
                  <c:v>6.491803278688527</c:v>
                </c:pt>
                <c:pt idx="262">
                  <c:v>6.491803278688527</c:v>
                </c:pt>
                <c:pt idx="263">
                  <c:v>6.524590163934426</c:v>
                </c:pt>
                <c:pt idx="264">
                  <c:v>6.524590163934426</c:v>
                </c:pt>
                <c:pt idx="265">
                  <c:v>6.557377049180329</c:v>
                </c:pt>
                <c:pt idx="266">
                  <c:v>6.557377049180329</c:v>
                </c:pt>
                <c:pt idx="267">
                  <c:v>6.622950819672088</c:v>
                </c:pt>
                <c:pt idx="268">
                  <c:v>6.622950819672088</c:v>
                </c:pt>
                <c:pt idx="269">
                  <c:v>6.655737704918031</c:v>
                </c:pt>
                <c:pt idx="270">
                  <c:v>6.655737704918031</c:v>
                </c:pt>
                <c:pt idx="271">
                  <c:v>6.721311475409835</c:v>
                </c:pt>
                <c:pt idx="272">
                  <c:v>6.721311475409835</c:v>
                </c:pt>
                <c:pt idx="273">
                  <c:v>6.852459016393436</c:v>
                </c:pt>
                <c:pt idx="274">
                  <c:v>6.885245901639342</c:v>
                </c:pt>
                <c:pt idx="275">
                  <c:v>6.885245901639342</c:v>
                </c:pt>
                <c:pt idx="276">
                  <c:v>6.91803278688525</c:v>
                </c:pt>
                <c:pt idx="277">
                  <c:v>6.91803278688525</c:v>
                </c:pt>
                <c:pt idx="278">
                  <c:v>6.950819672131147</c:v>
                </c:pt>
                <c:pt idx="279">
                  <c:v>6.950819672131147</c:v>
                </c:pt>
                <c:pt idx="280">
                  <c:v>6.983606557377048</c:v>
                </c:pt>
                <c:pt idx="281">
                  <c:v>6.983606557377048</c:v>
                </c:pt>
                <c:pt idx="282">
                  <c:v>7.0</c:v>
                </c:pt>
                <c:pt idx="283">
                  <c:v>7.049180327868847</c:v>
                </c:pt>
                <c:pt idx="284">
                  <c:v>7.049180327868847</c:v>
                </c:pt>
                <c:pt idx="285">
                  <c:v>7.08196721311475</c:v>
                </c:pt>
                <c:pt idx="286">
                  <c:v>7.08196721311475</c:v>
                </c:pt>
                <c:pt idx="287">
                  <c:v>7.147540983606556</c:v>
                </c:pt>
                <c:pt idx="288">
                  <c:v>7.147540983606556</c:v>
                </c:pt>
                <c:pt idx="289">
                  <c:v>7.180327868852435</c:v>
                </c:pt>
                <c:pt idx="290">
                  <c:v>7.180327868852435</c:v>
                </c:pt>
                <c:pt idx="291">
                  <c:v>7.213114754098346</c:v>
                </c:pt>
                <c:pt idx="292">
                  <c:v>7.213114754098346</c:v>
                </c:pt>
                <c:pt idx="293">
                  <c:v>7.27868852459017</c:v>
                </c:pt>
                <c:pt idx="294">
                  <c:v>7.40983606557377</c:v>
                </c:pt>
                <c:pt idx="295">
                  <c:v>7.40983606557377</c:v>
                </c:pt>
                <c:pt idx="296">
                  <c:v>7.475409836065574</c:v>
                </c:pt>
                <c:pt idx="297">
                  <c:v>7.475409836065574</c:v>
                </c:pt>
                <c:pt idx="298">
                  <c:v>7.540983606557375</c:v>
                </c:pt>
                <c:pt idx="299">
                  <c:v>7.540983606557375</c:v>
                </c:pt>
                <c:pt idx="300">
                  <c:v>7.57377049180328</c:v>
                </c:pt>
                <c:pt idx="301">
                  <c:v>7.57377049180328</c:v>
                </c:pt>
                <c:pt idx="302">
                  <c:v>7.606557377049166</c:v>
                </c:pt>
                <c:pt idx="303">
                  <c:v>7.672131147540964</c:v>
                </c:pt>
                <c:pt idx="304">
                  <c:v>7.672131147540964</c:v>
                </c:pt>
                <c:pt idx="305">
                  <c:v>7.704918032786876</c:v>
                </c:pt>
                <c:pt idx="306">
                  <c:v>7.704918032786876</c:v>
                </c:pt>
                <c:pt idx="307">
                  <c:v>7.803278688524591</c:v>
                </c:pt>
                <c:pt idx="308">
                  <c:v>7.803278688524591</c:v>
                </c:pt>
                <c:pt idx="309">
                  <c:v>7.836065573770495</c:v>
                </c:pt>
                <c:pt idx="310">
                  <c:v>7.868852459016375</c:v>
                </c:pt>
                <c:pt idx="311">
                  <c:v>7.868852459016375</c:v>
                </c:pt>
                <c:pt idx="312">
                  <c:v>7.901639344262298</c:v>
                </c:pt>
                <c:pt idx="313">
                  <c:v>7.901639344262298</c:v>
                </c:pt>
                <c:pt idx="314">
                  <c:v>7.934426229508198</c:v>
                </c:pt>
                <c:pt idx="315">
                  <c:v>7.934426229508198</c:v>
                </c:pt>
                <c:pt idx="316">
                  <c:v>8.0</c:v>
                </c:pt>
                <c:pt idx="317">
                  <c:v>8.0</c:v>
                </c:pt>
                <c:pt idx="318">
                  <c:v>8.03278688524591</c:v>
                </c:pt>
                <c:pt idx="319">
                  <c:v>8.03278688524591</c:v>
                </c:pt>
                <c:pt idx="320">
                  <c:v>8.065573770491798</c:v>
                </c:pt>
                <c:pt idx="321">
                  <c:v>8.098360655737698</c:v>
                </c:pt>
                <c:pt idx="322">
                  <c:v>8.098360655737698</c:v>
                </c:pt>
                <c:pt idx="323">
                  <c:v>8.131147540983605</c:v>
                </c:pt>
                <c:pt idx="324">
                  <c:v>8.131147540983605</c:v>
                </c:pt>
                <c:pt idx="325">
                  <c:v>8.163934426229506</c:v>
                </c:pt>
                <c:pt idx="326">
                  <c:v>8.163934426229506</c:v>
                </c:pt>
                <c:pt idx="327">
                  <c:v>8.196721311475398</c:v>
                </c:pt>
                <c:pt idx="328">
                  <c:v>8.196721311475398</c:v>
                </c:pt>
                <c:pt idx="329">
                  <c:v>8.229508196721312</c:v>
                </c:pt>
                <c:pt idx="330">
                  <c:v>8.229508196721312</c:v>
                </c:pt>
                <c:pt idx="331">
                  <c:v>8.262295081967216</c:v>
                </c:pt>
                <c:pt idx="332">
                  <c:v>8.36065573770493</c:v>
                </c:pt>
                <c:pt idx="333">
                  <c:v>8.36065573770493</c:v>
                </c:pt>
                <c:pt idx="334">
                  <c:v>8.426229508196717</c:v>
                </c:pt>
                <c:pt idx="335">
                  <c:v>8.426229508196717</c:v>
                </c:pt>
                <c:pt idx="336">
                  <c:v>8.45901639344263</c:v>
                </c:pt>
                <c:pt idx="337">
                  <c:v>8.45901639344263</c:v>
                </c:pt>
                <c:pt idx="338">
                  <c:v>8.524590163934418</c:v>
                </c:pt>
                <c:pt idx="339">
                  <c:v>8.524590163934418</c:v>
                </c:pt>
                <c:pt idx="340">
                  <c:v>8.557377049180328</c:v>
                </c:pt>
                <c:pt idx="341">
                  <c:v>8.590163934426232</c:v>
                </c:pt>
                <c:pt idx="342">
                  <c:v>8.590163934426232</c:v>
                </c:pt>
                <c:pt idx="343">
                  <c:v>8.655737704918036</c:v>
                </c:pt>
                <c:pt idx="344">
                  <c:v>8.655737704918036</c:v>
                </c:pt>
                <c:pt idx="345">
                  <c:v>8.754098360655698</c:v>
                </c:pt>
                <c:pt idx="346">
                  <c:v>8.786885245901652</c:v>
                </c:pt>
                <c:pt idx="347">
                  <c:v>8.786885245901652</c:v>
                </c:pt>
                <c:pt idx="348">
                  <c:v>8.88524590163935</c:v>
                </c:pt>
                <c:pt idx="349">
                  <c:v>8.88524590163935</c:v>
                </c:pt>
                <c:pt idx="350">
                  <c:v>8.950819672131151</c:v>
                </c:pt>
                <c:pt idx="351">
                  <c:v>8.950819672131151</c:v>
                </c:pt>
                <c:pt idx="352">
                  <c:v>8.98360655737705</c:v>
                </c:pt>
                <c:pt idx="353">
                  <c:v>8.98360655737705</c:v>
                </c:pt>
                <c:pt idx="354">
                  <c:v>9.0</c:v>
                </c:pt>
                <c:pt idx="355">
                  <c:v>9.016393442622948</c:v>
                </c:pt>
                <c:pt idx="356">
                  <c:v>9.081967213114751</c:v>
                </c:pt>
                <c:pt idx="357">
                  <c:v>9.081967213114751</c:v>
                </c:pt>
                <c:pt idx="358">
                  <c:v>9.213114754098358</c:v>
                </c:pt>
                <c:pt idx="359">
                  <c:v>9.213114754098358</c:v>
                </c:pt>
                <c:pt idx="360">
                  <c:v>9.245901639344262</c:v>
                </c:pt>
                <c:pt idx="361">
                  <c:v>9.245901639344262</c:v>
                </c:pt>
                <c:pt idx="362">
                  <c:v>9.311475409836063</c:v>
                </c:pt>
                <c:pt idx="363">
                  <c:v>9.34426229508197</c:v>
                </c:pt>
                <c:pt idx="364">
                  <c:v>9.34426229508197</c:v>
                </c:pt>
                <c:pt idx="365">
                  <c:v>9.37704918032787</c:v>
                </c:pt>
                <c:pt idx="366">
                  <c:v>9.37704918032787</c:v>
                </c:pt>
                <c:pt idx="367">
                  <c:v>9.508196721311441</c:v>
                </c:pt>
                <c:pt idx="368">
                  <c:v>9.508196721311441</c:v>
                </c:pt>
                <c:pt idx="369">
                  <c:v>9.540983606557368</c:v>
                </c:pt>
                <c:pt idx="370">
                  <c:v>9.540983606557368</c:v>
                </c:pt>
                <c:pt idx="371">
                  <c:v>9.573770491803282</c:v>
                </c:pt>
                <c:pt idx="372">
                  <c:v>9.573770491803282</c:v>
                </c:pt>
                <c:pt idx="373">
                  <c:v>9.60655737704918</c:v>
                </c:pt>
                <c:pt idx="374">
                  <c:v>9.60655737704918</c:v>
                </c:pt>
                <c:pt idx="375">
                  <c:v>9.704918032786848</c:v>
                </c:pt>
                <c:pt idx="376">
                  <c:v>9.704918032786848</c:v>
                </c:pt>
                <c:pt idx="377">
                  <c:v>9.737704918032783</c:v>
                </c:pt>
                <c:pt idx="378">
                  <c:v>9.737704918032783</c:v>
                </c:pt>
                <c:pt idx="379">
                  <c:v>9.770491803278687</c:v>
                </c:pt>
                <c:pt idx="380">
                  <c:v>9.770491803278687</c:v>
                </c:pt>
                <c:pt idx="381">
                  <c:v>9.803278688524571</c:v>
                </c:pt>
                <c:pt idx="382">
                  <c:v>9.803278688524571</c:v>
                </c:pt>
                <c:pt idx="383">
                  <c:v>9.836065573770492</c:v>
                </c:pt>
                <c:pt idx="384">
                  <c:v>9.836065573770492</c:v>
                </c:pt>
                <c:pt idx="385">
                  <c:v>9.901639344262306</c:v>
                </c:pt>
                <c:pt idx="386">
                  <c:v>9.901639344262306</c:v>
                </c:pt>
                <c:pt idx="387">
                  <c:v>9.9344262295082</c:v>
                </c:pt>
                <c:pt idx="388">
                  <c:v>9.9344262295082</c:v>
                </c:pt>
                <c:pt idx="389">
                  <c:v>9.967213114754098</c:v>
                </c:pt>
                <c:pt idx="390">
                  <c:v>9.967213114754098</c:v>
                </c:pt>
                <c:pt idx="391">
                  <c:v>10.0</c:v>
                </c:pt>
                <c:pt idx="392">
                  <c:v>10.0</c:v>
                </c:pt>
                <c:pt idx="393">
                  <c:v>10.0327868852459</c:v>
                </c:pt>
                <c:pt idx="394">
                  <c:v>10.0327868852459</c:v>
                </c:pt>
                <c:pt idx="395">
                  <c:v>10.0655737704918</c:v>
                </c:pt>
                <c:pt idx="396">
                  <c:v>10.0655737704918</c:v>
                </c:pt>
                <c:pt idx="397">
                  <c:v>10.0983606557377</c:v>
                </c:pt>
                <c:pt idx="398">
                  <c:v>10.0983606557377</c:v>
                </c:pt>
                <c:pt idx="399">
                  <c:v>10.13114754098361</c:v>
                </c:pt>
                <c:pt idx="400">
                  <c:v>10.13114754098361</c:v>
                </c:pt>
                <c:pt idx="401">
                  <c:v>10.16393442622951</c:v>
                </c:pt>
                <c:pt idx="402">
                  <c:v>10.16393442622951</c:v>
                </c:pt>
                <c:pt idx="403">
                  <c:v>10.22950819672131</c:v>
                </c:pt>
                <c:pt idx="404">
                  <c:v>10.22950819672131</c:v>
                </c:pt>
                <c:pt idx="405">
                  <c:v>10.26229508196721</c:v>
                </c:pt>
                <c:pt idx="406">
                  <c:v>10.26229508196721</c:v>
                </c:pt>
                <c:pt idx="407">
                  <c:v>10.29508196721312</c:v>
                </c:pt>
                <c:pt idx="408">
                  <c:v>10.32786885245902</c:v>
                </c:pt>
                <c:pt idx="409">
                  <c:v>10.32786885245902</c:v>
                </c:pt>
                <c:pt idx="410">
                  <c:v>10.36065573770492</c:v>
                </c:pt>
                <c:pt idx="411">
                  <c:v>10.36065573770492</c:v>
                </c:pt>
                <c:pt idx="412">
                  <c:v>10.39344262295082</c:v>
                </c:pt>
                <c:pt idx="413">
                  <c:v>10.39344262295082</c:v>
                </c:pt>
                <c:pt idx="414">
                  <c:v>10.45901639344263</c:v>
                </c:pt>
                <c:pt idx="415">
                  <c:v>10.62295081967213</c:v>
                </c:pt>
                <c:pt idx="416">
                  <c:v>10.62295081967213</c:v>
                </c:pt>
                <c:pt idx="417">
                  <c:v>10.65573770491803</c:v>
                </c:pt>
                <c:pt idx="418">
                  <c:v>10.65573770491803</c:v>
                </c:pt>
                <c:pt idx="419">
                  <c:v>10.68852459016394</c:v>
                </c:pt>
                <c:pt idx="420">
                  <c:v>10.68852459016394</c:v>
                </c:pt>
                <c:pt idx="421">
                  <c:v>10.72131147540983</c:v>
                </c:pt>
                <c:pt idx="422">
                  <c:v>10.72131147540983</c:v>
                </c:pt>
                <c:pt idx="423">
                  <c:v>10.75409836065574</c:v>
                </c:pt>
                <c:pt idx="424">
                  <c:v>10.75409836065574</c:v>
                </c:pt>
                <c:pt idx="425">
                  <c:v>10.78688524590164</c:v>
                </c:pt>
                <c:pt idx="426">
                  <c:v>10.78688524590164</c:v>
                </c:pt>
                <c:pt idx="427">
                  <c:v>10.81967213114754</c:v>
                </c:pt>
                <c:pt idx="428">
                  <c:v>10.81967213114754</c:v>
                </c:pt>
                <c:pt idx="429">
                  <c:v>10.85245901639344</c:v>
                </c:pt>
                <c:pt idx="430">
                  <c:v>10.85245901639344</c:v>
                </c:pt>
                <c:pt idx="431">
                  <c:v>10.88524590163935</c:v>
                </c:pt>
                <c:pt idx="432">
                  <c:v>10.88524590163935</c:v>
                </c:pt>
                <c:pt idx="433">
                  <c:v>10.91803278688525</c:v>
                </c:pt>
                <c:pt idx="434">
                  <c:v>10.91803278688525</c:v>
                </c:pt>
                <c:pt idx="435">
                  <c:v>10.95081967213115</c:v>
                </c:pt>
                <c:pt idx="436">
                  <c:v>10.95081967213115</c:v>
                </c:pt>
                <c:pt idx="437">
                  <c:v>11.0</c:v>
                </c:pt>
                <c:pt idx="438">
                  <c:v>11.08196721311475</c:v>
                </c:pt>
                <c:pt idx="439">
                  <c:v>11.08196721311475</c:v>
                </c:pt>
                <c:pt idx="440">
                  <c:v>11.11475409836066</c:v>
                </c:pt>
                <c:pt idx="441">
                  <c:v>11.11475409836066</c:v>
                </c:pt>
                <c:pt idx="442">
                  <c:v>11.14754098360656</c:v>
                </c:pt>
                <c:pt idx="443">
                  <c:v>11.14754098360656</c:v>
                </c:pt>
                <c:pt idx="444">
                  <c:v>11.18032786885246</c:v>
                </c:pt>
                <c:pt idx="445">
                  <c:v>11.18032786885246</c:v>
                </c:pt>
                <c:pt idx="446">
                  <c:v>11.21311475409836</c:v>
                </c:pt>
                <c:pt idx="447">
                  <c:v>11.21311475409836</c:v>
                </c:pt>
                <c:pt idx="448">
                  <c:v>11.24590163934426</c:v>
                </c:pt>
                <c:pt idx="449">
                  <c:v>11.24590163934426</c:v>
                </c:pt>
                <c:pt idx="450">
                  <c:v>11.27868852459016</c:v>
                </c:pt>
                <c:pt idx="451">
                  <c:v>11.27868852459016</c:v>
                </c:pt>
                <c:pt idx="452">
                  <c:v>11.34426229508197</c:v>
                </c:pt>
                <c:pt idx="453">
                  <c:v>11.34426229508197</c:v>
                </c:pt>
                <c:pt idx="454">
                  <c:v>11.40983606557377</c:v>
                </c:pt>
                <c:pt idx="455">
                  <c:v>11.40983606557377</c:v>
                </c:pt>
                <c:pt idx="456">
                  <c:v>11.44262295081967</c:v>
                </c:pt>
                <c:pt idx="457">
                  <c:v>11.47540983606558</c:v>
                </c:pt>
                <c:pt idx="458">
                  <c:v>11.47540983606558</c:v>
                </c:pt>
                <c:pt idx="459">
                  <c:v>11.50819672131148</c:v>
                </c:pt>
                <c:pt idx="460">
                  <c:v>11.50819672131148</c:v>
                </c:pt>
                <c:pt idx="461">
                  <c:v>11.57377049180328</c:v>
                </c:pt>
                <c:pt idx="462">
                  <c:v>11.57377049180328</c:v>
                </c:pt>
                <c:pt idx="463">
                  <c:v>11.60655737704918</c:v>
                </c:pt>
                <c:pt idx="464">
                  <c:v>11.60655737704918</c:v>
                </c:pt>
                <c:pt idx="465">
                  <c:v>11.63934426229508</c:v>
                </c:pt>
                <c:pt idx="466">
                  <c:v>11.63934426229508</c:v>
                </c:pt>
                <c:pt idx="467">
                  <c:v>11.67213114754098</c:v>
                </c:pt>
                <c:pt idx="468">
                  <c:v>11.67213114754098</c:v>
                </c:pt>
                <c:pt idx="469">
                  <c:v>11.70491803278688</c:v>
                </c:pt>
                <c:pt idx="470">
                  <c:v>11.70491803278688</c:v>
                </c:pt>
                <c:pt idx="471">
                  <c:v>11.7377049180328</c:v>
                </c:pt>
                <c:pt idx="472">
                  <c:v>11.7377049180328</c:v>
                </c:pt>
                <c:pt idx="473">
                  <c:v>11.7704918032787</c:v>
                </c:pt>
                <c:pt idx="474">
                  <c:v>11.7704918032787</c:v>
                </c:pt>
                <c:pt idx="475">
                  <c:v>11.8360655737705</c:v>
                </c:pt>
                <c:pt idx="476">
                  <c:v>11.8360655737705</c:v>
                </c:pt>
                <c:pt idx="477">
                  <c:v>11.8688524590164</c:v>
                </c:pt>
                <c:pt idx="478">
                  <c:v>11.8688524590164</c:v>
                </c:pt>
                <c:pt idx="479">
                  <c:v>11.9016393442623</c:v>
                </c:pt>
                <c:pt idx="480">
                  <c:v>11.9016393442623</c:v>
                </c:pt>
                <c:pt idx="481">
                  <c:v>11.93442622950821</c:v>
                </c:pt>
                <c:pt idx="482">
                  <c:v>11.93442622950821</c:v>
                </c:pt>
                <c:pt idx="483">
                  <c:v>11.9672131147541</c:v>
                </c:pt>
                <c:pt idx="484">
                  <c:v>11.9672131147541</c:v>
                </c:pt>
                <c:pt idx="485">
                  <c:v>12.0</c:v>
                </c:pt>
                <c:pt idx="486">
                  <c:v>12.0</c:v>
                </c:pt>
                <c:pt idx="487">
                  <c:v>12.0327868852459</c:v>
                </c:pt>
                <c:pt idx="488">
                  <c:v>12.0327868852459</c:v>
                </c:pt>
                <c:pt idx="489">
                  <c:v>12.0983606557377</c:v>
                </c:pt>
                <c:pt idx="490">
                  <c:v>12.0983606557377</c:v>
                </c:pt>
                <c:pt idx="491">
                  <c:v>12.16393442622951</c:v>
                </c:pt>
                <c:pt idx="492">
                  <c:v>12.22950819672131</c:v>
                </c:pt>
                <c:pt idx="493">
                  <c:v>12.22950819672131</c:v>
                </c:pt>
                <c:pt idx="494">
                  <c:v>12.26229508196721</c:v>
                </c:pt>
                <c:pt idx="495">
                  <c:v>12.26229508196721</c:v>
                </c:pt>
                <c:pt idx="496">
                  <c:v>12.29508196721311</c:v>
                </c:pt>
                <c:pt idx="497">
                  <c:v>12.32786885245902</c:v>
                </c:pt>
                <c:pt idx="498">
                  <c:v>12.42622950819672</c:v>
                </c:pt>
                <c:pt idx="499">
                  <c:v>12.42622950819672</c:v>
                </c:pt>
                <c:pt idx="500">
                  <c:v>12.45901639344263</c:v>
                </c:pt>
                <c:pt idx="501">
                  <c:v>12.45901639344263</c:v>
                </c:pt>
                <c:pt idx="502">
                  <c:v>12.52459016393442</c:v>
                </c:pt>
                <c:pt idx="503">
                  <c:v>12.52459016393442</c:v>
                </c:pt>
                <c:pt idx="504">
                  <c:v>12.59016393442623</c:v>
                </c:pt>
                <c:pt idx="505">
                  <c:v>12.62295081967213</c:v>
                </c:pt>
                <c:pt idx="506">
                  <c:v>12.68852459016394</c:v>
                </c:pt>
                <c:pt idx="507">
                  <c:v>12.68852459016394</c:v>
                </c:pt>
                <c:pt idx="508">
                  <c:v>12.72131147540983</c:v>
                </c:pt>
                <c:pt idx="509">
                  <c:v>12.72131147540983</c:v>
                </c:pt>
                <c:pt idx="510">
                  <c:v>12.75409836065574</c:v>
                </c:pt>
                <c:pt idx="511">
                  <c:v>12.75409836065574</c:v>
                </c:pt>
                <c:pt idx="512">
                  <c:v>12.78688524590164</c:v>
                </c:pt>
                <c:pt idx="513">
                  <c:v>12.81967213114754</c:v>
                </c:pt>
                <c:pt idx="514">
                  <c:v>12.81967213114754</c:v>
                </c:pt>
                <c:pt idx="515">
                  <c:v>12.85245901639344</c:v>
                </c:pt>
                <c:pt idx="516">
                  <c:v>12.85245901639344</c:v>
                </c:pt>
                <c:pt idx="517">
                  <c:v>12.88524590163934</c:v>
                </c:pt>
                <c:pt idx="518">
                  <c:v>12.88524590163934</c:v>
                </c:pt>
                <c:pt idx="519">
                  <c:v>12.91803278688525</c:v>
                </c:pt>
                <c:pt idx="520">
                  <c:v>12.91803278688525</c:v>
                </c:pt>
                <c:pt idx="521">
                  <c:v>12.95081967213115</c:v>
                </c:pt>
                <c:pt idx="522">
                  <c:v>12.95081967213115</c:v>
                </c:pt>
                <c:pt idx="523">
                  <c:v>12.98360655737705</c:v>
                </c:pt>
                <c:pt idx="524">
                  <c:v>12.98360655737705</c:v>
                </c:pt>
                <c:pt idx="525">
                  <c:v>13.0</c:v>
                </c:pt>
                <c:pt idx="526">
                  <c:v>13.01639344262295</c:v>
                </c:pt>
                <c:pt idx="527">
                  <c:v>13.01639344262295</c:v>
                </c:pt>
                <c:pt idx="528">
                  <c:v>13.04918032786885</c:v>
                </c:pt>
                <c:pt idx="529">
                  <c:v>13.04918032786885</c:v>
                </c:pt>
                <c:pt idx="530">
                  <c:v>13.11475409836066</c:v>
                </c:pt>
                <c:pt idx="531">
                  <c:v>13.11475409836066</c:v>
                </c:pt>
                <c:pt idx="532">
                  <c:v>13.14754098360656</c:v>
                </c:pt>
                <c:pt idx="533">
                  <c:v>13.18032786885246</c:v>
                </c:pt>
                <c:pt idx="534">
                  <c:v>13.18032786885246</c:v>
                </c:pt>
                <c:pt idx="535">
                  <c:v>13.24590163934426</c:v>
                </c:pt>
                <c:pt idx="536">
                  <c:v>13.24590163934426</c:v>
                </c:pt>
                <c:pt idx="537">
                  <c:v>13.27868852459016</c:v>
                </c:pt>
                <c:pt idx="538">
                  <c:v>13.27868852459016</c:v>
                </c:pt>
                <c:pt idx="539">
                  <c:v>13.31147540983606</c:v>
                </c:pt>
                <c:pt idx="540">
                  <c:v>13.37704918032787</c:v>
                </c:pt>
                <c:pt idx="541">
                  <c:v>13.37704918032787</c:v>
                </c:pt>
                <c:pt idx="542">
                  <c:v>13.47540983606558</c:v>
                </c:pt>
                <c:pt idx="543">
                  <c:v>13.47540983606558</c:v>
                </c:pt>
                <c:pt idx="544">
                  <c:v>13.50819672131147</c:v>
                </c:pt>
                <c:pt idx="545">
                  <c:v>13.50819672131147</c:v>
                </c:pt>
                <c:pt idx="546">
                  <c:v>13.57377049180328</c:v>
                </c:pt>
                <c:pt idx="547">
                  <c:v>13.60655737704918</c:v>
                </c:pt>
                <c:pt idx="548">
                  <c:v>13.60655737704918</c:v>
                </c:pt>
                <c:pt idx="549">
                  <c:v>13.63934426229508</c:v>
                </c:pt>
                <c:pt idx="550">
                  <c:v>13.7377049180328</c:v>
                </c:pt>
                <c:pt idx="551">
                  <c:v>13.7377049180328</c:v>
                </c:pt>
                <c:pt idx="552">
                  <c:v>13.77049180327868</c:v>
                </c:pt>
                <c:pt idx="553">
                  <c:v>13.80327868852459</c:v>
                </c:pt>
                <c:pt idx="554">
                  <c:v>13.8360655737705</c:v>
                </c:pt>
                <c:pt idx="555">
                  <c:v>13.8360655737705</c:v>
                </c:pt>
                <c:pt idx="556">
                  <c:v>13.8688524590164</c:v>
                </c:pt>
                <c:pt idx="557">
                  <c:v>13.9672131147541</c:v>
                </c:pt>
                <c:pt idx="558">
                  <c:v>13.9672131147541</c:v>
                </c:pt>
                <c:pt idx="559">
                  <c:v>14.0</c:v>
                </c:pt>
                <c:pt idx="560">
                  <c:v>14.0</c:v>
                </c:pt>
                <c:pt idx="561">
                  <c:v>14.0327868852459</c:v>
                </c:pt>
                <c:pt idx="562">
                  <c:v>14.0655737704918</c:v>
                </c:pt>
                <c:pt idx="563">
                  <c:v>14.0983606557377</c:v>
                </c:pt>
                <c:pt idx="564">
                  <c:v>14.0983606557377</c:v>
                </c:pt>
                <c:pt idx="565">
                  <c:v>14.1639344262295</c:v>
                </c:pt>
                <c:pt idx="566">
                  <c:v>14.1639344262295</c:v>
                </c:pt>
                <c:pt idx="567">
                  <c:v>14.19672131147541</c:v>
                </c:pt>
                <c:pt idx="568">
                  <c:v>14.19672131147541</c:v>
                </c:pt>
                <c:pt idx="569">
                  <c:v>14.29508196721311</c:v>
                </c:pt>
                <c:pt idx="570">
                  <c:v>14.29508196721311</c:v>
                </c:pt>
                <c:pt idx="571">
                  <c:v>14.32786885245901</c:v>
                </c:pt>
                <c:pt idx="572">
                  <c:v>14.32786885245901</c:v>
                </c:pt>
                <c:pt idx="573">
                  <c:v>14.36065573770492</c:v>
                </c:pt>
                <c:pt idx="574">
                  <c:v>14.39344262295082</c:v>
                </c:pt>
                <c:pt idx="575">
                  <c:v>14.39344262295082</c:v>
                </c:pt>
                <c:pt idx="576">
                  <c:v>14.42622950819672</c:v>
                </c:pt>
                <c:pt idx="577">
                  <c:v>14.42622950819672</c:v>
                </c:pt>
                <c:pt idx="578">
                  <c:v>14.45901639344262</c:v>
                </c:pt>
                <c:pt idx="579">
                  <c:v>14.45901639344262</c:v>
                </c:pt>
                <c:pt idx="580">
                  <c:v>14.49180327868852</c:v>
                </c:pt>
                <c:pt idx="581">
                  <c:v>14.49180327868852</c:v>
                </c:pt>
                <c:pt idx="582">
                  <c:v>14.55737704918032</c:v>
                </c:pt>
                <c:pt idx="583">
                  <c:v>14.55737704918032</c:v>
                </c:pt>
                <c:pt idx="584">
                  <c:v>14.62295081967213</c:v>
                </c:pt>
                <c:pt idx="585">
                  <c:v>14.65573770491803</c:v>
                </c:pt>
                <c:pt idx="586">
                  <c:v>14.65573770491803</c:v>
                </c:pt>
                <c:pt idx="587">
                  <c:v>14.68852459016394</c:v>
                </c:pt>
                <c:pt idx="588">
                  <c:v>14.72131147540984</c:v>
                </c:pt>
                <c:pt idx="589">
                  <c:v>14.81967213114754</c:v>
                </c:pt>
                <c:pt idx="590">
                  <c:v>14.81967213114754</c:v>
                </c:pt>
                <c:pt idx="591">
                  <c:v>14.85245901639344</c:v>
                </c:pt>
                <c:pt idx="592">
                  <c:v>14.85245901639344</c:v>
                </c:pt>
                <c:pt idx="593">
                  <c:v>14.88524590163934</c:v>
                </c:pt>
                <c:pt idx="594">
                  <c:v>14.88524590163934</c:v>
                </c:pt>
                <c:pt idx="595">
                  <c:v>14.91803278688525</c:v>
                </c:pt>
                <c:pt idx="596">
                  <c:v>14.91803278688525</c:v>
                </c:pt>
                <c:pt idx="597">
                  <c:v>14.98360655737705</c:v>
                </c:pt>
                <c:pt idx="598">
                  <c:v>14.98360655737705</c:v>
                </c:pt>
                <c:pt idx="599">
                  <c:v>15.0</c:v>
                </c:pt>
                <c:pt idx="600">
                  <c:v>15.01639344262295</c:v>
                </c:pt>
                <c:pt idx="601">
                  <c:v>15.01639344262295</c:v>
                </c:pt>
                <c:pt idx="602">
                  <c:v>15.04918032786885</c:v>
                </c:pt>
                <c:pt idx="603">
                  <c:v>15.04918032786885</c:v>
                </c:pt>
                <c:pt idx="604">
                  <c:v>15.08196721311475</c:v>
                </c:pt>
                <c:pt idx="605">
                  <c:v>15.08196721311475</c:v>
                </c:pt>
                <c:pt idx="606">
                  <c:v>15.14754098360656</c:v>
                </c:pt>
                <c:pt idx="607">
                  <c:v>15.14754098360656</c:v>
                </c:pt>
                <c:pt idx="608">
                  <c:v>15.18032786885246</c:v>
                </c:pt>
                <c:pt idx="609">
                  <c:v>15.18032786885246</c:v>
                </c:pt>
                <c:pt idx="610">
                  <c:v>15.21311475409836</c:v>
                </c:pt>
                <c:pt idx="611">
                  <c:v>15.21311475409836</c:v>
                </c:pt>
                <c:pt idx="612">
                  <c:v>15.24590163934426</c:v>
                </c:pt>
                <c:pt idx="613">
                  <c:v>15.34426229508197</c:v>
                </c:pt>
                <c:pt idx="614">
                  <c:v>15.37704918032787</c:v>
                </c:pt>
                <c:pt idx="615">
                  <c:v>15.37704918032787</c:v>
                </c:pt>
                <c:pt idx="616">
                  <c:v>15.40983606557377</c:v>
                </c:pt>
                <c:pt idx="617">
                  <c:v>15.40983606557377</c:v>
                </c:pt>
                <c:pt idx="618">
                  <c:v>15.44262295081967</c:v>
                </c:pt>
                <c:pt idx="619">
                  <c:v>15.50819672131147</c:v>
                </c:pt>
                <c:pt idx="620">
                  <c:v>15.50819672131147</c:v>
                </c:pt>
                <c:pt idx="621">
                  <c:v>15.54098360655738</c:v>
                </c:pt>
                <c:pt idx="622">
                  <c:v>15.54098360655738</c:v>
                </c:pt>
                <c:pt idx="623">
                  <c:v>15.57377049180328</c:v>
                </c:pt>
                <c:pt idx="624">
                  <c:v>15.57377049180328</c:v>
                </c:pt>
                <c:pt idx="625">
                  <c:v>15.63934426229508</c:v>
                </c:pt>
                <c:pt idx="626">
                  <c:v>15.63934426229508</c:v>
                </c:pt>
                <c:pt idx="627">
                  <c:v>15.70491803278688</c:v>
                </c:pt>
                <c:pt idx="628">
                  <c:v>15.70491803278688</c:v>
                </c:pt>
                <c:pt idx="629">
                  <c:v>15.7377049180328</c:v>
                </c:pt>
                <c:pt idx="630">
                  <c:v>15.80327868852459</c:v>
                </c:pt>
                <c:pt idx="631">
                  <c:v>15.80327868852459</c:v>
                </c:pt>
                <c:pt idx="632">
                  <c:v>15.8360655737705</c:v>
                </c:pt>
                <c:pt idx="633">
                  <c:v>15.8688524590164</c:v>
                </c:pt>
                <c:pt idx="634">
                  <c:v>15.8688524590164</c:v>
                </c:pt>
                <c:pt idx="635">
                  <c:v>15.9344262295082</c:v>
                </c:pt>
                <c:pt idx="636">
                  <c:v>15.9344262295082</c:v>
                </c:pt>
                <c:pt idx="637">
                  <c:v>16.0</c:v>
                </c:pt>
                <c:pt idx="638">
                  <c:v>16.0</c:v>
                </c:pt>
                <c:pt idx="639">
                  <c:v>16.0655737704918</c:v>
                </c:pt>
                <c:pt idx="640">
                  <c:v>16.0655737704918</c:v>
                </c:pt>
                <c:pt idx="641">
                  <c:v>16.0983606557377</c:v>
                </c:pt>
                <c:pt idx="642">
                  <c:v>16.0983606557377</c:v>
                </c:pt>
                <c:pt idx="643">
                  <c:v>16.1639344262295</c:v>
                </c:pt>
                <c:pt idx="644">
                  <c:v>16.1639344262295</c:v>
                </c:pt>
                <c:pt idx="645">
                  <c:v>16.19672131147541</c:v>
                </c:pt>
                <c:pt idx="646">
                  <c:v>16.19672131147541</c:v>
                </c:pt>
                <c:pt idx="647">
                  <c:v>16.22950819672131</c:v>
                </c:pt>
                <c:pt idx="648">
                  <c:v>16.22950819672131</c:v>
                </c:pt>
                <c:pt idx="649">
                  <c:v>16.26229508196698</c:v>
                </c:pt>
                <c:pt idx="650">
                  <c:v>16.26229508196698</c:v>
                </c:pt>
                <c:pt idx="651">
                  <c:v>16.29508196721311</c:v>
                </c:pt>
                <c:pt idx="652">
                  <c:v>16.29508196721311</c:v>
                </c:pt>
                <c:pt idx="653">
                  <c:v>16.32786885245902</c:v>
                </c:pt>
                <c:pt idx="654">
                  <c:v>16.32786885245902</c:v>
                </c:pt>
                <c:pt idx="655">
                  <c:v>16.36065573770492</c:v>
                </c:pt>
                <c:pt idx="656">
                  <c:v>16.36065573770492</c:v>
                </c:pt>
                <c:pt idx="657">
                  <c:v>16.39344262295081</c:v>
                </c:pt>
                <c:pt idx="658">
                  <c:v>16.39344262295081</c:v>
                </c:pt>
                <c:pt idx="659">
                  <c:v>16.42622950819671</c:v>
                </c:pt>
                <c:pt idx="660">
                  <c:v>16.42622950819671</c:v>
                </c:pt>
                <c:pt idx="661">
                  <c:v>16.45901639344263</c:v>
                </c:pt>
                <c:pt idx="662">
                  <c:v>16.45901639344263</c:v>
                </c:pt>
                <c:pt idx="663">
                  <c:v>16.49180327868853</c:v>
                </c:pt>
                <c:pt idx="664">
                  <c:v>16.52459016393443</c:v>
                </c:pt>
                <c:pt idx="665">
                  <c:v>16.52459016393443</c:v>
                </c:pt>
                <c:pt idx="666">
                  <c:v>16.62295081967213</c:v>
                </c:pt>
                <c:pt idx="667">
                  <c:v>16.62295081967213</c:v>
                </c:pt>
                <c:pt idx="668">
                  <c:v>16.65573770491803</c:v>
                </c:pt>
                <c:pt idx="669">
                  <c:v>16.65573770491803</c:v>
                </c:pt>
                <c:pt idx="670">
                  <c:v>16.72131147540983</c:v>
                </c:pt>
                <c:pt idx="671">
                  <c:v>16.72131147540983</c:v>
                </c:pt>
                <c:pt idx="672">
                  <c:v>16.75409836065574</c:v>
                </c:pt>
                <c:pt idx="673">
                  <c:v>16.75409836065574</c:v>
                </c:pt>
                <c:pt idx="674">
                  <c:v>16.85245901639344</c:v>
                </c:pt>
                <c:pt idx="675">
                  <c:v>16.85245901639344</c:v>
                </c:pt>
                <c:pt idx="676">
                  <c:v>16.88524590163932</c:v>
                </c:pt>
                <c:pt idx="677">
                  <c:v>16.88524590163932</c:v>
                </c:pt>
                <c:pt idx="678">
                  <c:v>16.91803278688525</c:v>
                </c:pt>
                <c:pt idx="679">
                  <c:v>16.91803278688525</c:v>
                </c:pt>
                <c:pt idx="680">
                  <c:v>16.95081967213108</c:v>
                </c:pt>
                <c:pt idx="681">
                  <c:v>16.95081967213108</c:v>
                </c:pt>
                <c:pt idx="682">
                  <c:v>16.98360655737675</c:v>
                </c:pt>
                <c:pt idx="683">
                  <c:v>16.98360655737675</c:v>
                </c:pt>
                <c:pt idx="684">
                  <c:v>17.0</c:v>
                </c:pt>
                <c:pt idx="685">
                  <c:v>17.01639344262295</c:v>
                </c:pt>
                <c:pt idx="686">
                  <c:v>17.01639344262295</c:v>
                </c:pt>
                <c:pt idx="687">
                  <c:v>17.04918032786885</c:v>
                </c:pt>
                <c:pt idx="688">
                  <c:v>17.04918032786885</c:v>
                </c:pt>
                <c:pt idx="689">
                  <c:v>17.08196721311475</c:v>
                </c:pt>
                <c:pt idx="690">
                  <c:v>17.14754098360656</c:v>
                </c:pt>
                <c:pt idx="691">
                  <c:v>17.14754098360656</c:v>
                </c:pt>
                <c:pt idx="692">
                  <c:v>17.18032786885246</c:v>
                </c:pt>
                <c:pt idx="693">
                  <c:v>17.21311475409836</c:v>
                </c:pt>
                <c:pt idx="694">
                  <c:v>17.27868852459016</c:v>
                </c:pt>
                <c:pt idx="695">
                  <c:v>17.27868852459016</c:v>
                </c:pt>
                <c:pt idx="696">
                  <c:v>17.37704918032787</c:v>
                </c:pt>
                <c:pt idx="697">
                  <c:v>17.40983606557377</c:v>
                </c:pt>
                <c:pt idx="698">
                  <c:v>17.40983606557377</c:v>
                </c:pt>
                <c:pt idx="699">
                  <c:v>17.47540983606528</c:v>
                </c:pt>
                <c:pt idx="700">
                  <c:v>17.47540983606528</c:v>
                </c:pt>
                <c:pt idx="701">
                  <c:v>17.50819672131147</c:v>
                </c:pt>
                <c:pt idx="702">
                  <c:v>17.50819672131147</c:v>
                </c:pt>
                <c:pt idx="703">
                  <c:v>17.57377049180328</c:v>
                </c:pt>
                <c:pt idx="704">
                  <c:v>17.57377049180328</c:v>
                </c:pt>
                <c:pt idx="705">
                  <c:v>17.63934426229508</c:v>
                </c:pt>
                <c:pt idx="706">
                  <c:v>17.70491803278687</c:v>
                </c:pt>
                <c:pt idx="707">
                  <c:v>17.70491803278687</c:v>
                </c:pt>
                <c:pt idx="708">
                  <c:v>17.7377049180328</c:v>
                </c:pt>
                <c:pt idx="709">
                  <c:v>17.77049180327869</c:v>
                </c:pt>
                <c:pt idx="710">
                  <c:v>17.77049180327869</c:v>
                </c:pt>
                <c:pt idx="711">
                  <c:v>17.8360655737705</c:v>
                </c:pt>
                <c:pt idx="712">
                  <c:v>17.8688524590164</c:v>
                </c:pt>
                <c:pt idx="713">
                  <c:v>17.8688524590164</c:v>
                </c:pt>
                <c:pt idx="714">
                  <c:v>17.90163934426218</c:v>
                </c:pt>
                <c:pt idx="715">
                  <c:v>17.90163934426218</c:v>
                </c:pt>
                <c:pt idx="716">
                  <c:v>17.93442622950819</c:v>
                </c:pt>
                <c:pt idx="717">
                  <c:v>17.93442622950819</c:v>
                </c:pt>
                <c:pt idx="718">
                  <c:v>18.0</c:v>
                </c:pt>
                <c:pt idx="719">
                  <c:v>18.0</c:v>
                </c:pt>
                <c:pt idx="720">
                  <c:v>18.03278688524588</c:v>
                </c:pt>
                <c:pt idx="721">
                  <c:v>18.03278688524588</c:v>
                </c:pt>
                <c:pt idx="722">
                  <c:v>18.0655737704918</c:v>
                </c:pt>
                <c:pt idx="723">
                  <c:v>18.0655737704918</c:v>
                </c:pt>
                <c:pt idx="724">
                  <c:v>18.1311475409836</c:v>
                </c:pt>
                <c:pt idx="725">
                  <c:v>18.1311475409836</c:v>
                </c:pt>
                <c:pt idx="726">
                  <c:v>18.16393442622951</c:v>
                </c:pt>
                <c:pt idx="727">
                  <c:v>18.16393442622951</c:v>
                </c:pt>
                <c:pt idx="728">
                  <c:v>18.19672131147541</c:v>
                </c:pt>
                <c:pt idx="729">
                  <c:v>18.22950819672131</c:v>
                </c:pt>
                <c:pt idx="730">
                  <c:v>18.22950819672131</c:v>
                </c:pt>
                <c:pt idx="731">
                  <c:v>18.26229508196698</c:v>
                </c:pt>
                <c:pt idx="732">
                  <c:v>18.29508196721313</c:v>
                </c:pt>
                <c:pt idx="733">
                  <c:v>18.29508196721313</c:v>
                </c:pt>
                <c:pt idx="734">
                  <c:v>18.32786885245902</c:v>
                </c:pt>
                <c:pt idx="735">
                  <c:v>18.32786885245902</c:v>
                </c:pt>
                <c:pt idx="736">
                  <c:v>18.42622950819671</c:v>
                </c:pt>
                <c:pt idx="737">
                  <c:v>18.42622950819671</c:v>
                </c:pt>
                <c:pt idx="738">
                  <c:v>18.45901639344262</c:v>
                </c:pt>
                <c:pt idx="739">
                  <c:v>18.49180327868853</c:v>
                </c:pt>
                <c:pt idx="740">
                  <c:v>18.49180327868853</c:v>
                </c:pt>
                <c:pt idx="741">
                  <c:v>18.55737704918033</c:v>
                </c:pt>
                <c:pt idx="742">
                  <c:v>18.59016393442623</c:v>
                </c:pt>
                <c:pt idx="743">
                  <c:v>18.59016393442623</c:v>
                </c:pt>
                <c:pt idx="744">
                  <c:v>18.65573770491803</c:v>
                </c:pt>
                <c:pt idx="745">
                  <c:v>18.65573770491803</c:v>
                </c:pt>
                <c:pt idx="746">
                  <c:v>18.72131147540983</c:v>
                </c:pt>
                <c:pt idx="747">
                  <c:v>18.72131147540983</c:v>
                </c:pt>
                <c:pt idx="748">
                  <c:v>18.75409836065574</c:v>
                </c:pt>
                <c:pt idx="749">
                  <c:v>18.78688524590164</c:v>
                </c:pt>
                <c:pt idx="750">
                  <c:v>18.78688524590164</c:v>
                </c:pt>
                <c:pt idx="751">
                  <c:v>18.88524590163932</c:v>
                </c:pt>
                <c:pt idx="752">
                  <c:v>18.88524590163932</c:v>
                </c:pt>
                <c:pt idx="753">
                  <c:v>18.98360655737675</c:v>
                </c:pt>
                <c:pt idx="754">
                  <c:v>18.98360655737675</c:v>
                </c:pt>
                <c:pt idx="755">
                  <c:v>19.0</c:v>
                </c:pt>
                <c:pt idx="756">
                  <c:v>19.01639344262295</c:v>
                </c:pt>
                <c:pt idx="757">
                  <c:v>19.01639344262295</c:v>
                </c:pt>
                <c:pt idx="758">
                  <c:v>19.04918032786885</c:v>
                </c:pt>
                <c:pt idx="759">
                  <c:v>19.04918032786885</c:v>
                </c:pt>
                <c:pt idx="760">
                  <c:v>19.08196721311475</c:v>
                </c:pt>
                <c:pt idx="761">
                  <c:v>19.08196721311475</c:v>
                </c:pt>
                <c:pt idx="762">
                  <c:v>19.11475409836066</c:v>
                </c:pt>
                <c:pt idx="763">
                  <c:v>19.14754098360656</c:v>
                </c:pt>
                <c:pt idx="764">
                  <c:v>19.14754098360656</c:v>
                </c:pt>
                <c:pt idx="765">
                  <c:v>19.18032786885247</c:v>
                </c:pt>
                <c:pt idx="766">
                  <c:v>19.18032786885247</c:v>
                </c:pt>
                <c:pt idx="767">
                  <c:v>19.21311475409836</c:v>
                </c:pt>
                <c:pt idx="768">
                  <c:v>19.27868852459016</c:v>
                </c:pt>
                <c:pt idx="769">
                  <c:v>19.31147540983607</c:v>
                </c:pt>
                <c:pt idx="770">
                  <c:v>19.31147540983607</c:v>
                </c:pt>
                <c:pt idx="771">
                  <c:v>19.34426229508196</c:v>
                </c:pt>
                <c:pt idx="772">
                  <c:v>19.34426229508196</c:v>
                </c:pt>
                <c:pt idx="773">
                  <c:v>19.37704918032787</c:v>
                </c:pt>
                <c:pt idx="774">
                  <c:v>19.40983606557376</c:v>
                </c:pt>
                <c:pt idx="775">
                  <c:v>19.40983606557376</c:v>
                </c:pt>
                <c:pt idx="776">
                  <c:v>19.44262295081962</c:v>
                </c:pt>
                <c:pt idx="777">
                  <c:v>19.44262295081962</c:v>
                </c:pt>
                <c:pt idx="778">
                  <c:v>19.47540983606528</c:v>
                </c:pt>
                <c:pt idx="779">
                  <c:v>19.47540983606528</c:v>
                </c:pt>
                <c:pt idx="780">
                  <c:v>19.50819672131147</c:v>
                </c:pt>
                <c:pt idx="781">
                  <c:v>19.54098360655738</c:v>
                </c:pt>
                <c:pt idx="782">
                  <c:v>19.54098360655738</c:v>
                </c:pt>
                <c:pt idx="783">
                  <c:v>19.57377049180328</c:v>
                </c:pt>
                <c:pt idx="784">
                  <c:v>19.57377049180328</c:v>
                </c:pt>
                <c:pt idx="785">
                  <c:v>19.60655737704919</c:v>
                </c:pt>
                <c:pt idx="786">
                  <c:v>19.63934426229508</c:v>
                </c:pt>
                <c:pt idx="787">
                  <c:v>19.67213114754098</c:v>
                </c:pt>
                <c:pt idx="788">
                  <c:v>19.67213114754098</c:v>
                </c:pt>
                <c:pt idx="789">
                  <c:v>19.70491803278687</c:v>
                </c:pt>
                <c:pt idx="790">
                  <c:v>19.7377049180328</c:v>
                </c:pt>
                <c:pt idx="791">
                  <c:v>19.77049180327869</c:v>
                </c:pt>
                <c:pt idx="792">
                  <c:v>19.80327868852459</c:v>
                </c:pt>
                <c:pt idx="793">
                  <c:v>19.80327868852459</c:v>
                </c:pt>
                <c:pt idx="794">
                  <c:v>19.8360655737705</c:v>
                </c:pt>
                <c:pt idx="795">
                  <c:v>19.8688524590164</c:v>
                </c:pt>
                <c:pt idx="796">
                  <c:v>19.8688524590164</c:v>
                </c:pt>
                <c:pt idx="797">
                  <c:v>19.90163934426218</c:v>
                </c:pt>
                <c:pt idx="798">
                  <c:v>19.90163934426218</c:v>
                </c:pt>
                <c:pt idx="799">
                  <c:v>19.9344262295082</c:v>
                </c:pt>
                <c:pt idx="800">
                  <c:v>19.9344262295082</c:v>
                </c:pt>
                <c:pt idx="801">
                  <c:v>19.9672131147541</c:v>
                </c:pt>
                <c:pt idx="802">
                  <c:v>19.9672131147541</c:v>
                </c:pt>
                <c:pt idx="803">
                  <c:v>20.0</c:v>
                </c:pt>
                <c:pt idx="804">
                  <c:v>20.03278688524588</c:v>
                </c:pt>
                <c:pt idx="805">
                  <c:v>20.03278688524588</c:v>
                </c:pt>
                <c:pt idx="806">
                  <c:v>20.0655737704918</c:v>
                </c:pt>
                <c:pt idx="807">
                  <c:v>20.0983606557377</c:v>
                </c:pt>
                <c:pt idx="808">
                  <c:v>20.1311475409836</c:v>
                </c:pt>
                <c:pt idx="809">
                  <c:v>20.16393442622951</c:v>
                </c:pt>
                <c:pt idx="810">
                  <c:v>20.16393442622951</c:v>
                </c:pt>
                <c:pt idx="811">
                  <c:v>20.19672131147541</c:v>
                </c:pt>
                <c:pt idx="812">
                  <c:v>20.19672131147541</c:v>
                </c:pt>
                <c:pt idx="813">
                  <c:v>20.22950819672131</c:v>
                </c:pt>
                <c:pt idx="814">
                  <c:v>20.22950819672131</c:v>
                </c:pt>
                <c:pt idx="815">
                  <c:v>20.26229508196698</c:v>
                </c:pt>
                <c:pt idx="816">
                  <c:v>20.26229508196698</c:v>
                </c:pt>
                <c:pt idx="817">
                  <c:v>20.29508196721313</c:v>
                </c:pt>
                <c:pt idx="818">
                  <c:v>20.32786885245902</c:v>
                </c:pt>
                <c:pt idx="819">
                  <c:v>20.32786885245902</c:v>
                </c:pt>
                <c:pt idx="820">
                  <c:v>20.36065573770492</c:v>
                </c:pt>
                <c:pt idx="821">
                  <c:v>20.39344262295081</c:v>
                </c:pt>
                <c:pt idx="822">
                  <c:v>20.42622950819671</c:v>
                </c:pt>
                <c:pt idx="823">
                  <c:v>20.42622950819671</c:v>
                </c:pt>
                <c:pt idx="824">
                  <c:v>20.45901639344262</c:v>
                </c:pt>
                <c:pt idx="825">
                  <c:v>20.45901639344262</c:v>
                </c:pt>
                <c:pt idx="826">
                  <c:v>20.49180327868853</c:v>
                </c:pt>
                <c:pt idx="827">
                  <c:v>20.49180327868853</c:v>
                </c:pt>
                <c:pt idx="828">
                  <c:v>20.52459016393443</c:v>
                </c:pt>
                <c:pt idx="829">
                  <c:v>20.52459016393443</c:v>
                </c:pt>
                <c:pt idx="830">
                  <c:v>20.55737704918033</c:v>
                </c:pt>
                <c:pt idx="831">
                  <c:v>20.55737704918033</c:v>
                </c:pt>
                <c:pt idx="832">
                  <c:v>20.59016393442623</c:v>
                </c:pt>
                <c:pt idx="833">
                  <c:v>20.62295081967213</c:v>
                </c:pt>
                <c:pt idx="834">
                  <c:v>20.62295081967213</c:v>
                </c:pt>
                <c:pt idx="835">
                  <c:v>20.65573770491803</c:v>
                </c:pt>
                <c:pt idx="836">
                  <c:v>20.68852459016364</c:v>
                </c:pt>
                <c:pt idx="837">
                  <c:v>20.68852459016364</c:v>
                </c:pt>
                <c:pt idx="838">
                  <c:v>20.72131147540983</c:v>
                </c:pt>
                <c:pt idx="839">
                  <c:v>20.75409836065574</c:v>
                </c:pt>
                <c:pt idx="840">
                  <c:v>20.78688524590164</c:v>
                </c:pt>
                <c:pt idx="841">
                  <c:v>20.78688524590164</c:v>
                </c:pt>
                <c:pt idx="842">
                  <c:v>20.81967213114753</c:v>
                </c:pt>
                <c:pt idx="843">
                  <c:v>20.81967213114753</c:v>
                </c:pt>
                <c:pt idx="844">
                  <c:v>20.85245901639344</c:v>
                </c:pt>
                <c:pt idx="845">
                  <c:v>20.85245901639344</c:v>
                </c:pt>
                <c:pt idx="846">
                  <c:v>20.88524590163932</c:v>
                </c:pt>
                <c:pt idx="847">
                  <c:v>20.88524590163932</c:v>
                </c:pt>
                <c:pt idx="848">
                  <c:v>20.91803278688525</c:v>
                </c:pt>
                <c:pt idx="849">
                  <c:v>20.95081967213108</c:v>
                </c:pt>
                <c:pt idx="850">
                  <c:v>20.98360655737675</c:v>
                </c:pt>
                <c:pt idx="851">
                  <c:v>21.0</c:v>
                </c:pt>
                <c:pt idx="852">
                  <c:v>21.01639344262295</c:v>
                </c:pt>
                <c:pt idx="853">
                  <c:v>21.01639344262295</c:v>
                </c:pt>
                <c:pt idx="854">
                  <c:v>21.04918032786885</c:v>
                </c:pt>
                <c:pt idx="855">
                  <c:v>21.08196721311475</c:v>
                </c:pt>
                <c:pt idx="856">
                  <c:v>21.11475409836066</c:v>
                </c:pt>
                <c:pt idx="857">
                  <c:v>21.11475409836066</c:v>
                </c:pt>
                <c:pt idx="858">
                  <c:v>21.14754098360656</c:v>
                </c:pt>
                <c:pt idx="859">
                  <c:v>21.14754098360656</c:v>
                </c:pt>
                <c:pt idx="860">
                  <c:v>21.18032786885247</c:v>
                </c:pt>
                <c:pt idx="861">
                  <c:v>21.21311475409836</c:v>
                </c:pt>
                <c:pt idx="862">
                  <c:v>21.21311475409836</c:v>
                </c:pt>
                <c:pt idx="863">
                  <c:v>21.24590163934426</c:v>
                </c:pt>
                <c:pt idx="864">
                  <c:v>21.27868852459016</c:v>
                </c:pt>
                <c:pt idx="865">
                  <c:v>21.27868852459016</c:v>
                </c:pt>
                <c:pt idx="866">
                  <c:v>21.31147540983607</c:v>
                </c:pt>
                <c:pt idx="867">
                  <c:v>21.31147540983607</c:v>
                </c:pt>
                <c:pt idx="868">
                  <c:v>21.34426229508196</c:v>
                </c:pt>
                <c:pt idx="869">
                  <c:v>21.37704918032787</c:v>
                </c:pt>
                <c:pt idx="870">
                  <c:v>21.40983606557376</c:v>
                </c:pt>
                <c:pt idx="871">
                  <c:v>21.40983606557376</c:v>
                </c:pt>
                <c:pt idx="872">
                  <c:v>21.44262295081962</c:v>
                </c:pt>
                <c:pt idx="873">
                  <c:v>21.47540983606528</c:v>
                </c:pt>
                <c:pt idx="874">
                  <c:v>21.47540983606528</c:v>
                </c:pt>
                <c:pt idx="875">
                  <c:v>21.50819672131147</c:v>
                </c:pt>
                <c:pt idx="876">
                  <c:v>21.50819672131147</c:v>
                </c:pt>
                <c:pt idx="877">
                  <c:v>21.54098360655738</c:v>
                </c:pt>
                <c:pt idx="878">
                  <c:v>21.57377049180328</c:v>
                </c:pt>
                <c:pt idx="879">
                  <c:v>21.60655737704919</c:v>
                </c:pt>
                <c:pt idx="880">
                  <c:v>21.60655737704919</c:v>
                </c:pt>
                <c:pt idx="881">
                  <c:v>21.63934426229508</c:v>
                </c:pt>
                <c:pt idx="882">
                  <c:v>21.67213114754099</c:v>
                </c:pt>
                <c:pt idx="883">
                  <c:v>21.67213114754099</c:v>
                </c:pt>
                <c:pt idx="884">
                  <c:v>21.70491803278688</c:v>
                </c:pt>
                <c:pt idx="885">
                  <c:v>21.70491803278688</c:v>
                </c:pt>
                <c:pt idx="886">
                  <c:v>21.7377049180328</c:v>
                </c:pt>
                <c:pt idx="887">
                  <c:v>21.7377049180328</c:v>
                </c:pt>
                <c:pt idx="888">
                  <c:v>21.77049180327869</c:v>
                </c:pt>
                <c:pt idx="889">
                  <c:v>21.80327868852459</c:v>
                </c:pt>
                <c:pt idx="890">
                  <c:v>21.8360655737705</c:v>
                </c:pt>
                <c:pt idx="891">
                  <c:v>21.86885245901641</c:v>
                </c:pt>
                <c:pt idx="892">
                  <c:v>21.86885245901641</c:v>
                </c:pt>
                <c:pt idx="893">
                  <c:v>21.90163934426218</c:v>
                </c:pt>
                <c:pt idx="894">
                  <c:v>21.9344262295082</c:v>
                </c:pt>
                <c:pt idx="895">
                  <c:v>21.9672131147541</c:v>
                </c:pt>
                <c:pt idx="896">
                  <c:v>22.0</c:v>
                </c:pt>
                <c:pt idx="897">
                  <c:v>22.03278688524588</c:v>
                </c:pt>
                <c:pt idx="898">
                  <c:v>22.06557377049178</c:v>
                </c:pt>
                <c:pt idx="899">
                  <c:v>22.0983606557377</c:v>
                </c:pt>
                <c:pt idx="900">
                  <c:v>22.13114754098359</c:v>
                </c:pt>
                <c:pt idx="901">
                  <c:v>22.16393442622951</c:v>
                </c:pt>
                <c:pt idx="902">
                  <c:v>22.16393442622951</c:v>
                </c:pt>
                <c:pt idx="903">
                  <c:v>22.19672131147541</c:v>
                </c:pt>
                <c:pt idx="904">
                  <c:v>22.22950819672131</c:v>
                </c:pt>
                <c:pt idx="905">
                  <c:v>22.26229508196698</c:v>
                </c:pt>
                <c:pt idx="906">
                  <c:v>22.26229508196698</c:v>
                </c:pt>
                <c:pt idx="907">
                  <c:v>22.29508196721313</c:v>
                </c:pt>
                <c:pt idx="908">
                  <c:v>22.32786885245902</c:v>
                </c:pt>
                <c:pt idx="909">
                  <c:v>22.32786885245902</c:v>
                </c:pt>
                <c:pt idx="910">
                  <c:v>22.36065573770492</c:v>
                </c:pt>
                <c:pt idx="911">
                  <c:v>22.36065573770492</c:v>
                </c:pt>
                <c:pt idx="912">
                  <c:v>22.39344262295081</c:v>
                </c:pt>
                <c:pt idx="913">
                  <c:v>22.39344262295081</c:v>
                </c:pt>
                <c:pt idx="914">
                  <c:v>22.42622950819672</c:v>
                </c:pt>
                <c:pt idx="915">
                  <c:v>22.45901639344262</c:v>
                </c:pt>
                <c:pt idx="916">
                  <c:v>22.49180327868853</c:v>
                </c:pt>
                <c:pt idx="917">
                  <c:v>22.49180327868853</c:v>
                </c:pt>
                <c:pt idx="918">
                  <c:v>22.52459016393442</c:v>
                </c:pt>
                <c:pt idx="919">
                  <c:v>22.55737704918033</c:v>
                </c:pt>
                <c:pt idx="920">
                  <c:v>22.59016393442623</c:v>
                </c:pt>
                <c:pt idx="921">
                  <c:v>22.62295081967213</c:v>
                </c:pt>
                <c:pt idx="922">
                  <c:v>22.65573770491803</c:v>
                </c:pt>
                <c:pt idx="923">
                  <c:v>22.65573770491803</c:v>
                </c:pt>
                <c:pt idx="924">
                  <c:v>22.68852459016364</c:v>
                </c:pt>
                <c:pt idx="925">
                  <c:v>22.68852459016364</c:v>
                </c:pt>
                <c:pt idx="926">
                  <c:v>22.72131147540984</c:v>
                </c:pt>
                <c:pt idx="927">
                  <c:v>22.72131147540984</c:v>
                </c:pt>
                <c:pt idx="928">
                  <c:v>22.75409836065575</c:v>
                </c:pt>
                <c:pt idx="929">
                  <c:v>22.78688524590164</c:v>
                </c:pt>
                <c:pt idx="930">
                  <c:v>22.78688524590164</c:v>
                </c:pt>
                <c:pt idx="931">
                  <c:v>22.81967213114754</c:v>
                </c:pt>
                <c:pt idx="932">
                  <c:v>22.85245901639344</c:v>
                </c:pt>
                <c:pt idx="933">
                  <c:v>22.85245901639344</c:v>
                </c:pt>
                <c:pt idx="934">
                  <c:v>22.88524590163932</c:v>
                </c:pt>
                <c:pt idx="935">
                  <c:v>22.91803278688525</c:v>
                </c:pt>
                <c:pt idx="936">
                  <c:v>22.95081967213108</c:v>
                </c:pt>
                <c:pt idx="937">
                  <c:v>22.95081967213108</c:v>
                </c:pt>
                <c:pt idx="938">
                  <c:v>22.98360655737674</c:v>
                </c:pt>
                <c:pt idx="939">
                  <c:v>22.98360655737674</c:v>
                </c:pt>
                <c:pt idx="940">
                  <c:v>23.0</c:v>
                </c:pt>
                <c:pt idx="941">
                  <c:v>23.01639344262296</c:v>
                </c:pt>
                <c:pt idx="942">
                  <c:v>23.04918032786885</c:v>
                </c:pt>
                <c:pt idx="943">
                  <c:v>23.04918032786885</c:v>
                </c:pt>
                <c:pt idx="944">
                  <c:v>23.08196721311475</c:v>
                </c:pt>
                <c:pt idx="945">
                  <c:v>23.08196721311475</c:v>
                </c:pt>
                <c:pt idx="946">
                  <c:v>23.11475409836066</c:v>
                </c:pt>
                <c:pt idx="947">
                  <c:v>23.14754098360656</c:v>
                </c:pt>
                <c:pt idx="948">
                  <c:v>23.14754098360656</c:v>
                </c:pt>
                <c:pt idx="949">
                  <c:v>23.18032786885246</c:v>
                </c:pt>
                <c:pt idx="950">
                  <c:v>23.21311475409836</c:v>
                </c:pt>
                <c:pt idx="951">
                  <c:v>23.24590163934425</c:v>
                </c:pt>
                <c:pt idx="952">
                  <c:v>23.24590163934425</c:v>
                </c:pt>
                <c:pt idx="953">
                  <c:v>23.27868852459016</c:v>
                </c:pt>
                <c:pt idx="954">
                  <c:v>23.27868852459016</c:v>
                </c:pt>
                <c:pt idx="955">
                  <c:v>23.31147540983606</c:v>
                </c:pt>
                <c:pt idx="956">
                  <c:v>23.34426229508196</c:v>
                </c:pt>
                <c:pt idx="957">
                  <c:v>23.37704918032787</c:v>
                </c:pt>
                <c:pt idx="958">
                  <c:v>23.40983606557376</c:v>
                </c:pt>
                <c:pt idx="959">
                  <c:v>23.44262295081962</c:v>
                </c:pt>
                <c:pt idx="960">
                  <c:v>23.47540983606528</c:v>
                </c:pt>
                <c:pt idx="961">
                  <c:v>23.50819672131147</c:v>
                </c:pt>
                <c:pt idx="962">
                  <c:v>23.54098360655738</c:v>
                </c:pt>
                <c:pt idx="963">
                  <c:v>23.54098360655738</c:v>
                </c:pt>
                <c:pt idx="964">
                  <c:v>23.57377049180328</c:v>
                </c:pt>
                <c:pt idx="965">
                  <c:v>23.60655737704919</c:v>
                </c:pt>
                <c:pt idx="966">
                  <c:v>23.60655737704919</c:v>
                </c:pt>
                <c:pt idx="967">
                  <c:v>23.63934426229508</c:v>
                </c:pt>
                <c:pt idx="968">
                  <c:v>23.67213114754098</c:v>
                </c:pt>
                <c:pt idx="969">
                  <c:v>23.70491803278688</c:v>
                </c:pt>
                <c:pt idx="970">
                  <c:v>23.70491803278688</c:v>
                </c:pt>
                <c:pt idx="971">
                  <c:v>23.7377049180328</c:v>
                </c:pt>
                <c:pt idx="972">
                  <c:v>23.77049180327869</c:v>
                </c:pt>
                <c:pt idx="973">
                  <c:v>23.77049180327869</c:v>
                </c:pt>
                <c:pt idx="974">
                  <c:v>23.80327868852459</c:v>
                </c:pt>
                <c:pt idx="975">
                  <c:v>23.8360655737705</c:v>
                </c:pt>
                <c:pt idx="976">
                  <c:v>23.86885245901641</c:v>
                </c:pt>
                <c:pt idx="977">
                  <c:v>23.86885245901641</c:v>
                </c:pt>
                <c:pt idx="978">
                  <c:v>23.90163934426218</c:v>
                </c:pt>
                <c:pt idx="979">
                  <c:v>23.90163934426218</c:v>
                </c:pt>
                <c:pt idx="980">
                  <c:v>23.9344262295082</c:v>
                </c:pt>
                <c:pt idx="981">
                  <c:v>23.9344262295082</c:v>
                </c:pt>
                <c:pt idx="982">
                  <c:v>23.9672131147541</c:v>
                </c:pt>
                <c:pt idx="983">
                  <c:v>23.9672131147541</c:v>
                </c:pt>
                <c:pt idx="984">
                  <c:v>24.0</c:v>
                </c:pt>
                <c:pt idx="985">
                  <c:v>24.0</c:v>
                </c:pt>
                <c:pt idx="986">
                  <c:v>24.03278688524588</c:v>
                </c:pt>
                <c:pt idx="987">
                  <c:v>24.03278688524588</c:v>
                </c:pt>
                <c:pt idx="988">
                  <c:v>24.06557377049178</c:v>
                </c:pt>
                <c:pt idx="989">
                  <c:v>24.06557377049178</c:v>
                </c:pt>
                <c:pt idx="990">
                  <c:v>24.0983606557377</c:v>
                </c:pt>
                <c:pt idx="991">
                  <c:v>24.13114754098359</c:v>
                </c:pt>
                <c:pt idx="992">
                  <c:v>24.13114754098359</c:v>
                </c:pt>
                <c:pt idx="993">
                  <c:v>24.16393442622951</c:v>
                </c:pt>
                <c:pt idx="994">
                  <c:v>24.16393442622951</c:v>
                </c:pt>
                <c:pt idx="995">
                  <c:v>24.19672131147541</c:v>
                </c:pt>
                <c:pt idx="996">
                  <c:v>24.22950819672131</c:v>
                </c:pt>
                <c:pt idx="997">
                  <c:v>24.26229508196698</c:v>
                </c:pt>
                <c:pt idx="998">
                  <c:v>24.29508196721313</c:v>
                </c:pt>
                <c:pt idx="999">
                  <c:v>24.32786885245902</c:v>
                </c:pt>
                <c:pt idx="1000">
                  <c:v>24.32786885245902</c:v>
                </c:pt>
                <c:pt idx="1001">
                  <c:v>24.36065573770492</c:v>
                </c:pt>
                <c:pt idx="1002">
                  <c:v>24.36065573770492</c:v>
                </c:pt>
                <c:pt idx="1003">
                  <c:v>24.39344262295081</c:v>
                </c:pt>
                <c:pt idx="1004">
                  <c:v>24.39344262295081</c:v>
                </c:pt>
                <c:pt idx="1005">
                  <c:v>24.42622950819672</c:v>
                </c:pt>
                <c:pt idx="1006">
                  <c:v>24.45901639344262</c:v>
                </c:pt>
                <c:pt idx="1007">
                  <c:v>24.45901639344262</c:v>
                </c:pt>
                <c:pt idx="1008">
                  <c:v>24.49180327868853</c:v>
                </c:pt>
                <c:pt idx="1009">
                  <c:v>24.52459016393442</c:v>
                </c:pt>
                <c:pt idx="1010">
                  <c:v>24.52459016393442</c:v>
                </c:pt>
                <c:pt idx="1011">
                  <c:v>24.55737704918033</c:v>
                </c:pt>
                <c:pt idx="1012">
                  <c:v>24.55737704918033</c:v>
                </c:pt>
                <c:pt idx="1013">
                  <c:v>24.59016393442623</c:v>
                </c:pt>
                <c:pt idx="1014">
                  <c:v>24.59016393442623</c:v>
                </c:pt>
                <c:pt idx="1015">
                  <c:v>24.62295081967213</c:v>
                </c:pt>
                <c:pt idx="1016">
                  <c:v>24.62295081967213</c:v>
                </c:pt>
                <c:pt idx="1017">
                  <c:v>24.65573770491803</c:v>
                </c:pt>
                <c:pt idx="1018">
                  <c:v>24.68852459016364</c:v>
                </c:pt>
                <c:pt idx="1019">
                  <c:v>24.72131147540984</c:v>
                </c:pt>
                <c:pt idx="1020">
                  <c:v>24.72131147540984</c:v>
                </c:pt>
                <c:pt idx="1021">
                  <c:v>24.75409836065575</c:v>
                </c:pt>
                <c:pt idx="1022">
                  <c:v>24.75409836065575</c:v>
                </c:pt>
                <c:pt idx="1023">
                  <c:v>24.78688524590164</c:v>
                </c:pt>
                <c:pt idx="1024">
                  <c:v>24.81967213114754</c:v>
                </c:pt>
                <c:pt idx="1025">
                  <c:v>24.81967213114754</c:v>
                </c:pt>
                <c:pt idx="1026">
                  <c:v>24.85245901639344</c:v>
                </c:pt>
                <c:pt idx="1027">
                  <c:v>24.85245901639344</c:v>
                </c:pt>
                <c:pt idx="1028">
                  <c:v>24.88524590163932</c:v>
                </c:pt>
                <c:pt idx="1029">
                  <c:v>24.91803278688525</c:v>
                </c:pt>
                <c:pt idx="1030">
                  <c:v>24.95081967213108</c:v>
                </c:pt>
                <c:pt idx="1031">
                  <c:v>24.98360655737674</c:v>
                </c:pt>
                <c:pt idx="1032">
                  <c:v>25.0</c:v>
                </c:pt>
                <c:pt idx="1033">
                  <c:v>25.01639344262296</c:v>
                </c:pt>
                <c:pt idx="1034">
                  <c:v>25.04918032786885</c:v>
                </c:pt>
                <c:pt idx="1035">
                  <c:v>25.08196721311475</c:v>
                </c:pt>
                <c:pt idx="1036">
                  <c:v>25.11475409836066</c:v>
                </c:pt>
                <c:pt idx="1037">
                  <c:v>25.14754098360656</c:v>
                </c:pt>
                <c:pt idx="1038">
                  <c:v>25.18032786885246</c:v>
                </c:pt>
                <c:pt idx="1039">
                  <c:v>25.18032786885246</c:v>
                </c:pt>
                <c:pt idx="1040">
                  <c:v>25.21311475409836</c:v>
                </c:pt>
                <c:pt idx="1041">
                  <c:v>25.24590163934425</c:v>
                </c:pt>
                <c:pt idx="1042">
                  <c:v>25.27868852459016</c:v>
                </c:pt>
                <c:pt idx="1043">
                  <c:v>25.31147540983606</c:v>
                </c:pt>
                <c:pt idx="1044">
                  <c:v>25.34426229508196</c:v>
                </c:pt>
                <c:pt idx="1045">
                  <c:v>25.37704918032787</c:v>
                </c:pt>
                <c:pt idx="1046">
                  <c:v>25.40983606557376</c:v>
                </c:pt>
                <c:pt idx="1047">
                  <c:v>25.40983606557376</c:v>
                </c:pt>
                <c:pt idx="1048">
                  <c:v>25.44262295081962</c:v>
                </c:pt>
                <c:pt idx="1049">
                  <c:v>25.44262295081962</c:v>
                </c:pt>
                <c:pt idx="1050">
                  <c:v>25.47540983606528</c:v>
                </c:pt>
                <c:pt idx="1051">
                  <c:v>25.47540983606528</c:v>
                </c:pt>
                <c:pt idx="1052">
                  <c:v>25.50819672131147</c:v>
                </c:pt>
                <c:pt idx="1053">
                  <c:v>25.54098360655738</c:v>
                </c:pt>
                <c:pt idx="1054">
                  <c:v>25.54098360655738</c:v>
                </c:pt>
                <c:pt idx="1055">
                  <c:v>25.57377049180328</c:v>
                </c:pt>
                <c:pt idx="1056">
                  <c:v>25.57377049180328</c:v>
                </c:pt>
                <c:pt idx="1057">
                  <c:v>25.60655737704919</c:v>
                </c:pt>
                <c:pt idx="1058">
                  <c:v>25.63934426229508</c:v>
                </c:pt>
                <c:pt idx="1059">
                  <c:v>25.63934426229508</c:v>
                </c:pt>
                <c:pt idx="1060">
                  <c:v>25.67213114754098</c:v>
                </c:pt>
                <c:pt idx="1061">
                  <c:v>25.70491803278688</c:v>
                </c:pt>
                <c:pt idx="1062">
                  <c:v>25.7377049180328</c:v>
                </c:pt>
                <c:pt idx="1063">
                  <c:v>25.77049180327868</c:v>
                </c:pt>
                <c:pt idx="1064">
                  <c:v>25.77049180327868</c:v>
                </c:pt>
                <c:pt idx="1065">
                  <c:v>25.80327868852459</c:v>
                </c:pt>
                <c:pt idx="1066">
                  <c:v>25.8360655737705</c:v>
                </c:pt>
                <c:pt idx="1067">
                  <c:v>25.86885245901641</c:v>
                </c:pt>
                <c:pt idx="1068">
                  <c:v>25.86885245901641</c:v>
                </c:pt>
                <c:pt idx="1069">
                  <c:v>25.90163934426218</c:v>
                </c:pt>
                <c:pt idx="1070">
                  <c:v>25.9344262295082</c:v>
                </c:pt>
                <c:pt idx="1071">
                  <c:v>25.9672131147541</c:v>
                </c:pt>
                <c:pt idx="1072">
                  <c:v>26.0</c:v>
                </c:pt>
                <c:pt idx="1073">
                  <c:v>26.03278688524588</c:v>
                </c:pt>
                <c:pt idx="1074">
                  <c:v>26.06557377049178</c:v>
                </c:pt>
                <c:pt idx="1075">
                  <c:v>26.06557377049178</c:v>
                </c:pt>
                <c:pt idx="1076">
                  <c:v>26.0983606557377</c:v>
                </c:pt>
                <c:pt idx="1077">
                  <c:v>26.13114754098359</c:v>
                </c:pt>
                <c:pt idx="1078">
                  <c:v>26.16393442622951</c:v>
                </c:pt>
                <c:pt idx="1079">
                  <c:v>26.19672131147541</c:v>
                </c:pt>
                <c:pt idx="1080">
                  <c:v>26.22950819672132</c:v>
                </c:pt>
                <c:pt idx="1081">
                  <c:v>26.26229508196698</c:v>
                </c:pt>
                <c:pt idx="1082">
                  <c:v>26.29508196721313</c:v>
                </c:pt>
                <c:pt idx="1083">
                  <c:v>26.32786885245902</c:v>
                </c:pt>
                <c:pt idx="1084">
                  <c:v>26.36065573770492</c:v>
                </c:pt>
                <c:pt idx="1085">
                  <c:v>26.39344262295081</c:v>
                </c:pt>
                <c:pt idx="1086">
                  <c:v>26.39344262295081</c:v>
                </c:pt>
                <c:pt idx="1087">
                  <c:v>26.42622950819672</c:v>
                </c:pt>
                <c:pt idx="1088">
                  <c:v>26.45901639344263</c:v>
                </c:pt>
                <c:pt idx="1089">
                  <c:v>26.49180327868853</c:v>
                </c:pt>
                <c:pt idx="1090">
                  <c:v>26.52459016393442</c:v>
                </c:pt>
                <c:pt idx="1091">
                  <c:v>26.55737704918033</c:v>
                </c:pt>
                <c:pt idx="1092">
                  <c:v>26.59016393442623</c:v>
                </c:pt>
                <c:pt idx="1093">
                  <c:v>26.62295081967213</c:v>
                </c:pt>
                <c:pt idx="1094">
                  <c:v>26.65573770491803</c:v>
                </c:pt>
                <c:pt idx="1095">
                  <c:v>26.68852459016364</c:v>
                </c:pt>
                <c:pt idx="1096">
                  <c:v>26.68852459016364</c:v>
                </c:pt>
                <c:pt idx="1097">
                  <c:v>26.72131147540984</c:v>
                </c:pt>
                <c:pt idx="1098">
                  <c:v>26.75409836065574</c:v>
                </c:pt>
                <c:pt idx="1099">
                  <c:v>26.75409836065574</c:v>
                </c:pt>
                <c:pt idx="1100">
                  <c:v>26.78688524590164</c:v>
                </c:pt>
                <c:pt idx="1101">
                  <c:v>26.78688524590164</c:v>
                </c:pt>
                <c:pt idx="1102">
                  <c:v>26.81967213114754</c:v>
                </c:pt>
                <c:pt idx="1103">
                  <c:v>26.85245901639344</c:v>
                </c:pt>
                <c:pt idx="1104">
                  <c:v>26.88524590163932</c:v>
                </c:pt>
                <c:pt idx="1105">
                  <c:v>26.91803278688522</c:v>
                </c:pt>
                <c:pt idx="1106">
                  <c:v>26.95081967213108</c:v>
                </c:pt>
                <c:pt idx="1107">
                  <c:v>26.98360655737675</c:v>
                </c:pt>
                <c:pt idx="1108">
                  <c:v>27.0</c:v>
                </c:pt>
                <c:pt idx="1109">
                  <c:v>27.01639344262295</c:v>
                </c:pt>
                <c:pt idx="1110">
                  <c:v>27.04918032786885</c:v>
                </c:pt>
                <c:pt idx="1111">
                  <c:v>27.04918032786885</c:v>
                </c:pt>
                <c:pt idx="1112">
                  <c:v>27.08196721311476</c:v>
                </c:pt>
                <c:pt idx="1113">
                  <c:v>27.11475409836066</c:v>
                </c:pt>
                <c:pt idx="1114">
                  <c:v>27.14754098360656</c:v>
                </c:pt>
                <c:pt idx="1115">
                  <c:v>27.18032786885246</c:v>
                </c:pt>
                <c:pt idx="1116">
                  <c:v>27.21311475409836</c:v>
                </c:pt>
                <c:pt idx="1117">
                  <c:v>27.24590163934426</c:v>
                </c:pt>
                <c:pt idx="1118">
                  <c:v>27.27868852459015</c:v>
                </c:pt>
                <c:pt idx="1119">
                  <c:v>27.27868852459015</c:v>
                </c:pt>
                <c:pt idx="1120">
                  <c:v>27.31147540983606</c:v>
                </c:pt>
                <c:pt idx="1121">
                  <c:v>27.34426229508196</c:v>
                </c:pt>
                <c:pt idx="1122">
                  <c:v>27.37704918032787</c:v>
                </c:pt>
                <c:pt idx="1123">
                  <c:v>27.40983606557376</c:v>
                </c:pt>
                <c:pt idx="1124">
                  <c:v>27.44262295081968</c:v>
                </c:pt>
                <c:pt idx="1125">
                  <c:v>27.47540983606528</c:v>
                </c:pt>
                <c:pt idx="1126">
                  <c:v>27.50819672131147</c:v>
                </c:pt>
                <c:pt idx="1127">
                  <c:v>27.54098360655737</c:v>
                </c:pt>
                <c:pt idx="1128">
                  <c:v>27.57377049180328</c:v>
                </c:pt>
                <c:pt idx="1129">
                  <c:v>27.60655737704919</c:v>
                </c:pt>
                <c:pt idx="1130">
                  <c:v>27.63934426229508</c:v>
                </c:pt>
                <c:pt idx="1131">
                  <c:v>27.67213114754099</c:v>
                </c:pt>
                <c:pt idx="1132">
                  <c:v>27.70491803278688</c:v>
                </c:pt>
                <c:pt idx="1133">
                  <c:v>27.7377049180328</c:v>
                </c:pt>
                <c:pt idx="1134">
                  <c:v>27.77049180327868</c:v>
                </c:pt>
                <c:pt idx="1135">
                  <c:v>27.80327868852459</c:v>
                </c:pt>
                <c:pt idx="1136">
                  <c:v>27.8360655737705</c:v>
                </c:pt>
                <c:pt idx="1137">
                  <c:v>27.8688524590164</c:v>
                </c:pt>
                <c:pt idx="1138">
                  <c:v>27.90163934426218</c:v>
                </c:pt>
                <c:pt idx="1139">
                  <c:v>27.9344262295082</c:v>
                </c:pt>
                <c:pt idx="1140">
                  <c:v>27.9672131147541</c:v>
                </c:pt>
                <c:pt idx="1141">
                  <c:v>28.0</c:v>
                </c:pt>
                <c:pt idx="1142">
                  <c:v>28.03278688524588</c:v>
                </c:pt>
                <c:pt idx="1143">
                  <c:v>28.03278688524588</c:v>
                </c:pt>
                <c:pt idx="1144">
                  <c:v>28.06557377049178</c:v>
                </c:pt>
                <c:pt idx="1145">
                  <c:v>28.0983606557377</c:v>
                </c:pt>
                <c:pt idx="1146">
                  <c:v>28.1311475409836</c:v>
                </c:pt>
                <c:pt idx="1147">
                  <c:v>28.1639344262295</c:v>
                </c:pt>
                <c:pt idx="1148">
                  <c:v>28.19672131147541</c:v>
                </c:pt>
                <c:pt idx="1149">
                  <c:v>28.22950819672132</c:v>
                </c:pt>
                <c:pt idx="1150">
                  <c:v>28.26229508196698</c:v>
                </c:pt>
                <c:pt idx="1151">
                  <c:v>28.29508196721313</c:v>
                </c:pt>
                <c:pt idx="1152">
                  <c:v>28.32786885245901</c:v>
                </c:pt>
                <c:pt idx="1153">
                  <c:v>28.36065573770492</c:v>
                </c:pt>
                <c:pt idx="1154">
                  <c:v>28.39344262295081</c:v>
                </c:pt>
                <c:pt idx="1155">
                  <c:v>28.42622950819672</c:v>
                </c:pt>
                <c:pt idx="1156">
                  <c:v>28.45901639344263</c:v>
                </c:pt>
                <c:pt idx="1157">
                  <c:v>28.49180327868853</c:v>
                </c:pt>
                <c:pt idx="1158">
                  <c:v>28.52459016393443</c:v>
                </c:pt>
                <c:pt idx="1159">
                  <c:v>28.55737704918032</c:v>
                </c:pt>
                <c:pt idx="1160">
                  <c:v>28.59016393442623</c:v>
                </c:pt>
                <c:pt idx="1161">
                  <c:v>28.62295081967213</c:v>
                </c:pt>
                <c:pt idx="1162">
                  <c:v>28.65573770491802</c:v>
                </c:pt>
                <c:pt idx="1163">
                  <c:v>28.65573770491802</c:v>
                </c:pt>
                <c:pt idx="1164">
                  <c:v>28.68852459016364</c:v>
                </c:pt>
                <c:pt idx="1165">
                  <c:v>28.72131147540984</c:v>
                </c:pt>
                <c:pt idx="1166">
                  <c:v>28.75409836065574</c:v>
                </c:pt>
                <c:pt idx="1167">
                  <c:v>28.78688524590164</c:v>
                </c:pt>
                <c:pt idx="1168">
                  <c:v>28.81967213114754</c:v>
                </c:pt>
                <c:pt idx="1169">
                  <c:v>28.85245901639344</c:v>
                </c:pt>
                <c:pt idx="1170">
                  <c:v>28.88524590163932</c:v>
                </c:pt>
                <c:pt idx="1171">
                  <c:v>28.91803278688522</c:v>
                </c:pt>
                <c:pt idx="1172">
                  <c:v>28.95081967213108</c:v>
                </c:pt>
                <c:pt idx="1173">
                  <c:v>28.98360655737675</c:v>
                </c:pt>
                <c:pt idx="1174">
                  <c:v>29.0</c:v>
                </c:pt>
                <c:pt idx="1175">
                  <c:v>29.01639344262295</c:v>
                </c:pt>
                <c:pt idx="1176">
                  <c:v>29.04918032786885</c:v>
                </c:pt>
                <c:pt idx="1177">
                  <c:v>29.08196721311476</c:v>
                </c:pt>
                <c:pt idx="1178">
                  <c:v>29.11475409836066</c:v>
                </c:pt>
                <c:pt idx="1179">
                  <c:v>29.14754098360656</c:v>
                </c:pt>
                <c:pt idx="1180">
                  <c:v>29.18032786885246</c:v>
                </c:pt>
                <c:pt idx="1181">
                  <c:v>29.21311475409836</c:v>
                </c:pt>
                <c:pt idx="1182">
                  <c:v>29.24590163934426</c:v>
                </c:pt>
                <c:pt idx="1183">
                  <c:v>29.27868852459015</c:v>
                </c:pt>
                <c:pt idx="1184">
                  <c:v>29.31147540983606</c:v>
                </c:pt>
                <c:pt idx="1185">
                  <c:v>29.31147540983606</c:v>
                </c:pt>
                <c:pt idx="1186">
                  <c:v>29.34426229508196</c:v>
                </c:pt>
                <c:pt idx="1187">
                  <c:v>29.37704918032787</c:v>
                </c:pt>
                <c:pt idx="1188">
                  <c:v>29.40983606557376</c:v>
                </c:pt>
                <c:pt idx="1189">
                  <c:v>29.44262295081968</c:v>
                </c:pt>
                <c:pt idx="1190">
                  <c:v>29.47540983606528</c:v>
                </c:pt>
                <c:pt idx="1191">
                  <c:v>29.50819672131147</c:v>
                </c:pt>
                <c:pt idx="1192">
                  <c:v>29.54098360655737</c:v>
                </c:pt>
                <c:pt idx="1193">
                  <c:v>29.57377049180328</c:v>
                </c:pt>
                <c:pt idx="1194">
                  <c:v>29.60655737704917</c:v>
                </c:pt>
                <c:pt idx="1195">
                  <c:v>29.63934426229508</c:v>
                </c:pt>
                <c:pt idx="1196">
                  <c:v>29.67213114754099</c:v>
                </c:pt>
                <c:pt idx="1197">
                  <c:v>29.70491803278688</c:v>
                </c:pt>
                <c:pt idx="1198">
                  <c:v>29.7377049180328</c:v>
                </c:pt>
                <c:pt idx="1199">
                  <c:v>29.77049180327868</c:v>
                </c:pt>
                <c:pt idx="1200">
                  <c:v>29.8032786885246</c:v>
                </c:pt>
                <c:pt idx="1201">
                  <c:v>29.8360655737705</c:v>
                </c:pt>
                <c:pt idx="1202">
                  <c:v>29.8688524590164</c:v>
                </c:pt>
                <c:pt idx="1203">
                  <c:v>29.90163934426218</c:v>
                </c:pt>
                <c:pt idx="1204">
                  <c:v>29.9344262295082</c:v>
                </c:pt>
                <c:pt idx="1205">
                  <c:v>29.9672131147541</c:v>
                </c:pt>
                <c:pt idx="1206">
                  <c:v>30.0</c:v>
                </c:pt>
                <c:pt idx="1207">
                  <c:v>30.03278688524588</c:v>
                </c:pt>
                <c:pt idx="1208">
                  <c:v>30.0655737704918</c:v>
                </c:pt>
                <c:pt idx="1209">
                  <c:v>30.0983606557377</c:v>
                </c:pt>
                <c:pt idx="1210">
                  <c:v>30.1311475409836</c:v>
                </c:pt>
                <c:pt idx="1211">
                  <c:v>30.1639344262295</c:v>
                </c:pt>
                <c:pt idx="1212">
                  <c:v>30.1967213114754</c:v>
                </c:pt>
                <c:pt idx="1213">
                  <c:v>30.22950819672132</c:v>
                </c:pt>
                <c:pt idx="1214">
                  <c:v>30.26229508196698</c:v>
                </c:pt>
                <c:pt idx="1215">
                  <c:v>30.29508196721313</c:v>
                </c:pt>
                <c:pt idx="1216">
                  <c:v>30.32786885245901</c:v>
                </c:pt>
                <c:pt idx="1217">
                  <c:v>30.36065573770492</c:v>
                </c:pt>
                <c:pt idx="1218">
                  <c:v>30.39344262295081</c:v>
                </c:pt>
                <c:pt idx="1219">
                  <c:v>30.42622950819672</c:v>
                </c:pt>
                <c:pt idx="1220">
                  <c:v>30.45901639344263</c:v>
                </c:pt>
                <c:pt idx="1221">
                  <c:v>30.49180327868853</c:v>
                </c:pt>
                <c:pt idx="1222">
                  <c:v>30.52459016393443</c:v>
                </c:pt>
                <c:pt idx="1223">
                  <c:v>30.55737704918032</c:v>
                </c:pt>
                <c:pt idx="1224">
                  <c:v>30.59016393442623</c:v>
                </c:pt>
                <c:pt idx="1225">
                  <c:v>30.62295081967213</c:v>
                </c:pt>
                <c:pt idx="1226">
                  <c:v>30.65573770491802</c:v>
                </c:pt>
                <c:pt idx="1227">
                  <c:v>30.68852459016364</c:v>
                </c:pt>
                <c:pt idx="1228">
                  <c:v>30.72131147540984</c:v>
                </c:pt>
                <c:pt idx="1229">
                  <c:v>30.75409836065574</c:v>
                </c:pt>
                <c:pt idx="1230">
                  <c:v>30.78688524590164</c:v>
                </c:pt>
                <c:pt idx="1231">
                  <c:v>30.81967213114754</c:v>
                </c:pt>
                <c:pt idx="1232">
                  <c:v>30.85245901639344</c:v>
                </c:pt>
                <c:pt idx="1233">
                  <c:v>30.88524590163932</c:v>
                </c:pt>
                <c:pt idx="1234">
                  <c:v>30.91803278688522</c:v>
                </c:pt>
                <c:pt idx="1235">
                  <c:v>30.95081967213108</c:v>
                </c:pt>
                <c:pt idx="1236">
                  <c:v>30.98360655737675</c:v>
                </c:pt>
                <c:pt idx="1237">
                  <c:v>31.0</c:v>
                </c:pt>
                <c:pt idx="1238">
                  <c:v>31.01639344262295</c:v>
                </c:pt>
                <c:pt idx="1239">
                  <c:v>31.04918032786885</c:v>
                </c:pt>
                <c:pt idx="1240">
                  <c:v>31.08196721311476</c:v>
                </c:pt>
                <c:pt idx="1241">
                  <c:v>31.11475409836066</c:v>
                </c:pt>
                <c:pt idx="1242">
                  <c:v>31.14754098360656</c:v>
                </c:pt>
                <c:pt idx="1243">
                  <c:v>31.18032786885246</c:v>
                </c:pt>
                <c:pt idx="1244">
                  <c:v>31.21311475409836</c:v>
                </c:pt>
                <c:pt idx="1245">
                  <c:v>31.24590163934426</c:v>
                </c:pt>
                <c:pt idx="1246">
                  <c:v>31.27868852459015</c:v>
                </c:pt>
                <c:pt idx="1247">
                  <c:v>31.31147540983606</c:v>
                </c:pt>
                <c:pt idx="1248">
                  <c:v>31.34426229508196</c:v>
                </c:pt>
                <c:pt idx="1249">
                  <c:v>31.37704918032787</c:v>
                </c:pt>
                <c:pt idx="1250">
                  <c:v>31.40983606557376</c:v>
                </c:pt>
                <c:pt idx="1251">
                  <c:v>31.44262295081968</c:v>
                </c:pt>
                <c:pt idx="1252">
                  <c:v>31.47540983606528</c:v>
                </c:pt>
                <c:pt idx="1253">
                  <c:v>31.50819672131147</c:v>
                </c:pt>
                <c:pt idx="1254">
                  <c:v>31.54098360655737</c:v>
                </c:pt>
                <c:pt idx="1255">
                  <c:v>31.57377049180328</c:v>
                </c:pt>
                <c:pt idx="1256">
                  <c:v>31.60655737704917</c:v>
                </c:pt>
                <c:pt idx="1257">
                  <c:v>31.63934426229508</c:v>
                </c:pt>
                <c:pt idx="1258">
                  <c:v>31.67213114754099</c:v>
                </c:pt>
                <c:pt idx="1259">
                  <c:v>31.70491803278688</c:v>
                </c:pt>
                <c:pt idx="1260">
                  <c:v>31.7377049180328</c:v>
                </c:pt>
                <c:pt idx="1261">
                  <c:v>31.77049180327868</c:v>
                </c:pt>
                <c:pt idx="1262">
                  <c:v>31.8032786885246</c:v>
                </c:pt>
                <c:pt idx="1263">
                  <c:v>31.8360655737705</c:v>
                </c:pt>
                <c:pt idx="1264">
                  <c:v>31.8688524590164</c:v>
                </c:pt>
                <c:pt idx="1265">
                  <c:v>31.90163934426218</c:v>
                </c:pt>
                <c:pt idx="1266">
                  <c:v>31.9344262295082</c:v>
                </c:pt>
                <c:pt idx="1267">
                  <c:v>31.9672131147541</c:v>
                </c:pt>
                <c:pt idx="1268">
                  <c:v>32.0</c:v>
                </c:pt>
                <c:pt idx="1269">
                  <c:v>32.0327868852459</c:v>
                </c:pt>
                <c:pt idx="1270">
                  <c:v>32.0655737704918</c:v>
                </c:pt>
                <c:pt idx="1271">
                  <c:v>32.09836065573771</c:v>
                </c:pt>
                <c:pt idx="1272">
                  <c:v>32.1311475409836</c:v>
                </c:pt>
                <c:pt idx="1273">
                  <c:v>32.1639344262295</c:v>
                </c:pt>
                <c:pt idx="1274">
                  <c:v>32.19672131147541</c:v>
                </c:pt>
                <c:pt idx="1275">
                  <c:v>32.22950819672136</c:v>
                </c:pt>
                <c:pt idx="1276">
                  <c:v>32.26229508196721</c:v>
                </c:pt>
                <c:pt idx="1277">
                  <c:v>32.327868852459</c:v>
                </c:pt>
                <c:pt idx="1278">
                  <c:v>32.36065573770492</c:v>
                </c:pt>
                <c:pt idx="1279">
                  <c:v>32.39344262295082</c:v>
                </c:pt>
                <c:pt idx="1280">
                  <c:v>32.42622950819673</c:v>
                </c:pt>
                <c:pt idx="1281">
                  <c:v>32.45901639344233</c:v>
                </c:pt>
                <c:pt idx="1282">
                  <c:v>32.5573770491803</c:v>
                </c:pt>
                <c:pt idx="1283">
                  <c:v>32.59016393442623</c:v>
                </c:pt>
                <c:pt idx="1284">
                  <c:v>32.62295081967213</c:v>
                </c:pt>
                <c:pt idx="1285">
                  <c:v>32.65573770491803</c:v>
                </c:pt>
                <c:pt idx="1286">
                  <c:v>32.72131147540984</c:v>
                </c:pt>
                <c:pt idx="1287">
                  <c:v>32.75409836065574</c:v>
                </c:pt>
                <c:pt idx="1288">
                  <c:v>32.78688524590164</c:v>
                </c:pt>
                <c:pt idx="1289">
                  <c:v>32.88524590163932</c:v>
                </c:pt>
                <c:pt idx="1290">
                  <c:v>33.0</c:v>
                </c:pt>
              </c:numCache>
            </c:numRef>
          </c:xVal>
          <c:yVal>
            <c:numRef>
              <c:f>'Scatter chart - by week'!$B$2:$B$1292</c:f>
              <c:numCache>
                <c:formatCode>General</c:formatCode>
                <c:ptCount val="1291"/>
                <c:pt idx="0">
                  <c:v>0.0</c:v>
                </c:pt>
                <c:pt idx="1">
                  <c:v>0.0</c:v>
                </c:pt>
                <c:pt idx="2">
                  <c:v>0.0</c:v>
                </c:pt>
                <c:pt idx="3">
                  <c:v>0.0262123197902975</c:v>
                </c:pt>
                <c:pt idx="4">
                  <c:v>0.0262123197902975</c:v>
                </c:pt>
                <c:pt idx="5">
                  <c:v>0.0262123197902975</c:v>
                </c:pt>
                <c:pt idx="6">
                  <c:v>0.0262123197902975</c:v>
                </c:pt>
                <c:pt idx="7">
                  <c:v>0.052424639580595</c:v>
                </c:pt>
                <c:pt idx="8">
                  <c:v>0.052424639580595</c:v>
                </c:pt>
                <c:pt idx="9">
                  <c:v>0.0786369593708925</c:v>
                </c:pt>
                <c:pt idx="10">
                  <c:v>0.0786369593708925</c:v>
                </c:pt>
                <c:pt idx="11">
                  <c:v>0.0786369593708925</c:v>
                </c:pt>
                <c:pt idx="12">
                  <c:v>0.10484927916119</c:v>
                </c:pt>
                <c:pt idx="13">
                  <c:v>0.10484927916119</c:v>
                </c:pt>
                <c:pt idx="14">
                  <c:v>0.10484927916119</c:v>
                </c:pt>
                <c:pt idx="15">
                  <c:v>0.10484927916119</c:v>
                </c:pt>
                <c:pt idx="16">
                  <c:v>0.10484927916119</c:v>
                </c:pt>
                <c:pt idx="17">
                  <c:v>0.10484927916119</c:v>
                </c:pt>
                <c:pt idx="18">
                  <c:v>0.131061598951498</c:v>
                </c:pt>
                <c:pt idx="19">
                  <c:v>0.131061598951498</c:v>
                </c:pt>
                <c:pt idx="20">
                  <c:v>0.131061598951498</c:v>
                </c:pt>
                <c:pt idx="21">
                  <c:v>0.157280800421977</c:v>
                </c:pt>
                <c:pt idx="22">
                  <c:v>0.157280800421977</c:v>
                </c:pt>
                <c:pt idx="23">
                  <c:v>0.209719203362935</c:v>
                </c:pt>
                <c:pt idx="24">
                  <c:v>0.209719203362935</c:v>
                </c:pt>
                <c:pt idx="25">
                  <c:v>0.235938404833413</c:v>
                </c:pt>
                <c:pt idx="26">
                  <c:v>0.235938404833413</c:v>
                </c:pt>
                <c:pt idx="27">
                  <c:v>0.235938404833413</c:v>
                </c:pt>
                <c:pt idx="28">
                  <c:v>0.235938404833413</c:v>
                </c:pt>
                <c:pt idx="29">
                  <c:v>0.262157606303892</c:v>
                </c:pt>
                <c:pt idx="30">
                  <c:v>0.262157606303892</c:v>
                </c:pt>
                <c:pt idx="31">
                  <c:v>0.288376807774371</c:v>
                </c:pt>
                <c:pt idx="32">
                  <c:v>0.288376807774371</c:v>
                </c:pt>
                <c:pt idx="33">
                  <c:v>0.288376807774371</c:v>
                </c:pt>
                <c:pt idx="34">
                  <c:v>0.288376807774371</c:v>
                </c:pt>
                <c:pt idx="35">
                  <c:v>0.31459600924485</c:v>
                </c:pt>
                <c:pt idx="36">
                  <c:v>0.31459600924485</c:v>
                </c:pt>
                <c:pt idx="37">
                  <c:v>0.31459600924485</c:v>
                </c:pt>
                <c:pt idx="38">
                  <c:v>0.31459600924485</c:v>
                </c:pt>
                <c:pt idx="39">
                  <c:v>0.31459600924485</c:v>
                </c:pt>
                <c:pt idx="40">
                  <c:v>0.340822108689931</c:v>
                </c:pt>
                <c:pt idx="41">
                  <c:v>0.340822108689931</c:v>
                </c:pt>
                <c:pt idx="42">
                  <c:v>0.340822108689931</c:v>
                </c:pt>
                <c:pt idx="43">
                  <c:v>0.367055111556824</c:v>
                </c:pt>
                <c:pt idx="44">
                  <c:v>0.367055111556824</c:v>
                </c:pt>
                <c:pt idx="45">
                  <c:v>0.393288114423718</c:v>
                </c:pt>
                <c:pt idx="46">
                  <c:v>0.393288114423718</c:v>
                </c:pt>
                <c:pt idx="47">
                  <c:v>0.393288114423718</c:v>
                </c:pt>
                <c:pt idx="48">
                  <c:v>0.393288114423718</c:v>
                </c:pt>
                <c:pt idx="49">
                  <c:v>0.419521117290611</c:v>
                </c:pt>
                <c:pt idx="50">
                  <c:v>0.419521117290611</c:v>
                </c:pt>
                <c:pt idx="51">
                  <c:v>0.44576103267473</c:v>
                </c:pt>
                <c:pt idx="52">
                  <c:v>0.44576103267473</c:v>
                </c:pt>
                <c:pt idx="53">
                  <c:v>0.472000948058848</c:v>
                </c:pt>
                <c:pt idx="54">
                  <c:v>0.472000948058848</c:v>
                </c:pt>
                <c:pt idx="55">
                  <c:v>0.498240863442956</c:v>
                </c:pt>
                <c:pt idx="56">
                  <c:v>0.498240863442956</c:v>
                </c:pt>
                <c:pt idx="57">
                  <c:v>0.524480778827074</c:v>
                </c:pt>
                <c:pt idx="58">
                  <c:v>0.524480778827074</c:v>
                </c:pt>
                <c:pt idx="59">
                  <c:v>0.524480778827074</c:v>
                </c:pt>
                <c:pt idx="60">
                  <c:v>0.524480778827074</c:v>
                </c:pt>
                <c:pt idx="61">
                  <c:v>0.550720694211193</c:v>
                </c:pt>
                <c:pt idx="62">
                  <c:v>0.550720694211193</c:v>
                </c:pt>
                <c:pt idx="63">
                  <c:v>0.550720694211193</c:v>
                </c:pt>
                <c:pt idx="64">
                  <c:v>0.550720694211193</c:v>
                </c:pt>
                <c:pt idx="65">
                  <c:v>0.603200524979419</c:v>
                </c:pt>
                <c:pt idx="66">
                  <c:v>0.603200524979419</c:v>
                </c:pt>
                <c:pt idx="67">
                  <c:v>0.603200524979419</c:v>
                </c:pt>
                <c:pt idx="68">
                  <c:v>0.603200524979419</c:v>
                </c:pt>
                <c:pt idx="69">
                  <c:v>0.6294473693087</c:v>
                </c:pt>
                <c:pt idx="70">
                  <c:v>0.6294473693087</c:v>
                </c:pt>
                <c:pt idx="71">
                  <c:v>0.6294473693087</c:v>
                </c:pt>
                <c:pt idx="72">
                  <c:v>0.6294473693087</c:v>
                </c:pt>
                <c:pt idx="73">
                  <c:v>0.6294473693087</c:v>
                </c:pt>
                <c:pt idx="74">
                  <c:v>0.6294473693087</c:v>
                </c:pt>
                <c:pt idx="75">
                  <c:v>0.655694213637992</c:v>
                </c:pt>
                <c:pt idx="76">
                  <c:v>0.655694213637992</c:v>
                </c:pt>
                <c:pt idx="77">
                  <c:v>0.655694213637992</c:v>
                </c:pt>
                <c:pt idx="78">
                  <c:v>0.655694213637992</c:v>
                </c:pt>
                <c:pt idx="79">
                  <c:v>0.655694213637992</c:v>
                </c:pt>
                <c:pt idx="80">
                  <c:v>0.655694213637992</c:v>
                </c:pt>
                <c:pt idx="81">
                  <c:v>0.708201774835848</c:v>
                </c:pt>
                <c:pt idx="82">
                  <c:v>0.708201774835848</c:v>
                </c:pt>
                <c:pt idx="83">
                  <c:v>0.708201774835848</c:v>
                </c:pt>
                <c:pt idx="84">
                  <c:v>0.708201774835848</c:v>
                </c:pt>
                <c:pt idx="85">
                  <c:v>0.76072322324906</c:v>
                </c:pt>
                <c:pt idx="86">
                  <c:v>0.76072322324906</c:v>
                </c:pt>
                <c:pt idx="87">
                  <c:v>0.76072322324906</c:v>
                </c:pt>
                <c:pt idx="88">
                  <c:v>0.76072322324906</c:v>
                </c:pt>
                <c:pt idx="89">
                  <c:v>0.76072322324906</c:v>
                </c:pt>
                <c:pt idx="90">
                  <c:v>0.76072322324906</c:v>
                </c:pt>
                <c:pt idx="91">
                  <c:v>0.786990898414952</c:v>
                </c:pt>
                <c:pt idx="92">
                  <c:v>0.786990898414952</c:v>
                </c:pt>
                <c:pt idx="93">
                  <c:v>0.813258573580855</c:v>
                </c:pt>
                <c:pt idx="94">
                  <c:v>0.813258573580855</c:v>
                </c:pt>
                <c:pt idx="95">
                  <c:v>0.865807840561739</c:v>
                </c:pt>
                <c:pt idx="96">
                  <c:v>0.865807840561739</c:v>
                </c:pt>
                <c:pt idx="97">
                  <c:v>0.865807840561739</c:v>
                </c:pt>
                <c:pt idx="98">
                  <c:v>0.865807840561739</c:v>
                </c:pt>
                <c:pt idx="99">
                  <c:v>0.892082474052181</c:v>
                </c:pt>
                <c:pt idx="100">
                  <c:v>0.892082474052181</c:v>
                </c:pt>
                <c:pt idx="101">
                  <c:v>0.918357107542622</c:v>
                </c:pt>
                <c:pt idx="102">
                  <c:v>0.918357107542622</c:v>
                </c:pt>
                <c:pt idx="103">
                  <c:v>0.944631741033064</c:v>
                </c:pt>
                <c:pt idx="104">
                  <c:v>0.944631741033064</c:v>
                </c:pt>
                <c:pt idx="105">
                  <c:v>0.970906374523506</c:v>
                </c:pt>
                <c:pt idx="106">
                  <c:v>0.970906374523506</c:v>
                </c:pt>
                <c:pt idx="107">
                  <c:v>0.970906374523506</c:v>
                </c:pt>
                <c:pt idx="108">
                  <c:v>0.970906374523506</c:v>
                </c:pt>
                <c:pt idx="109">
                  <c:v>0.970906374523506</c:v>
                </c:pt>
                <c:pt idx="110">
                  <c:v>0.970906374523506</c:v>
                </c:pt>
                <c:pt idx="111">
                  <c:v>0.970906374523506</c:v>
                </c:pt>
                <c:pt idx="112">
                  <c:v>0.970906374523506</c:v>
                </c:pt>
                <c:pt idx="113">
                  <c:v>0.970906374523506</c:v>
                </c:pt>
                <c:pt idx="114">
                  <c:v>0.970906374523506</c:v>
                </c:pt>
                <c:pt idx="115">
                  <c:v>0.970906374523506</c:v>
                </c:pt>
                <c:pt idx="116">
                  <c:v>1.02346958770052</c:v>
                </c:pt>
                <c:pt idx="117">
                  <c:v>1.02346958770052</c:v>
                </c:pt>
                <c:pt idx="118">
                  <c:v>1.02346958770052</c:v>
                </c:pt>
                <c:pt idx="119">
                  <c:v>1.02346958770052</c:v>
                </c:pt>
                <c:pt idx="120">
                  <c:v>1.049751194289028</c:v>
                </c:pt>
                <c:pt idx="121">
                  <c:v>1.049751194289028</c:v>
                </c:pt>
                <c:pt idx="122">
                  <c:v>1.049751194289028</c:v>
                </c:pt>
                <c:pt idx="123">
                  <c:v>1.049751194289028</c:v>
                </c:pt>
                <c:pt idx="124">
                  <c:v>1.049751194289028</c:v>
                </c:pt>
                <c:pt idx="125">
                  <c:v>1.049751194289028</c:v>
                </c:pt>
                <c:pt idx="126">
                  <c:v>1.049751194289028</c:v>
                </c:pt>
                <c:pt idx="127">
                  <c:v>1.049751194289028</c:v>
                </c:pt>
                <c:pt idx="128">
                  <c:v>1.076032800877536</c:v>
                </c:pt>
                <c:pt idx="129">
                  <c:v>1.076032800877536</c:v>
                </c:pt>
                <c:pt idx="130">
                  <c:v>1.076032800877536</c:v>
                </c:pt>
                <c:pt idx="131">
                  <c:v>1.076032800877536</c:v>
                </c:pt>
                <c:pt idx="132">
                  <c:v>1.076032800877536</c:v>
                </c:pt>
                <c:pt idx="133">
                  <c:v>1.076032800877536</c:v>
                </c:pt>
                <c:pt idx="134">
                  <c:v>1.154898573292462</c:v>
                </c:pt>
                <c:pt idx="135">
                  <c:v>1.154898573292462</c:v>
                </c:pt>
                <c:pt idx="136">
                  <c:v>1.154898573292462</c:v>
                </c:pt>
                <c:pt idx="137">
                  <c:v>1.154898573292462</c:v>
                </c:pt>
                <c:pt idx="138">
                  <c:v>1.154898573292462</c:v>
                </c:pt>
                <c:pt idx="139">
                  <c:v>1.154898573292462</c:v>
                </c:pt>
                <c:pt idx="140">
                  <c:v>1.18118716409743</c:v>
                </c:pt>
                <c:pt idx="141">
                  <c:v>1.18118716409743</c:v>
                </c:pt>
                <c:pt idx="142">
                  <c:v>1.207475754902409</c:v>
                </c:pt>
                <c:pt idx="143">
                  <c:v>1.207475754902409</c:v>
                </c:pt>
                <c:pt idx="144">
                  <c:v>1.233764345707377</c:v>
                </c:pt>
                <c:pt idx="145">
                  <c:v>1.233764345707377</c:v>
                </c:pt>
                <c:pt idx="146">
                  <c:v>1.260052936512357</c:v>
                </c:pt>
                <c:pt idx="147">
                  <c:v>1.260052936512357</c:v>
                </c:pt>
                <c:pt idx="148">
                  <c:v>1.260052936512357</c:v>
                </c:pt>
                <c:pt idx="149">
                  <c:v>1.260052936512357</c:v>
                </c:pt>
                <c:pt idx="150">
                  <c:v>1.260052936512357</c:v>
                </c:pt>
                <c:pt idx="151">
                  <c:v>1.286348528273607</c:v>
                </c:pt>
                <c:pt idx="152">
                  <c:v>1.286348528273607</c:v>
                </c:pt>
                <c:pt idx="153">
                  <c:v>1.286348528273607</c:v>
                </c:pt>
                <c:pt idx="154">
                  <c:v>1.286348528273607</c:v>
                </c:pt>
                <c:pt idx="155">
                  <c:v>1.286348528273607</c:v>
                </c:pt>
                <c:pt idx="156">
                  <c:v>1.286348528273607</c:v>
                </c:pt>
                <c:pt idx="157">
                  <c:v>1.312644120034855</c:v>
                </c:pt>
                <c:pt idx="158">
                  <c:v>1.312644120034855</c:v>
                </c:pt>
                <c:pt idx="159">
                  <c:v>1.338939711796105</c:v>
                </c:pt>
                <c:pt idx="160">
                  <c:v>1.338939711796105</c:v>
                </c:pt>
                <c:pt idx="161">
                  <c:v>1.338939711796105</c:v>
                </c:pt>
                <c:pt idx="162">
                  <c:v>1.338939711796105</c:v>
                </c:pt>
                <c:pt idx="163">
                  <c:v>1.338939711796105</c:v>
                </c:pt>
                <c:pt idx="164">
                  <c:v>1.338939711796105</c:v>
                </c:pt>
                <c:pt idx="165">
                  <c:v>1.338939711796105</c:v>
                </c:pt>
                <c:pt idx="166">
                  <c:v>1.365249327872952</c:v>
                </c:pt>
                <c:pt idx="167">
                  <c:v>1.365249327872952</c:v>
                </c:pt>
                <c:pt idx="168">
                  <c:v>1.365249327872952</c:v>
                </c:pt>
                <c:pt idx="169">
                  <c:v>1.365249327872952</c:v>
                </c:pt>
                <c:pt idx="170">
                  <c:v>1.365249327872952</c:v>
                </c:pt>
                <c:pt idx="171">
                  <c:v>1.391565963591246</c:v>
                </c:pt>
                <c:pt idx="172">
                  <c:v>1.391565963591246</c:v>
                </c:pt>
                <c:pt idx="173">
                  <c:v>1.391565963591246</c:v>
                </c:pt>
                <c:pt idx="174">
                  <c:v>1.391565963591246</c:v>
                </c:pt>
                <c:pt idx="175">
                  <c:v>1.417882599309528</c:v>
                </c:pt>
                <c:pt idx="176">
                  <c:v>1.417882599309528</c:v>
                </c:pt>
                <c:pt idx="177">
                  <c:v>1.44419923502781</c:v>
                </c:pt>
                <c:pt idx="178">
                  <c:v>1.44419923502781</c:v>
                </c:pt>
                <c:pt idx="179">
                  <c:v>1.44419923502781</c:v>
                </c:pt>
                <c:pt idx="180">
                  <c:v>1.44419923502781</c:v>
                </c:pt>
                <c:pt idx="181">
                  <c:v>1.470515870746092</c:v>
                </c:pt>
                <c:pt idx="182">
                  <c:v>1.470515870746092</c:v>
                </c:pt>
                <c:pt idx="183">
                  <c:v>1.49683953735823</c:v>
                </c:pt>
                <c:pt idx="184">
                  <c:v>1.49683953735823</c:v>
                </c:pt>
                <c:pt idx="185">
                  <c:v>1.49683953735823</c:v>
                </c:pt>
                <c:pt idx="186">
                  <c:v>1.49683953735823</c:v>
                </c:pt>
                <c:pt idx="187">
                  <c:v>1.49683953735823</c:v>
                </c:pt>
                <c:pt idx="188">
                  <c:v>1.49683953735823</c:v>
                </c:pt>
                <c:pt idx="189">
                  <c:v>1.49683953735823</c:v>
                </c:pt>
                <c:pt idx="190">
                  <c:v>1.49683953735823</c:v>
                </c:pt>
                <c:pt idx="191">
                  <c:v>1.49683953735823</c:v>
                </c:pt>
                <c:pt idx="192">
                  <c:v>1.523163203970368</c:v>
                </c:pt>
                <c:pt idx="193">
                  <c:v>1.523163203970368</c:v>
                </c:pt>
                <c:pt idx="194">
                  <c:v>1.549486870582506</c:v>
                </c:pt>
                <c:pt idx="195">
                  <c:v>1.549486870582506</c:v>
                </c:pt>
                <c:pt idx="196">
                  <c:v>1.549486870582506</c:v>
                </c:pt>
                <c:pt idx="197">
                  <c:v>1.549486870582506</c:v>
                </c:pt>
                <c:pt idx="198">
                  <c:v>1.549486870582506</c:v>
                </c:pt>
                <c:pt idx="199">
                  <c:v>1.549486870582506</c:v>
                </c:pt>
                <c:pt idx="200">
                  <c:v>1.575810537194644</c:v>
                </c:pt>
                <c:pt idx="201">
                  <c:v>1.575810537194644</c:v>
                </c:pt>
                <c:pt idx="202">
                  <c:v>1.602141245986189</c:v>
                </c:pt>
                <c:pt idx="203">
                  <c:v>1.602141245986189</c:v>
                </c:pt>
                <c:pt idx="204">
                  <c:v>1.602141245986189</c:v>
                </c:pt>
                <c:pt idx="205">
                  <c:v>1.602141245986189</c:v>
                </c:pt>
                <c:pt idx="206">
                  <c:v>1.602141245986189</c:v>
                </c:pt>
                <c:pt idx="207">
                  <c:v>1.602141245986189</c:v>
                </c:pt>
                <c:pt idx="208">
                  <c:v>1.628471954777744</c:v>
                </c:pt>
                <c:pt idx="209">
                  <c:v>1.628471954777744</c:v>
                </c:pt>
                <c:pt idx="210">
                  <c:v>1.681133372360844</c:v>
                </c:pt>
                <c:pt idx="211">
                  <c:v>1.681133372360844</c:v>
                </c:pt>
                <c:pt idx="212">
                  <c:v>1.733794789943943</c:v>
                </c:pt>
                <c:pt idx="213">
                  <c:v>1.733794789943943</c:v>
                </c:pt>
                <c:pt idx="214">
                  <c:v>1.733794789943943</c:v>
                </c:pt>
                <c:pt idx="215">
                  <c:v>1.786456207527043</c:v>
                </c:pt>
                <c:pt idx="216">
                  <c:v>1.786456207527043</c:v>
                </c:pt>
                <c:pt idx="217">
                  <c:v>1.812786916318598</c:v>
                </c:pt>
                <c:pt idx="218">
                  <c:v>1.812786916318598</c:v>
                </c:pt>
                <c:pt idx="219">
                  <c:v>1.812786916318598</c:v>
                </c:pt>
                <c:pt idx="220">
                  <c:v>1.812786916318598</c:v>
                </c:pt>
                <c:pt idx="221">
                  <c:v>1.812786916318598</c:v>
                </c:pt>
                <c:pt idx="222">
                  <c:v>1.812786916318598</c:v>
                </c:pt>
                <c:pt idx="223">
                  <c:v>1.812786916318598</c:v>
                </c:pt>
                <c:pt idx="224">
                  <c:v>1.812786916318598</c:v>
                </c:pt>
                <c:pt idx="225">
                  <c:v>1.812786916318598</c:v>
                </c:pt>
                <c:pt idx="226">
                  <c:v>1.839117625110142</c:v>
                </c:pt>
                <c:pt idx="227">
                  <c:v>1.839117625110142</c:v>
                </c:pt>
                <c:pt idx="228">
                  <c:v>1.839117625110142</c:v>
                </c:pt>
                <c:pt idx="229">
                  <c:v>1.839117625110142</c:v>
                </c:pt>
                <c:pt idx="230">
                  <c:v>1.865448333901687</c:v>
                </c:pt>
                <c:pt idx="231">
                  <c:v>1.865448333901687</c:v>
                </c:pt>
                <c:pt idx="232">
                  <c:v>1.891779042693231</c:v>
                </c:pt>
                <c:pt idx="233">
                  <c:v>1.891779042693231</c:v>
                </c:pt>
                <c:pt idx="234">
                  <c:v>1.891779042693231</c:v>
                </c:pt>
                <c:pt idx="235">
                  <c:v>1.891779042693231</c:v>
                </c:pt>
                <c:pt idx="236">
                  <c:v>1.891779042693231</c:v>
                </c:pt>
                <c:pt idx="237">
                  <c:v>1.891779042693231</c:v>
                </c:pt>
                <c:pt idx="238">
                  <c:v>1.918116820131433</c:v>
                </c:pt>
                <c:pt idx="239">
                  <c:v>1.918116820131433</c:v>
                </c:pt>
                <c:pt idx="240">
                  <c:v>1.944454597569633</c:v>
                </c:pt>
                <c:pt idx="241">
                  <c:v>1.944454597569633</c:v>
                </c:pt>
                <c:pt idx="242">
                  <c:v>1.970792375007835</c:v>
                </c:pt>
                <c:pt idx="243">
                  <c:v>1.970792375007835</c:v>
                </c:pt>
                <c:pt idx="244">
                  <c:v>1.997137230591017</c:v>
                </c:pt>
                <c:pt idx="245">
                  <c:v>1.997137230591017</c:v>
                </c:pt>
                <c:pt idx="246">
                  <c:v>2.023482086174189</c:v>
                </c:pt>
                <c:pt idx="247">
                  <c:v>2.023482086174189</c:v>
                </c:pt>
                <c:pt idx="248">
                  <c:v>2.049826941757372</c:v>
                </c:pt>
                <c:pt idx="249">
                  <c:v>2.049826941757372</c:v>
                </c:pt>
                <c:pt idx="250">
                  <c:v>2.076171797340543</c:v>
                </c:pt>
                <c:pt idx="251">
                  <c:v>2.076171797340543</c:v>
                </c:pt>
                <c:pt idx="252">
                  <c:v>2.076171797340543</c:v>
                </c:pt>
                <c:pt idx="253">
                  <c:v>2.076171797340543</c:v>
                </c:pt>
                <c:pt idx="254">
                  <c:v>2.128861508506897</c:v>
                </c:pt>
                <c:pt idx="255">
                  <c:v>2.128861508506897</c:v>
                </c:pt>
                <c:pt idx="256">
                  <c:v>2.181565406456</c:v>
                </c:pt>
                <c:pt idx="257">
                  <c:v>2.181565406456</c:v>
                </c:pt>
                <c:pt idx="258">
                  <c:v>2.234269304405112</c:v>
                </c:pt>
                <c:pt idx="259">
                  <c:v>2.234269304405112</c:v>
                </c:pt>
                <c:pt idx="260">
                  <c:v>2.260628358245931</c:v>
                </c:pt>
                <c:pt idx="261">
                  <c:v>2.260628358245931</c:v>
                </c:pt>
                <c:pt idx="262">
                  <c:v>2.28698741208675</c:v>
                </c:pt>
                <c:pt idx="263">
                  <c:v>2.28698741208675</c:v>
                </c:pt>
                <c:pt idx="264">
                  <c:v>2.313346465927568</c:v>
                </c:pt>
                <c:pt idx="265">
                  <c:v>2.313346465927568</c:v>
                </c:pt>
                <c:pt idx="266">
                  <c:v>2.339705519768386</c:v>
                </c:pt>
                <c:pt idx="267">
                  <c:v>2.339705519768386</c:v>
                </c:pt>
                <c:pt idx="268">
                  <c:v>2.339705519768386</c:v>
                </c:pt>
                <c:pt idx="269">
                  <c:v>2.339705519768386</c:v>
                </c:pt>
                <c:pt idx="270">
                  <c:v>2.366064573609202</c:v>
                </c:pt>
                <c:pt idx="271">
                  <c:v>2.366064573609202</c:v>
                </c:pt>
                <c:pt idx="272">
                  <c:v>2.392423627450023</c:v>
                </c:pt>
                <c:pt idx="273">
                  <c:v>2.392423627450023</c:v>
                </c:pt>
                <c:pt idx="274">
                  <c:v>2.392423627450023</c:v>
                </c:pt>
                <c:pt idx="275">
                  <c:v>2.418782681290843</c:v>
                </c:pt>
                <c:pt idx="276">
                  <c:v>2.418782681290843</c:v>
                </c:pt>
                <c:pt idx="277">
                  <c:v>2.445141735131662</c:v>
                </c:pt>
                <c:pt idx="278">
                  <c:v>2.445141735131662</c:v>
                </c:pt>
                <c:pt idx="279">
                  <c:v>2.471500788972481</c:v>
                </c:pt>
                <c:pt idx="280">
                  <c:v>2.471500788972481</c:v>
                </c:pt>
                <c:pt idx="281">
                  <c:v>2.497866968807849</c:v>
                </c:pt>
                <c:pt idx="282">
                  <c:v>2.497866968807849</c:v>
                </c:pt>
                <c:pt idx="283">
                  <c:v>2.497866968807849</c:v>
                </c:pt>
                <c:pt idx="284">
                  <c:v>2.524233148643217</c:v>
                </c:pt>
                <c:pt idx="285">
                  <c:v>2.524233148643217</c:v>
                </c:pt>
                <c:pt idx="286">
                  <c:v>2.550599328478586</c:v>
                </c:pt>
                <c:pt idx="287">
                  <c:v>2.550599328478586</c:v>
                </c:pt>
                <c:pt idx="288">
                  <c:v>2.576965508313956</c:v>
                </c:pt>
                <c:pt idx="289">
                  <c:v>2.576965508313956</c:v>
                </c:pt>
                <c:pt idx="290">
                  <c:v>2.603331688149325</c:v>
                </c:pt>
                <c:pt idx="291">
                  <c:v>2.603331688149325</c:v>
                </c:pt>
                <c:pt idx="292">
                  <c:v>2.603331688149325</c:v>
                </c:pt>
                <c:pt idx="293">
                  <c:v>2.603331688149325</c:v>
                </c:pt>
                <c:pt idx="294">
                  <c:v>2.603331688149325</c:v>
                </c:pt>
                <c:pt idx="295">
                  <c:v>2.629697867984692</c:v>
                </c:pt>
                <c:pt idx="296">
                  <c:v>2.629697867984692</c:v>
                </c:pt>
                <c:pt idx="297">
                  <c:v>2.656064047820062</c:v>
                </c:pt>
                <c:pt idx="298">
                  <c:v>2.656064047820062</c:v>
                </c:pt>
                <c:pt idx="299">
                  <c:v>2.68243022765543</c:v>
                </c:pt>
                <c:pt idx="300">
                  <c:v>2.68243022765543</c:v>
                </c:pt>
                <c:pt idx="301">
                  <c:v>2.7087964074908</c:v>
                </c:pt>
                <c:pt idx="302">
                  <c:v>2.7087964074908</c:v>
                </c:pt>
                <c:pt idx="303">
                  <c:v>2.7087964074908</c:v>
                </c:pt>
                <c:pt idx="304">
                  <c:v>2.735162587326167</c:v>
                </c:pt>
                <c:pt idx="305">
                  <c:v>2.735162587326167</c:v>
                </c:pt>
                <c:pt idx="306">
                  <c:v>2.761528767161537</c:v>
                </c:pt>
                <c:pt idx="307">
                  <c:v>2.761528767161537</c:v>
                </c:pt>
                <c:pt idx="308">
                  <c:v>2.787894946996905</c:v>
                </c:pt>
                <c:pt idx="309">
                  <c:v>2.787894946996905</c:v>
                </c:pt>
                <c:pt idx="310">
                  <c:v>2.787894946996905</c:v>
                </c:pt>
                <c:pt idx="311">
                  <c:v>2.787894946996905</c:v>
                </c:pt>
                <c:pt idx="312">
                  <c:v>2.787894946996905</c:v>
                </c:pt>
                <c:pt idx="313">
                  <c:v>2.787894946996905</c:v>
                </c:pt>
                <c:pt idx="314">
                  <c:v>2.787894946996905</c:v>
                </c:pt>
                <c:pt idx="315">
                  <c:v>2.840655926672877</c:v>
                </c:pt>
                <c:pt idx="316">
                  <c:v>2.840655926672877</c:v>
                </c:pt>
                <c:pt idx="317">
                  <c:v>2.867036416510881</c:v>
                </c:pt>
                <c:pt idx="318">
                  <c:v>2.867036416510881</c:v>
                </c:pt>
                <c:pt idx="319">
                  <c:v>2.893416906348877</c:v>
                </c:pt>
                <c:pt idx="320">
                  <c:v>2.893416906348877</c:v>
                </c:pt>
                <c:pt idx="321">
                  <c:v>2.893416906348877</c:v>
                </c:pt>
                <c:pt idx="322">
                  <c:v>2.91980456479823</c:v>
                </c:pt>
                <c:pt idx="323">
                  <c:v>2.91980456479823</c:v>
                </c:pt>
                <c:pt idx="324">
                  <c:v>2.972579881696958</c:v>
                </c:pt>
                <c:pt idx="325">
                  <c:v>2.972579881696958</c:v>
                </c:pt>
                <c:pt idx="326">
                  <c:v>2.998967540146313</c:v>
                </c:pt>
                <c:pt idx="327">
                  <c:v>2.998967540146313</c:v>
                </c:pt>
                <c:pt idx="328">
                  <c:v>2.998967540146313</c:v>
                </c:pt>
                <c:pt idx="329">
                  <c:v>2.998967540146313</c:v>
                </c:pt>
                <c:pt idx="330">
                  <c:v>2.998967540146313</c:v>
                </c:pt>
                <c:pt idx="331">
                  <c:v>2.998967540146313</c:v>
                </c:pt>
                <c:pt idx="332">
                  <c:v>2.998967540146313</c:v>
                </c:pt>
                <c:pt idx="333">
                  <c:v>2.998967540146313</c:v>
                </c:pt>
                <c:pt idx="334">
                  <c:v>2.998967540146313</c:v>
                </c:pt>
                <c:pt idx="335">
                  <c:v>3.025362378910901</c:v>
                </c:pt>
                <c:pt idx="336">
                  <c:v>3.025362378910901</c:v>
                </c:pt>
                <c:pt idx="337">
                  <c:v>3.025362378910901</c:v>
                </c:pt>
                <c:pt idx="338">
                  <c:v>3.025362378910901</c:v>
                </c:pt>
                <c:pt idx="339">
                  <c:v>3.051757217675488</c:v>
                </c:pt>
                <c:pt idx="340">
                  <c:v>3.051757217675488</c:v>
                </c:pt>
                <c:pt idx="341">
                  <c:v>3.051757217675488</c:v>
                </c:pt>
                <c:pt idx="342">
                  <c:v>3.051757217675488</c:v>
                </c:pt>
                <c:pt idx="343">
                  <c:v>3.051757217675488</c:v>
                </c:pt>
                <c:pt idx="344">
                  <c:v>3.078152056440075</c:v>
                </c:pt>
                <c:pt idx="345">
                  <c:v>3.078152056440075</c:v>
                </c:pt>
                <c:pt idx="346">
                  <c:v>3.078152056440075</c:v>
                </c:pt>
                <c:pt idx="347">
                  <c:v>3.104546895204662</c:v>
                </c:pt>
                <c:pt idx="348">
                  <c:v>3.104546895204662</c:v>
                </c:pt>
                <c:pt idx="349">
                  <c:v>3.104546895204662</c:v>
                </c:pt>
                <c:pt idx="350">
                  <c:v>3.104546895204662</c:v>
                </c:pt>
                <c:pt idx="351">
                  <c:v>3.130941733969248</c:v>
                </c:pt>
                <c:pt idx="352">
                  <c:v>3.130941733969248</c:v>
                </c:pt>
                <c:pt idx="353">
                  <c:v>3.130941733969248</c:v>
                </c:pt>
                <c:pt idx="354">
                  <c:v>3.130941733969248</c:v>
                </c:pt>
                <c:pt idx="355">
                  <c:v>3.130941733969248</c:v>
                </c:pt>
                <c:pt idx="356">
                  <c:v>3.130941733969248</c:v>
                </c:pt>
                <c:pt idx="357">
                  <c:v>3.157343766748222</c:v>
                </c:pt>
                <c:pt idx="358">
                  <c:v>3.157343766748222</c:v>
                </c:pt>
                <c:pt idx="359">
                  <c:v>3.210147832306153</c:v>
                </c:pt>
                <c:pt idx="360">
                  <c:v>3.210147832306153</c:v>
                </c:pt>
                <c:pt idx="361">
                  <c:v>3.210147832306153</c:v>
                </c:pt>
                <c:pt idx="362">
                  <c:v>3.210147832306153</c:v>
                </c:pt>
                <c:pt idx="363">
                  <c:v>3.210147832306153</c:v>
                </c:pt>
                <c:pt idx="364">
                  <c:v>3.236557068913993</c:v>
                </c:pt>
                <c:pt idx="365">
                  <c:v>3.236557068913993</c:v>
                </c:pt>
                <c:pt idx="366">
                  <c:v>3.262966305521819</c:v>
                </c:pt>
                <c:pt idx="367">
                  <c:v>3.262966305521819</c:v>
                </c:pt>
                <c:pt idx="368">
                  <c:v>3.289375542129646</c:v>
                </c:pt>
                <c:pt idx="369">
                  <c:v>3.289375542129646</c:v>
                </c:pt>
                <c:pt idx="370">
                  <c:v>3.342194015345312</c:v>
                </c:pt>
                <c:pt idx="371">
                  <c:v>3.342194015345312</c:v>
                </c:pt>
                <c:pt idx="372">
                  <c:v>3.36860325195314</c:v>
                </c:pt>
                <c:pt idx="373">
                  <c:v>3.36860325195314</c:v>
                </c:pt>
                <c:pt idx="374">
                  <c:v>3.36860325195314</c:v>
                </c:pt>
                <c:pt idx="375">
                  <c:v>3.36860325195314</c:v>
                </c:pt>
                <c:pt idx="376">
                  <c:v>3.421436164335887</c:v>
                </c:pt>
                <c:pt idx="377">
                  <c:v>3.421436164335887</c:v>
                </c:pt>
                <c:pt idx="378">
                  <c:v>3.474269076718639</c:v>
                </c:pt>
                <c:pt idx="379">
                  <c:v>3.474269076718639</c:v>
                </c:pt>
                <c:pt idx="380">
                  <c:v>3.52710198910139</c:v>
                </c:pt>
                <c:pt idx="381">
                  <c:v>3.52710198910139</c:v>
                </c:pt>
                <c:pt idx="382">
                  <c:v>3.55351844529276</c:v>
                </c:pt>
                <c:pt idx="383">
                  <c:v>3.55351844529276</c:v>
                </c:pt>
                <c:pt idx="384">
                  <c:v>3.55351844529276</c:v>
                </c:pt>
                <c:pt idx="385">
                  <c:v>3.55351844529276</c:v>
                </c:pt>
                <c:pt idx="386">
                  <c:v>3.55351844529276</c:v>
                </c:pt>
                <c:pt idx="387">
                  <c:v>3.55351844529276</c:v>
                </c:pt>
                <c:pt idx="388">
                  <c:v>3.579934901484126</c:v>
                </c:pt>
                <c:pt idx="389">
                  <c:v>3.579934901484126</c:v>
                </c:pt>
                <c:pt idx="390">
                  <c:v>3.579934901484126</c:v>
                </c:pt>
                <c:pt idx="391">
                  <c:v>3.579934901484126</c:v>
                </c:pt>
                <c:pt idx="392">
                  <c:v>3.606351357675507</c:v>
                </c:pt>
                <c:pt idx="393">
                  <c:v>3.606351357675507</c:v>
                </c:pt>
                <c:pt idx="394">
                  <c:v>3.632767813866876</c:v>
                </c:pt>
                <c:pt idx="395">
                  <c:v>3.632767813866876</c:v>
                </c:pt>
                <c:pt idx="396">
                  <c:v>3.632767813866876</c:v>
                </c:pt>
                <c:pt idx="397">
                  <c:v>3.632767813866876</c:v>
                </c:pt>
                <c:pt idx="398">
                  <c:v>3.659184270058257</c:v>
                </c:pt>
                <c:pt idx="399">
                  <c:v>3.659184270058257</c:v>
                </c:pt>
                <c:pt idx="400">
                  <c:v>3.659184270058257</c:v>
                </c:pt>
                <c:pt idx="401">
                  <c:v>3.659184270058257</c:v>
                </c:pt>
                <c:pt idx="402">
                  <c:v>3.659184270058257</c:v>
                </c:pt>
                <c:pt idx="403">
                  <c:v>3.659184270058257</c:v>
                </c:pt>
                <c:pt idx="404">
                  <c:v>3.685600726249626</c:v>
                </c:pt>
                <c:pt idx="405">
                  <c:v>3.685600726249626</c:v>
                </c:pt>
                <c:pt idx="406">
                  <c:v>3.712017182441009</c:v>
                </c:pt>
                <c:pt idx="407">
                  <c:v>3.712017182441009</c:v>
                </c:pt>
                <c:pt idx="408">
                  <c:v>3.712017182441009</c:v>
                </c:pt>
                <c:pt idx="409">
                  <c:v>3.712017182441009</c:v>
                </c:pt>
                <c:pt idx="410">
                  <c:v>3.712017182441009</c:v>
                </c:pt>
                <c:pt idx="411">
                  <c:v>3.738433638632375</c:v>
                </c:pt>
                <c:pt idx="412">
                  <c:v>3.738433638632375</c:v>
                </c:pt>
                <c:pt idx="413">
                  <c:v>3.791266551015126</c:v>
                </c:pt>
                <c:pt idx="414">
                  <c:v>3.791266551015126</c:v>
                </c:pt>
                <c:pt idx="415">
                  <c:v>3.791266551015126</c:v>
                </c:pt>
                <c:pt idx="416">
                  <c:v>3.817690262481475</c:v>
                </c:pt>
                <c:pt idx="417">
                  <c:v>3.817690262481475</c:v>
                </c:pt>
                <c:pt idx="418">
                  <c:v>3.844113973947825</c:v>
                </c:pt>
                <c:pt idx="419">
                  <c:v>3.844113973947825</c:v>
                </c:pt>
                <c:pt idx="420">
                  <c:v>3.870537685414175</c:v>
                </c:pt>
                <c:pt idx="421">
                  <c:v>3.870537685414175</c:v>
                </c:pt>
                <c:pt idx="422">
                  <c:v>3.870537685414175</c:v>
                </c:pt>
                <c:pt idx="423">
                  <c:v>3.870537685414175</c:v>
                </c:pt>
                <c:pt idx="424">
                  <c:v>3.870537685414175</c:v>
                </c:pt>
                <c:pt idx="425">
                  <c:v>3.870537685414175</c:v>
                </c:pt>
                <c:pt idx="426">
                  <c:v>3.896961396880524</c:v>
                </c:pt>
                <c:pt idx="427">
                  <c:v>3.896961396880524</c:v>
                </c:pt>
                <c:pt idx="428">
                  <c:v>3.923392375594259</c:v>
                </c:pt>
                <c:pt idx="429">
                  <c:v>3.923392375594259</c:v>
                </c:pt>
                <c:pt idx="430">
                  <c:v>3.923392375594259</c:v>
                </c:pt>
                <c:pt idx="431">
                  <c:v>3.923392375594259</c:v>
                </c:pt>
                <c:pt idx="432">
                  <c:v>3.976254333021692</c:v>
                </c:pt>
                <c:pt idx="433">
                  <c:v>3.976254333021692</c:v>
                </c:pt>
                <c:pt idx="434">
                  <c:v>3.976254333021692</c:v>
                </c:pt>
                <c:pt idx="435">
                  <c:v>3.976254333021692</c:v>
                </c:pt>
                <c:pt idx="436">
                  <c:v>4.002685311735434</c:v>
                </c:pt>
                <c:pt idx="437">
                  <c:v>4.002685311735434</c:v>
                </c:pt>
                <c:pt idx="438">
                  <c:v>4.002685311735434</c:v>
                </c:pt>
                <c:pt idx="439">
                  <c:v>4.029116290449188</c:v>
                </c:pt>
                <c:pt idx="440">
                  <c:v>4.029116290449188</c:v>
                </c:pt>
                <c:pt idx="441">
                  <c:v>4.055547269162894</c:v>
                </c:pt>
                <c:pt idx="442">
                  <c:v>4.055547269162894</c:v>
                </c:pt>
                <c:pt idx="443">
                  <c:v>4.081978247876648</c:v>
                </c:pt>
                <c:pt idx="444">
                  <c:v>4.081978247876648</c:v>
                </c:pt>
                <c:pt idx="445">
                  <c:v>4.108416511865626</c:v>
                </c:pt>
                <c:pt idx="446">
                  <c:v>4.108416511865626</c:v>
                </c:pt>
                <c:pt idx="447">
                  <c:v>4.161293039843673</c:v>
                </c:pt>
                <c:pt idx="448">
                  <c:v>4.161293039843673</c:v>
                </c:pt>
                <c:pt idx="449">
                  <c:v>4.187731303832687</c:v>
                </c:pt>
                <c:pt idx="450">
                  <c:v>4.187731303832687</c:v>
                </c:pt>
                <c:pt idx="451">
                  <c:v>4.187731303832687</c:v>
                </c:pt>
                <c:pt idx="452">
                  <c:v>4.187731303832687</c:v>
                </c:pt>
                <c:pt idx="453">
                  <c:v>4.214184166531745</c:v>
                </c:pt>
                <c:pt idx="454">
                  <c:v>4.214184166531745</c:v>
                </c:pt>
                <c:pt idx="455">
                  <c:v>4.214184166531745</c:v>
                </c:pt>
                <c:pt idx="456">
                  <c:v>4.214184166531745</c:v>
                </c:pt>
                <c:pt idx="457">
                  <c:v>4.214184166531745</c:v>
                </c:pt>
                <c:pt idx="458">
                  <c:v>4.240644336651535</c:v>
                </c:pt>
                <c:pt idx="459">
                  <c:v>4.240644336651535</c:v>
                </c:pt>
                <c:pt idx="460">
                  <c:v>4.240644336651535</c:v>
                </c:pt>
                <c:pt idx="461">
                  <c:v>4.240644336651535</c:v>
                </c:pt>
                <c:pt idx="462">
                  <c:v>4.267104506771227</c:v>
                </c:pt>
                <c:pt idx="463">
                  <c:v>4.267104506771227</c:v>
                </c:pt>
                <c:pt idx="464">
                  <c:v>4.293564676891026</c:v>
                </c:pt>
                <c:pt idx="465">
                  <c:v>4.293564676891026</c:v>
                </c:pt>
                <c:pt idx="466">
                  <c:v>4.293564676891026</c:v>
                </c:pt>
                <c:pt idx="467">
                  <c:v>4.293564676891026</c:v>
                </c:pt>
                <c:pt idx="468">
                  <c:v>4.320024847010704</c:v>
                </c:pt>
                <c:pt idx="469">
                  <c:v>4.320024847010704</c:v>
                </c:pt>
                <c:pt idx="470">
                  <c:v>4.320024847010704</c:v>
                </c:pt>
                <c:pt idx="471">
                  <c:v>4.320024847010704</c:v>
                </c:pt>
                <c:pt idx="472">
                  <c:v>4.346485017130465</c:v>
                </c:pt>
                <c:pt idx="473">
                  <c:v>4.346485017130465</c:v>
                </c:pt>
                <c:pt idx="474">
                  <c:v>4.346485017130465</c:v>
                </c:pt>
                <c:pt idx="475">
                  <c:v>4.346485017130465</c:v>
                </c:pt>
                <c:pt idx="476">
                  <c:v>4.372952508824698</c:v>
                </c:pt>
                <c:pt idx="477">
                  <c:v>4.372952508824698</c:v>
                </c:pt>
                <c:pt idx="478">
                  <c:v>4.372952508824698</c:v>
                </c:pt>
                <c:pt idx="479">
                  <c:v>4.372952508824698</c:v>
                </c:pt>
                <c:pt idx="480">
                  <c:v>4.399420000518917</c:v>
                </c:pt>
                <c:pt idx="481">
                  <c:v>4.399420000518917</c:v>
                </c:pt>
                <c:pt idx="482">
                  <c:v>4.399420000518917</c:v>
                </c:pt>
                <c:pt idx="483">
                  <c:v>4.399420000518917</c:v>
                </c:pt>
                <c:pt idx="484">
                  <c:v>4.425887492213131</c:v>
                </c:pt>
                <c:pt idx="485">
                  <c:v>4.425887492213131</c:v>
                </c:pt>
                <c:pt idx="486">
                  <c:v>4.425887492213131</c:v>
                </c:pt>
                <c:pt idx="487">
                  <c:v>4.425887492213131</c:v>
                </c:pt>
                <c:pt idx="488">
                  <c:v>4.452354983907335</c:v>
                </c:pt>
                <c:pt idx="489">
                  <c:v>4.452354983907335</c:v>
                </c:pt>
                <c:pt idx="490">
                  <c:v>4.452354983907335</c:v>
                </c:pt>
                <c:pt idx="491">
                  <c:v>4.452354983907335</c:v>
                </c:pt>
                <c:pt idx="492">
                  <c:v>4.452354983907335</c:v>
                </c:pt>
                <c:pt idx="493">
                  <c:v>4.452354983907335</c:v>
                </c:pt>
                <c:pt idx="494">
                  <c:v>4.452354983907335</c:v>
                </c:pt>
                <c:pt idx="495">
                  <c:v>4.452354983907335</c:v>
                </c:pt>
                <c:pt idx="496">
                  <c:v>4.452354983907335</c:v>
                </c:pt>
                <c:pt idx="497">
                  <c:v>4.452354983907335</c:v>
                </c:pt>
                <c:pt idx="498">
                  <c:v>4.452354983907335</c:v>
                </c:pt>
                <c:pt idx="499">
                  <c:v>4.452354983907335</c:v>
                </c:pt>
                <c:pt idx="500">
                  <c:v>4.452354983907335</c:v>
                </c:pt>
                <c:pt idx="501">
                  <c:v>4.452354983907335</c:v>
                </c:pt>
                <c:pt idx="502">
                  <c:v>4.452354983907335</c:v>
                </c:pt>
                <c:pt idx="503">
                  <c:v>4.478844489040712</c:v>
                </c:pt>
                <c:pt idx="504">
                  <c:v>4.478844489040712</c:v>
                </c:pt>
                <c:pt idx="505">
                  <c:v>4.478844489040712</c:v>
                </c:pt>
                <c:pt idx="506">
                  <c:v>4.478844489040712</c:v>
                </c:pt>
                <c:pt idx="507">
                  <c:v>4.478844489040712</c:v>
                </c:pt>
                <c:pt idx="508">
                  <c:v>4.478844489040712</c:v>
                </c:pt>
                <c:pt idx="509">
                  <c:v>4.505341342164428</c:v>
                </c:pt>
                <c:pt idx="510">
                  <c:v>4.505341342164428</c:v>
                </c:pt>
                <c:pt idx="511">
                  <c:v>4.53183819528813</c:v>
                </c:pt>
                <c:pt idx="512">
                  <c:v>4.53183819528813</c:v>
                </c:pt>
                <c:pt idx="513">
                  <c:v>4.53183819528813</c:v>
                </c:pt>
                <c:pt idx="514">
                  <c:v>4.53183819528813</c:v>
                </c:pt>
                <c:pt idx="515">
                  <c:v>4.53183819528813</c:v>
                </c:pt>
                <c:pt idx="516">
                  <c:v>4.53183819528813</c:v>
                </c:pt>
                <c:pt idx="517">
                  <c:v>4.53183819528813</c:v>
                </c:pt>
                <c:pt idx="518">
                  <c:v>4.558335048411831</c:v>
                </c:pt>
                <c:pt idx="519">
                  <c:v>4.558335048411831</c:v>
                </c:pt>
                <c:pt idx="520">
                  <c:v>4.558335048411831</c:v>
                </c:pt>
                <c:pt idx="521">
                  <c:v>4.558335048411831</c:v>
                </c:pt>
                <c:pt idx="522">
                  <c:v>4.558335048411831</c:v>
                </c:pt>
                <c:pt idx="523">
                  <c:v>4.558335048411831</c:v>
                </c:pt>
                <c:pt idx="524">
                  <c:v>4.584831901535535</c:v>
                </c:pt>
                <c:pt idx="525">
                  <c:v>4.584831901535535</c:v>
                </c:pt>
                <c:pt idx="526">
                  <c:v>4.584831901535535</c:v>
                </c:pt>
                <c:pt idx="527">
                  <c:v>4.61132875465924</c:v>
                </c:pt>
                <c:pt idx="528">
                  <c:v>4.61132875465924</c:v>
                </c:pt>
                <c:pt idx="529">
                  <c:v>4.637825607782926</c:v>
                </c:pt>
                <c:pt idx="530">
                  <c:v>4.637825607782926</c:v>
                </c:pt>
                <c:pt idx="531">
                  <c:v>4.664322460906645</c:v>
                </c:pt>
                <c:pt idx="532">
                  <c:v>4.664322460906645</c:v>
                </c:pt>
                <c:pt idx="533">
                  <c:v>4.664322460906645</c:v>
                </c:pt>
                <c:pt idx="534">
                  <c:v>4.664322460906645</c:v>
                </c:pt>
                <c:pt idx="535">
                  <c:v>4.664322460906645</c:v>
                </c:pt>
                <c:pt idx="536">
                  <c:v>4.690826680405975</c:v>
                </c:pt>
                <c:pt idx="537">
                  <c:v>4.690826680405975</c:v>
                </c:pt>
                <c:pt idx="538">
                  <c:v>4.717330899905325</c:v>
                </c:pt>
                <c:pt idx="539">
                  <c:v>4.717330899905325</c:v>
                </c:pt>
                <c:pt idx="540">
                  <c:v>4.717330899905325</c:v>
                </c:pt>
                <c:pt idx="541">
                  <c:v>4.74384249397882</c:v>
                </c:pt>
                <c:pt idx="542">
                  <c:v>4.74384249397882</c:v>
                </c:pt>
                <c:pt idx="543">
                  <c:v>4.770354088052288</c:v>
                </c:pt>
                <c:pt idx="544">
                  <c:v>4.770354088052288</c:v>
                </c:pt>
                <c:pt idx="545">
                  <c:v>4.796865682125772</c:v>
                </c:pt>
                <c:pt idx="546">
                  <c:v>4.796865682125772</c:v>
                </c:pt>
                <c:pt idx="547">
                  <c:v>4.796865682125772</c:v>
                </c:pt>
                <c:pt idx="548">
                  <c:v>4.796865682125772</c:v>
                </c:pt>
                <c:pt idx="549">
                  <c:v>4.796865682125772</c:v>
                </c:pt>
                <c:pt idx="550">
                  <c:v>4.796865682125772</c:v>
                </c:pt>
                <c:pt idx="551">
                  <c:v>4.796865682125772</c:v>
                </c:pt>
                <c:pt idx="552">
                  <c:v>4.796865682125772</c:v>
                </c:pt>
                <c:pt idx="553">
                  <c:v>4.796865682125772</c:v>
                </c:pt>
                <c:pt idx="554">
                  <c:v>4.796865682125772</c:v>
                </c:pt>
                <c:pt idx="555">
                  <c:v>4.823399443083932</c:v>
                </c:pt>
                <c:pt idx="556">
                  <c:v>4.823399443083932</c:v>
                </c:pt>
                <c:pt idx="557">
                  <c:v>4.823399443083932</c:v>
                </c:pt>
                <c:pt idx="558">
                  <c:v>4.849948006698134</c:v>
                </c:pt>
                <c:pt idx="559">
                  <c:v>4.849948006698134</c:v>
                </c:pt>
                <c:pt idx="560">
                  <c:v>4.87649657031234</c:v>
                </c:pt>
                <c:pt idx="561">
                  <c:v>4.87649657031234</c:v>
                </c:pt>
                <c:pt idx="562">
                  <c:v>4.87649657031234</c:v>
                </c:pt>
                <c:pt idx="563">
                  <c:v>4.87649657031234</c:v>
                </c:pt>
                <c:pt idx="564">
                  <c:v>4.903059961384582</c:v>
                </c:pt>
                <c:pt idx="565">
                  <c:v>4.903059961384582</c:v>
                </c:pt>
                <c:pt idx="566">
                  <c:v>4.95618674352907</c:v>
                </c:pt>
                <c:pt idx="567">
                  <c:v>4.95618674352907</c:v>
                </c:pt>
                <c:pt idx="568">
                  <c:v>4.982757560765966</c:v>
                </c:pt>
                <c:pt idx="569">
                  <c:v>4.982757560765966</c:v>
                </c:pt>
                <c:pt idx="570">
                  <c:v>4.982757560765966</c:v>
                </c:pt>
                <c:pt idx="571">
                  <c:v>4.982757560765966</c:v>
                </c:pt>
                <c:pt idx="572">
                  <c:v>4.982757560765966</c:v>
                </c:pt>
                <c:pt idx="573">
                  <c:v>4.982757560765966</c:v>
                </c:pt>
                <c:pt idx="574">
                  <c:v>4.982757560765966</c:v>
                </c:pt>
                <c:pt idx="575">
                  <c:v>5.00932837800292</c:v>
                </c:pt>
                <c:pt idx="576">
                  <c:v>5.00932837800292</c:v>
                </c:pt>
                <c:pt idx="577">
                  <c:v>5.03589919523984</c:v>
                </c:pt>
                <c:pt idx="578">
                  <c:v>5.03589919523984</c:v>
                </c:pt>
                <c:pt idx="579">
                  <c:v>5.062470012476735</c:v>
                </c:pt>
                <c:pt idx="580">
                  <c:v>5.062470012476735</c:v>
                </c:pt>
                <c:pt idx="581">
                  <c:v>5.062470012476735</c:v>
                </c:pt>
                <c:pt idx="582">
                  <c:v>5.062470012476735</c:v>
                </c:pt>
                <c:pt idx="583">
                  <c:v>5.062470012476735</c:v>
                </c:pt>
                <c:pt idx="584">
                  <c:v>5.062470012476735</c:v>
                </c:pt>
                <c:pt idx="585">
                  <c:v>5.062470012476735</c:v>
                </c:pt>
                <c:pt idx="586">
                  <c:v>5.089048268352327</c:v>
                </c:pt>
                <c:pt idx="587">
                  <c:v>5.089048268352327</c:v>
                </c:pt>
                <c:pt idx="588">
                  <c:v>5.089048268352327</c:v>
                </c:pt>
                <c:pt idx="589">
                  <c:v>5.089048268352327</c:v>
                </c:pt>
                <c:pt idx="590">
                  <c:v>5.168783035979017</c:v>
                </c:pt>
                <c:pt idx="591">
                  <c:v>5.168783035979017</c:v>
                </c:pt>
                <c:pt idx="592">
                  <c:v>5.195368743005656</c:v>
                </c:pt>
                <c:pt idx="593">
                  <c:v>5.195368743005656</c:v>
                </c:pt>
                <c:pt idx="594">
                  <c:v>5.195368743005656</c:v>
                </c:pt>
                <c:pt idx="595">
                  <c:v>5.195368743005656</c:v>
                </c:pt>
                <c:pt idx="596">
                  <c:v>5.195368743005656</c:v>
                </c:pt>
                <c:pt idx="597">
                  <c:v>5.195368743005656</c:v>
                </c:pt>
                <c:pt idx="598">
                  <c:v>5.248540157058934</c:v>
                </c:pt>
                <c:pt idx="599">
                  <c:v>5.248540157058934</c:v>
                </c:pt>
                <c:pt idx="600">
                  <c:v>5.248540157058934</c:v>
                </c:pt>
                <c:pt idx="601">
                  <c:v>5.275133325692938</c:v>
                </c:pt>
                <c:pt idx="602">
                  <c:v>5.275133325692938</c:v>
                </c:pt>
                <c:pt idx="603">
                  <c:v>5.301726494326941</c:v>
                </c:pt>
                <c:pt idx="604">
                  <c:v>5.301726494326941</c:v>
                </c:pt>
                <c:pt idx="605">
                  <c:v>5.301726494326941</c:v>
                </c:pt>
                <c:pt idx="606">
                  <c:v>5.301726494326941</c:v>
                </c:pt>
                <c:pt idx="607">
                  <c:v>5.354912831594904</c:v>
                </c:pt>
                <c:pt idx="608">
                  <c:v>5.354912831594904</c:v>
                </c:pt>
                <c:pt idx="609">
                  <c:v>5.381506000228946</c:v>
                </c:pt>
                <c:pt idx="610">
                  <c:v>5.381506000228946</c:v>
                </c:pt>
                <c:pt idx="611">
                  <c:v>5.381506000228946</c:v>
                </c:pt>
                <c:pt idx="612">
                  <c:v>5.381506000228946</c:v>
                </c:pt>
                <c:pt idx="613">
                  <c:v>5.381506000228946</c:v>
                </c:pt>
                <c:pt idx="614">
                  <c:v>5.381506000228946</c:v>
                </c:pt>
                <c:pt idx="615">
                  <c:v>5.434722251072466</c:v>
                </c:pt>
                <c:pt idx="616">
                  <c:v>5.434722251072466</c:v>
                </c:pt>
                <c:pt idx="617">
                  <c:v>5.434722251072466</c:v>
                </c:pt>
                <c:pt idx="618">
                  <c:v>5.434722251072466</c:v>
                </c:pt>
                <c:pt idx="619">
                  <c:v>5.434722251072466</c:v>
                </c:pt>
                <c:pt idx="620">
                  <c:v>5.434722251072466</c:v>
                </c:pt>
                <c:pt idx="621">
                  <c:v>5.434722251072466</c:v>
                </c:pt>
                <c:pt idx="622">
                  <c:v>5.461330376494232</c:v>
                </c:pt>
                <c:pt idx="623">
                  <c:v>5.461330376494232</c:v>
                </c:pt>
                <c:pt idx="624">
                  <c:v>5.487938501915966</c:v>
                </c:pt>
                <c:pt idx="625">
                  <c:v>5.487938501915966</c:v>
                </c:pt>
                <c:pt idx="626">
                  <c:v>5.487938501915966</c:v>
                </c:pt>
                <c:pt idx="627">
                  <c:v>5.487938501915966</c:v>
                </c:pt>
                <c:pt idx="628">
                  <c:v>5.514546627337713</c:v>
                </c:pt>
                <c:pt idx="629">
                  <c:v>5.514546627337713</c:v>
                </c:pt>
                <c:pt idx="630">
                  <c:v>5.514546627337713</c:v>
                </c:pt>
                <c:pt idx="631">
                  <c:v>5.541169747476582</c:v>
                </c:pt>
                <c:pt idx="632">
                  <c:v>5.541169747476582</c:v>
                </c:pt>
                <c:pt idx="633">
                  <c:v>5.541169747476582</c:v>
                </c:pt>
                <c:pt idx="634">
                  <c:v>5.541169747476582</c:v>
                </c:pt>
                <c:pt idx="635">
                  <c:v>5.541169747476582</c:v>
                </c:pt>
                <c:pt idx="636">
                  <c:v>5.567807883475607</c:v>
                </c:pt>
                <c:pt idx="637">
                  <c:v>5.567807883475607</c:v>
                </c:pt>
                <c:pt idx="638">
                  <c:v>5.567807883475607</c:v>
                </c:pt>
                <c:pt idx="639">
                  <c:v>5.567807883475607</c:v>
                </c:pt>
                <c:pt idx="640">
                  <c:v>5.594453535878696</c:v>
                </c:pt>
                <c:pt idx="641">
                  <c:v>5.594453535878696</c:v>
                </c:pt>
                <c:pt idx="642">
                  <c:v>5.594453535878696</c:v>
                </c:pt>
                <c:pt idx="643">
                  <c:v>5.594453535878696</c:v>
                </c:pt>
                <c:pt idx="644">
                  <c:v>5.621099188281776</c:v>
                </c:pt>
                <c:pt idx="645">
                  <c:v>5.621099188281776</c:v>
                </c:pt>
                <c:pt idx="646">
                  <c:v>5.647744840684864</c:v>
                </c:pt>
                <c:pt idx="647">
                  <c:v>5.647744840684864</c:v>
                </c:pt>
                <c:pt idx="648">
                  <c:v>5.674390493087945</c:v>
                </c:pt>
                <c:pt idx="649">
                  <c:v>5.674390493087945</c:v>
                </c:pt>
                <c:pt idx="650">
                  <c:v>5.70103614549103</c:v>
                </c:pt>
                <c:pt idx="651">
                  <c:v>5.70103614549103</c:v>
                </c:pt>
                <c:pt idx="652">
                  <c:v>5.70103614549103</c:v>
                </c:pt>
                <c:pt idx="653">
                  <c:v>5.70103614549103</c:v>
                </c:pt>
                <c:pt idx="654">
                  <c:v>5.727681797894101</c:v>
                </c:pt>
                <c:pt idx="655">
                  <c:v>5.727681797894101</c:v>
                </c:pt>
                <c:pt idx="656">
                  <c:v>5.727681797894101</c:v>
                </c:pt>
                <c:pt idx="657">
                  <c:v>5.727681797894101</c:v>
                </c:pt>
                <c:pt idx="658">
                  <c:v>5.727681797894101</c:v>
                </c:pt>
                <c:pt idx="659">
                  <c:v>5.727681797894101</c:v>
                </c:pt>
                <c:pt idx="660">
                  <c:v>5.754327450297191</c:v>
                </c:pt>
                <c:pt idx="661">
                  <c:v>5.754327450297191</c:v>
                </c:pt>
                <c:pt idx="662">
                  <c:v>5.780973102700273</c:v>
                </c:pt>
                <c:pt idx="663">
                  <c:v>5.780973102700273</c:v>
                </c:pt>
                <c:pt idx="664">
                  <c:v>5.780973102700273</c:v>
                </c:pt>
                <c:pt idx="665">
                  <c:v>5.80762629277023</c:v>
                </c:pt>
                <c:pt idx="666">
                  <c:v>5.80762629277023</c:v>
                </c:pt>
                <c:pt idx="667">
                  <c:v>5.834287026907575</c:v>
                </c:pt>
                <c:pt idx="668">
                  <c:v>5.834287026907575</c:v>
                </c:pt>
                <c:pt idx="669">
                  <c:v>5.860947761044907</c:v>
                </c:pt>
                <c:pt idx="670">
                  <c:v>5.860947761044907</c:v>
                </c:pt>
                <c:pt idx="671">
                  <c:v>5.860947761044907</c:v>
                </c:pt>
                <c:pt idx="672">
                  <c:v>5.860947761044907</c:v>
                </c:pt>
                <c:pt idx="673">
                  <c:v>5.88760849518227</c:v>
                </c:pt>
                <c:pt idx="674">
                  <c:v>5.88760849518227</c:v>
                </c:pt>
                <c:pt idx="675">
                  <c:v>5.88760849518227</c:v>
                </c:pt>
                <c:pt idx="676">
                  <c:v>5.88760849518227</c:v>
                </c:pt>
                <c:pt idx="677">
                  <c:v>5.91427678407567</c:v>
                </c:pt>
                <c:pt idx="678">
                  <c:v>5.91427678407567</c:v>
                </c:pt>
                <c:pt idx="679">
                  <c:v>5.940945072969073</c:v>
                </c:pt>
                <c:pt idx="680">
                  <c:v>5.940945072969073</c:v>
                </c:pt>
                <c:pt idx="681">
                  <c:v>5.967613361862479</c:v>
                </c:pt>
                <c:pt idx="682">
                  <c:v>5.967613361862479</c:v>
                </c:pt>
                <c:pt idx="683">
                  <c:v>5.994281650755878</c:v>
                </c:pt>
                <c:pt idx="684">
                  <c:v>5.994281650755878</c:v>
                </c:pt>
                <c:pt idx="685">
                  <c:v>5.994281650755878</c:v>
                </c:pt>
                <c:pt idx="686">
                  <c:v>6.020949939649276</c:v>
                </c:pt>
                <c:pt idx="687">
                  <c:v>6.020949939649276</c:v>
                </c:pt>
                <c:pt idx="688">
                  <c:v>6.047618228542696</c:v>
                </c:pt>
                <c:pt idx="689">
                  <c:v>6.047618228542696</c:v>
                </c:pt>
                <c:pt idx="690">
                  <c:v>6.047618228542696</c:v>
                </c:pt>
                <c:pt idx="691">
                  <c:v>6.047618228542696</c:v>
                </c:pt>
                <c:pt idx="692">
                  <c:v>6.047618228542696</c:v>
                </c:pt>
                <c:pt idx="693">
                  <c:v>6.047618228542696</c:v>
                </c:pt>
                <c:pt idx="694">
                  <c:v>6.047618228542696</c:v>
                </c:pt>
                <c:pt idx="695">
                  <c:v>6.127691281188818</c:v>
                </c:pt>
                <c:pt idx="696">
                  <c:v>6.127691281188818</c:v>
                </c:pt>
                <c:pt idx="697">
                  <c:v>6.127691281188818</c:v>
                </c:pt>
                <c:pt idx="698">
                  <c:v>6.127691281188818</c:v>
                </c:pt>
                <c:pt idx="699">
                  <c:v>6.127691281188818</c:v>
                </c:pt>
                <c:pt idx="700">
                  <c:v>6.127691281188818</c:v>
                </c:pt>
                <c:pt idx="701">
                  <c:v>6.127691281188818</c:v>
                </c:pt>
                <c:pt idx="702">
                  <c:v>6.127691281188818</c:v>
                </c:pt>
                <c:pt idx="703">
                  <c:v>6.127691281188818</c:v>
                </c:pt>
                <c:pt idx="704">
                  <c:v>6.154397485660732</c:v>
                </c:pt>
                <c:pt idx="705">
                  <c:v>6.154397485660732</c:v>
                </c:pt>
                <c:pt idx="706">
                  <c:v>6.154397485660732</c:v>
                </c:pt>
                <c:pt idx="707">
                  <c:v>6.207809894604587</c:v>
                </c:pt>
                <c:pt idx="708">
                  <c:v>6.207809894604587</c:v>
                </c:pt>
                <c:pt idx="709">
                  <c:v>6.207809894604587</c:v>
                </c:pt>
                <c:pt idx="710">
                  <c:v>6.234531316287025</c:v>
                </c:pt>
                <c:pt idx="711">
                  <c:v>6.234531316287025</c:v>
                </c:pt>
                <c:pt idx="712">
                  <c:v>6.234531316287025</c:v>
                </c:pt>
                <c:pt idx="713">
                  <c:v>6.28798939421389</c:v>
                </c:pt>
                <c:pt idx="714">
                  <c:v>6.28798939421389</c:v>
                </c:pt>
                <c:pt idx="715">
                  <c:v>6.314718433177306</c:v>
                </c:pt>
                <c:pt idx="716">
                  <c:v>6.314718433177306</c:v>
                </c:pt>
                <c:pt idx="717">
                  <c:v>6.314718433177306</c:v>
                </c:pt>
                <c:pt idx="718">
                  <c:v>6.314718433177306</c:v>
                </c:pt>
                <c:pt idx="719">
                  <c:v>6.314718433177306</c:v>
                </c:pt>
                <c:pt idx="720">
                  <c:v>6.314718433177306</c:v>
                </c:pt>
                <c:pt idx="721">
                  <c:v>6.314718433177306</c:v>
                </c:pt>
                <c:pt idx="722">
                  <c:v>6.314718433177306</c:v>
                </c:pt>
                <c:pt idx="723">
                  <c:v>6.368207032416151</c:v>
                </c:pt>
                <c:pt idx="724">
                  <c:v>6.368207032416151</c:v>
                </c:pt>
                <c:pt idx="725">
                  <c:v>6.394951332035526</c:v>
                </c:pt>
                <c:pt idx="726">
                  <c:v>6.394951332035526</c:v>
                </c:pt>
                <c:pt idx="727">
                  <c:v>6.394951332035526</c:v>
                </c:pt>
                <c:pt idx="728">
                  <c:v>6.394951332035526</c:v>
                </c:pt>
                <c:pt idx="729">
                  <c:v>6.394951332035526</c:v>
                </c:pt>
                <c:pt idx="730">
                  <c:v>6.421703275067282</c:v>
                </c:pt>
                <c:pt idx="731">
                  <c:v>6.421703275067282</c:v>
                </c:pt>
                <c:pt idx="732">
                  <c:v>6.421703275067282</c:v>
                </c:pt>
                <c:pt idx="733">
                  <c:v>6.421703275067282</c:v>
                </c:pt>
                <c:pt idx="734">
                  <c:v>6.421703275067282</c:v>
                </c:pt>
                <c:pt idx="735">
                  <c:v>6.448462868068405</c:v>
                </c:pt>
                <c:pt idx="736">
                  <c:v>6.448462868068405</c:v>
                </c:pt>
                <c:pt idx="737">
                  <c:v>6.501982054070652</c:v>
                </c:pt>
                <c:pt idx="738">
                  <c:v>6.501982054070652</c:v>
                </c:pt>
                <c:pt idx="739">
                  <c:v>6.501982054070652</c:v>
                </c:pt>
                <c:pt idx="740">
                  <c:v>6.52874930799161</c:v>
                </c:pt>
                <c:pt idx="741">
                  <c:v>6.52874930799161</c:v>
                </c:pt>
                <c:pt idx="742">
                  <c:v>6.52874930799161</c:v>
                </c:pt>
                <c:pt idx="743">
                  <c:v>6.52874930799161</c:v>
                </c:pt>
                <c:pt idx="744">
                  <c:v>6.52874930799161</c:v>
                </c:pt>
                <c:pt idx="745">
                  <c:v>6.52874930799161</c:v>
                </c:pt>
                <c:pt idx="746">
                  <c:v>6.52874930799161</c:v>
                </c:pt>
                <c:pt idx="747">
                  <c:v>6.582283815833537</c:v>
                </c:pt>
                <c:pt idx="748">
                  <c:v>6.582283815833537</c:v>
                </c:pt>
                <c:pt idx="749">
                  <c:v>6.582283815833537</c:v>
                </c:pt>
                <c:pt idx="750">
                  <c:v>6.6626316221846</c:v>
                </c:pt>
                <c:pt idx="751">
                  <c:v>6.6626316221846</c:v>
                </c:pt>
                <c:pt idx="752">
                  <c:v>6.689414224301615</c:v>
                </c:pt>
                <c:pt idx="753">
                  <c:v>6.689414224301615</c:v>
                </c:pt>
                <c:pt idx="754">
                  <c:v>6.689414224301615</c:v>
                </c:pt>
                <c:pt idx="755">
                  <c:v>6.689414224301615</c:v>
                </c:pt>
                <c:pt idx="756">
                  <c:v>6.689414224301615</c:v>
                </c:pt>
                <c:pt idx="757">
                  <c:v>6.716212209877625</c:v>
                </c:pt>
                <c:pt idx="758">
                  <c:v>6.716212209877625</c:v>
                </c:pt>
                <c:pt idx="759">
                  <c:v>6.74301019545365</c:v>
                </c:pt>
                <c:pt idx="760">
                  <c:v>6.74301019545365</c:v>
                </c:pt>
                <c:pt idx="761">
                  <c:v>6.76980818102967</c:v>
                </c:pt>
                <c:pt idx="762">
                  <c:v>6.76980818102967</c:v>
                </c:pt>
                <c:pt idx="763">
                  <c:v>6.76980818102967</c:v>
                </c:pt>
                <c:pt idx="764">
                  <c:v>6.76980818102967</c:v>
                </c:pt>
                <c:pt idx="765">
                  <c:v>6.76980818102967</c:v>
                </c:pt>
                <c:pt idx="766">
                  <c:v>6.76980818102967</c:v>
                </c:pt>
                <c:pt idx="767">
                  <c:v>6.76980818102967</c:v>
                </c:pt>
                <c:pt idx="768">
                  <c:v>6.76980818102967</c:v>
                </c:pt>
                <c:pt idx="769">
                  <c:v>6.76980818102967</c:v>
                </c:pt>
                <c:pt idx="770">
                  <c:v>6.823481290885137</c:v>
                </c:pt>
                <c:pt idx="771">
                  <c:v>6.823481290885137</c:v>
                </c:pt>
                <c:pt idx="772">
                  <c:v>6.85033331356789</c:v>
                </c:pt>
                <c:pt idx="773">
                  <c:v>6.85033331356789</c:v>
                </c:pt>
                <c:pt idx="774">
                  <c:v>6.85033331356789</c:v>
                </c:pt>
                <c:pt idx="775">
                  <c:v>6.877231860113206</c:v>
                </c:pt>
                <c:pt idx="776">
                  <c:v>6.877231860113206</c:v>
                </c:pt>
                <c:pt idx="777">
                  <c:v>6.904138178558695</c:v>
                </c:pt>
                <c:pt idx="778">
                  <c:v>6.904138178558695</c:v>
                </c:pt>
                <c:pt idx="779">
                  <c:v>6.904138178558695</c:v>
                </c:pt>
                <c:pt idx="780">
                  <c:v>6.904138178558695</c:v>
                </c:pt>
                <c:pt idx="781">
                  <c:v>6.904138178558695</c:v>
                </c:pt>
                <c:pt idx="782">
                  <c:v>6.904138178558695</c:v>
                </c:pt>
                <c:pt idx="783">
                  <c:v>6.904138178558695</c:v>
                </c:pt>
                <c:pt idx="784">
                  <c:v>6.931138138483714</c:v>
                </c:pt>
                <c:pt idx="785">
                  <c:v>6.931138138483714</c:v>
                </c:pt>
                <c:pt idx="786">
                  <c:v>6.931138138483714</c:v>
                </c:pt>
                <c:pt idx="787">
                  <c:v>6.931138138483714</c:v>
                </c:pt>
                <c:pt idx="788">
                  <c:v>6.958240311419516</c:v>
                </c:pt>
                <c:pt idx="789">
                  <c:v>6.958240311419516</c:v>
                </c:pt>
                <c:pt idx="790">
                  <c:v>6.958240311419516</c:v>
                </c:pt>
                <c:pt idx="791">
                  <c:v>6.958240311419516</c:v>
                </c:pt>
                <c:pt idx="792">
                  <c:v>6.958240311419516</c:v>
                </c:pt>
                <c:pt idx="793">
                  <c:v>6.985541297243638</c:v>
                </c:pt>
                <c:pt idx="794">
                  <c:v>6.985541297243638</c:v>
                </c:pt>
                <c:pt idx="795">
                  <c:v>6.985541297243638</c:v>
                </c:pt>
                <c:pt idx="796">
                  <c:v>6.985541297243638</c:v>
                </c:pt>
                <c:pt idx="797">
                  <c:v>6.985541297243638</c:v>
                </c:pt>
                <c:pt idx="798">
                  <c:v>6.985541297243638</c:v>
                </c:pt>
                <c:pt idx="799">
                  <c:v>6.985541297243638</c:v>
                </c:pt>
                <c:pt idx="800">
                  <c:v>6.985541297243638</c:v>
                </c:pt>
                <c:pt idx="801">
                  <c:v>6.985541297243638</c:v>
                </c:pt>
                <c:pt idx="802">
                  <c:v>6.985541297243638</c:v>
                </c:pt>
                <c:pt idx="803">
                  <c:v>6.985541297243638</c:v>
                </c:pt>
                <c:pt idx="804">
                  <c:v>6.985541297243638</c:v>
                </c:pt>
                <c:pt idx="805">
                  <c:v>7.013557700467349</c:v>
                </c:pt>
                <c:pt idx="806">
                  <c:v>7.013557700467349</c:v>
                </c:pt>
                <c:pt idx="807">
                  <c:v>7.013557700467349</c:v>
                </c:pt>
                <c:pt idx="808">
                  <c:v>7.013557700467349</c:v>
                </c:pt>
                <c:pt idx="809">
                  <c:v>7.013557700467349</c:v>
                </c:pt>
                <c:pt idx="810">
                  <c:v>7.070325980259497</c:v>
                </c:pt>
                <c:pt idx="811">
                  <c:v>7.070325980259497</c:v>
                </c:pt>
                <c:pt idx="812">
                  <c:v>7.070325980259497</c:v>
                </c:pt>
                <c:pt idx="813">
                  <c:v>7.070325980259497</c:v>
                </c:pt>
                <c:pt idx="814">
                  <c:v>7.070325980259497</c:v>
                </c:pt>
                <c:pt idx="815">
                  <c:v>7.070325980259497</c:v>
                </c:pt>
                <c:pt idx="816">
                  <c:v>7.099222023176078</c:v>
                </c:pt>
                <c:pt idx="817">
                  <c:v>7.099222023176078</c:v>
                </c:pt>
                <c:pt idx="818">
                  <c:v>7.099222023176078</c:v>
                </c:pt>
                <c:pt idx="819">
                  <c:v>7.128417742213395</c:v>
                </c:pt>
                <c:pt idx="820">
                  <c:v>7.128417742213395</c:v>
                </c:pt>
                <c:pt idx="821">
                  <c:v>7.128417742213395</c:v>
                </c:pt>
                <c:pt idx="822">
                  <c:v>7.128417742213395</c:v>
                </c:pt>
                <c:pt idx="823">
                  <c:v>7.128417742213395</c:v>
                </c:pt>
                <c:pt idx="824">
                  <c:v>7.128417742213395</c:v>
                </c:pt>
                <c:pt idx="825">
                  <c:v>7.128417742213395</c:v>
                </c:pt>
                <c:pt idx="826">
                  <c:v>7.128417742213395</c:v>
                </c:pt>
                <c:pt idx="827">
                  <c:v>7.1584635468908</c:v>
                </c:pt>
                <c:pt idx="828">
                  <c:v>7.1584635468908</c:v>
                </c:pt>
                <c:pt idx="829">
                  <c:v>7.1584635468908</c:v>
                </c:pt>
                <c:pt idx="830">
                  <c:v>7.1584635468908</c:v>
                </c:pt>
                <c:pt idx="831">
                  <c:v>7.1584635468908</c:v>
                </c:pt>
                <c:pt idx="832">
                  <c:v>7.1584635468908</c:v>
                </c:pt>
                <c:pt idx="833">
                  <c:v>7.1584635468908</c:v>
                </c:pt>
                <c:pt idx="834">
                  <c:v>7.1584635468908</c:v>
                </c:pt>
                <c:pt idx="835">
                  <c:v>7.1584635468908</c:v>
                </c:pt>
                <c:pt idx="836">
                  <c:v>7.1584635468908</c:v>
                </c:pt>
                <c:pt idx="837">
                  <c:v>7.1584635468908</c:v>
                </c:pt>
                <c:pt idx="838">
                  <c:v>7.1584635468908</c:v>
                </c:pt>
                <c:pt idx="839">
                  <c:v>7.1584635468908</c:v>
                </c:pt>
                <c:pt idx="840">
                  <c:v>7.1584635468908</c:v>
                </c:pt>
                <c:pt idx="841">
                  <c:v>7.1584635468908</c:v>
                </c:pt>
                <c:pt idx="842">
                  <c:v>7.1584635468908</c:v>
                </c:pt>
                <c:pt idx="843">
                  <c:v>7.189956605389148</c:v>
                </c:pt>
                <c:pt idx="844">
                  <c:v>7.189956605389148</c:v>
                </c:pt>
                <c:pt idx="845">
                  <c:v>7.22156765559167</c:v>
                </c:pt>
                <c:pt idx="846">
                  <c:v>7.22156765559167</c:v>
                </c:pt>
                <c:pt idx="847">
                  <c:v>7.22156765559167</c:v>
                </c:pt>
                <c:pt idx="848">
                  <c:v>7.22156765559167</c:v>
                </c:pt>
                <c:pt idx="849">
                  <c:v>7.22156765559167</c:v>
                </c:pt>
                <c:pt idx="850">
                  <c:v>7.22156765559167</c:v>
                </c:pt>
                <c:pt idx="851">
                  <c:v>7.22156765559167</c:v>
                </c:pt>
                <c:pt idx="852">
                  <c:v>7.22156765559167</c:v>
                </c:pt>
                <c:pt idx="853">
                  <c:v>7.22156765559167</c:v>
                </c:pt>
                <c:pt idx="854">
                  <c:v>7.22156765559167</c:v>
                </c:pt>
                <c:pt idx="855">
                  <c:v>7.22156765559167</c:v>
                </c:pt>
                <c:pt idx="856">
                  <c:v>7.22156765559167</c:v>
                </c:pt>
                <c:pt idx="857">
                  <c:v>7.25445614631989</c:v>
                </c:pt>
                <c:pt idx="858">
                  <c:v>7.25445614631989</c:v>
                </c:pt>
                <c:pt idx="859">
                  <c:v>7.25445614631989</c:v>
                </c:pt>
                <c:pt idx="860">
                  <c:v>7.25445614631989</c:v>
                </c:pt>
                <c:pt idx="861">
                  <c:v>7.25445614631989</c:v>
                </c:pt>
                <c:pt idx="862">
                  <c:v>7.321907450940778</c:v>
                </c:pt>
                <c:pt idx="863">
                  <c:v>7.321907450940778</c:v>
                </c:pt>
                <c:pt idx="864">
                  <c:v>7.321907450940778</c:v>
                </c:pt>
                <c:pt idx="865">
                  <c:v>7.355905283864128</c:v>
                </c:pt>
                <c:pt idx="866">
                  <c:v>7.355905283864128</c:v>
                </c:pt>
                <c:pt idx="867">
                  <c:v>7.355905283864128</c:v>
                </c:pt>
                <c:pt idx="868">
                  <c:v>7.355905283864128</c:v>
                </c:pt>
                <c:pt idx="869">
                  <c:v>7.355905283864128</c:v>
                </c:pt>
                <c:pt idx="870">
                  <c:v>7.355905283864128</c:v>
                </c:pt>
                <c:pt idx="871">
                  <c:v>7.42540573001277</c:v>
                </c:pt>
                <c:pt idx="872">
                  <c:v>7.42540573001277</c:v>
                </c:pt>
                <c:pt idx="873">
                  <c:v>7.42540573001277</c:v>
                </c:pt>
                <c:pt idx="874">
                  <c:v>7.42540573001277</c:v>
                </c:pt>
                <c:pt idx="875">
                  <c:v>7.42540573001277</c:v>
                </c:pt>
                <c:pt idx="876">
                  <c:v>7.460672242115618</c:v>
                </c:pt>
                <c:pt idx="877">
                  <c:v>7.460672242115618</c:v>
                </c:pt>
                <c:pt idx="878">
                  <c:v>7.460672242115618</c:v>
                </c:pt>
                <c:pt idx="879">
                  <c:v>7.460672242115618</c:v>
                </c:pt>
                <c:pt idx="880">
                  <c:v>7.460672242115618</c:v>
                </c:pt>
                <c:pt idx="881">
                  <c:v>7.460672242115618</c:v>
                </c:pt>
                <c:pt idx="882">
                  <c:v>7.460672242115618</c:v>
                </c:pt>
                <c:pt idx="883">
                  <c:v>7.460672242115618</c:v>
                </c:pt>
                <c:pt idx="884">
                  <c:v>7.460672242115618</c:v>
                </c:pt>
                <c:pt idx="885">
                  <c:v>7.496947948802355</c:v>
                </c:pt>
                <c:pt idx="886">
                  <c:v>7.496947948802355</c:v>
                </c:pt>
                <c:pt idx="887">
                  <c:v>7.496947948802355</c:v>
                </c:pt>
                <c:pt idx="888">
                  <c:v>7.496947948802355</c:v>
                </c:pt>
                <c:pt idx="889">
                  <c:v>7.496947948802355</c:v>
                </c:pt>
                <c:pt idx="890">
                  <c:v>7.496947948802355</c:v>
                </c:pt>
                <c:pt idx="891">
                  <c:v>7.496947948802355</c:v>
                </c:pt>
                <c:pt idx="892">
                  <c:v>7.496947948802355</c:v>
                </c:pt>
                <c:pt idx="893">
                  <c:v>7.496947948802355</c:v>
                </c:pt>
                <c:pt idx="894">
                  <c:v>7.496947948802355</c:v>
                </c:pt>
                <c:pt idx="895">
                  <c:v>7.496947948802355</c:v>
                </c:pt>
                <c:pt idx="896">
                  <c:v>7.496947948802355</c:v>
                </c:pt>
                <c:pt idx="897">
                  <c:v>7.496947948802355</c:v>
                </c:pt>
                <c:pt idx="898">
                  <c:v>7.496947948802355</c:v>
                </c:pt>
                <c:pt idx="899">
                  <c:v>7.496947948802355</c:v>
                </c:pt>
                <c:pt idx="900">
                  <c:v>7.496947948802355</c:v>
                </c:pt>
                <c:pt idx="901">
                  <c:v>7.496947948802355</c:v>
                </c:pt>
                <c:pt idx="902">
                  <c:v>7.53680277519237</c:v>
                </c:pt>
                <c:pt idx="903">
                  <c:v>7.53680277519237</c:v>
                </c:pt>
                <c:pt idx="904">
                  <c:v>7.53680277519237</c:v>
                </c:pt>
                <c:pt idx="905">
                  <c:v>7.53680277519237</c:v>
                </c:pt>
                <c:pt idx="906">
                  <c:v>7.53680277519237</c:v>
                </c:pt>
                <c:pt idx="907">
                  <c:v>7.53680277519237</c:v>
                </c:pt>
                <c:pt idx="908">
                  <c:v>7.53680277519237</c:v>
                </c:pt>
                <c:pt idx="909">
                  <c:v>7.53680277519237</c:v>
                </c:pt>
                <c:pt idx="910">
                  <c:v>7.53680277519237</c:v>
                </c:pt>
                <c:pt idx="911">
                  <c:v>7.57757138067068</c:v>
                </c:pt>
                <c:pt idx="912">
                  <c:v>7.57757138067068</c:v>
                </c:pt>
                <c:pt idx="913">
                  <c:v>7.61848436368052</c:v>
                </c:pt>
                <c:pt idx="914">
                  <c:v>7.61848436368052</c:v>
                </c:pt>
                <c:pt idx="915">
                  <c:v>7.61848436368052</c:v>
                </c:pt>
                <c:pt idx="916">
                  <c:v>7.61848436368052</c:v>
                </c:pt>
                <c:pt idx="917">
                  <c:v>7.61848436368052</c:v>
                </c:pt>
                <c:pt idx="918">
                  <c:v>7.61848436368052</c:v>
                </c:pt>
                <c:pt idx="919">
                  <c:v>7.61848436368052</c:v>
                </c:pt>
                <c:pt idx="920">
                  <c:v>7.61848436368052</c:v>
                </c:pt>
                <c:pt idx="921">
                  <c:v>7.61848436368052</c:v>
                </c:pt>
                <c:pt idx="922">
                  <c:v>7.61848436368052</c:v>
                </c:pt>
                <c:pt idx="923">
                  <c:v>7.660533301157251</c:v>
                </c:pt>
                <c:pt idx="924">
                  <c:v>7.660533301157251</c:v>
                </c:pt>
                <c:pt idx="925">
                  <c:v>7.70267819695775</c:v>
                </c:pt>
                <c:pt idx="926">
                  <c:v>7.70267819695775</c:v>
                </c:pt>
                <c:pt idx="927">
                  <c:v>7.744958234430506</c:v>
                </c:pt>
                <c:pt idx="928">
                  <c:v>7.744958234430506</c:v>
                </c:pt>
                <c:pt idx="929">
                  <c:v>7.744958234430506</c:v>
                </c:pt>
                <c:pt idx="930">
                  <c:v>7.744958234430506</c:v>
                </c:pt>
                <c:pt idx="931">
                  <c:v>7.744958234430506</c:v>
                </c:pt>
                <c:pt idx="932">
                  <c:v>7.744958234430506</c:v>
                </c:pt>
                <c:pt idx="933">
                  <c:v>7.744958234430506</c:v>
                </c:pt>
                <c:pt idx="934">
                  <c:v>7.744958234430506</c:v>
                </c:pt>
                <c:pt idx="935">
                  <c:v>7.744958234430506</c:v>
                </c:pt>
                <c:pt idx="936">
                  <c:v>7.744958234430506</c:v>
                </c:pt>
                <c:pt idx="937">
                  <c:v>7.744958234430506</c:v>
                </c:pt>
                <c:pt idx="938">
                  <c:v>7.744958234430506</c:v>
                </c:pt>
                <c:pt idx="939">
                  <c:v>7.744958234430506</c:v>
                </c:pt>
                <c:pt idx="940">
                  <c:v>7.744958234430506</c:v>
                </c:pt>
                <c:pt idx="941">
                  <c:v>7.744958234430506</c:v>
                </c:pt>
                <c:pt idx="942">
                  <c:v>7.744958234430506</c:v>
                </c:pt>
                <c:pt idx="943">
                  <c:v>7.789482868487235</c:v>
                </c:pt>
                <c:pt idx="944">
                  <c:v>7.789482868487235</c:v>
                </c:pt>
                <c:pt idx="945">
                  <c:v>7.968358750410653</c:v>
                </c:pt>
                <c:pt idx="946">
                  <c:v>7.968358750410653</c:v>
                </c:pt>
                <c:pt idx="947">
                  <c:v>7.968358750410653</c:v>
                </c:pt>
                <c:pt idx="948">
                  <c:v>7.968358750410653</c:v>
                </c:pt>
                <c:pt idx="949">
                  <c:v>7.968358750410653</c:v>
                </c:pt>
                <c:pt idx="950">
                  <c:v>7.968358750410653</c:v>
                </c:pt>
                <c:pt idx="951">
                  <c:v>7.968358750410653</c:v>
                </c:pt>
                <c:pt idx="952">
                  <c:v>8.014122868386581</c:v>
                </c:pt>
                <c:pt idx="953">
                  <c:v>8.014122868386581</c:v>
                </c:pt>
                <c:pt idx="954">
                  <c:v>8.06027734762975</c:v>
                </c:pt>
                <c:pt idx="955">
                  <c:v>8.06027734762975</c:v>
                </c:pt>
                <c:pt idx="956">
                  <c:v>8.06027734762975</c:v>
                </c:pt>
                <c:pt idx="957">
                  <c:v>8.06027734762975</c:v>
                </c:pt>
                <c:pt idx="958">
                  <c:v>8.06027734762975</c:v>
                </c:pt>
                <c:pt idx="959">
                  <c:v>8.06027734762975</c:v>
                </c:pt>
                <c:pt idx="960">
                  <c:v>8.06027734762975</c:v>
                </c:pt>
                <c:pt idx="961">
                  <c:v>8.06027734762975</c:v>
                </c:pt>
                <c:pt idx="962">
                  <c:v>8.06027734762975</c:v>
                </c:pt>
                <c:pt idx="963">
                  <c:v>8.108262589097519</c:v>
                </c:pt>
                <c:pt idx="964">
                  <c:v>8.108262589097519</c:v>
                </c:pt>
                <c:pt idx="965">
                  <c:v>8.108262589097519</c:v>
                </c:pt>
                <c:pt idx="966">
                  <c:v>8.15644913205034</c:v>
                </c:pt>
                <c:pt idx="967">
                  <c:v>8.15644913205034</c:v>
                </c:pt>
                <c:pt idx="968">
                  <c:v>8.15644913205034</c:v>
                </c:pt>
                <c:pt idx="969">
                  <c:v>8.15644913205034</c:v>
                </c:pt>
                <c:pt idx="970">
                  <c:v>8.20543235917991</c:v>
                </c:pt>
                <c:pt idx="971">
                  <c:v>8.20543235917991</c:v>
                </c:pt>
                <c:pt idx="972">
                  <c:v>8.20543235917991</c:v>
                </c:pt>
                <c:pt idx="973">
                  <c:v>8.30440224342877</c:v>
                </c:pt>
                <c:pt idx="974">
                  <c:v>8.30440224342877</c:v>
                </c:pt>
                <c:pt idx="975">
                  <c:v>8.30440224342877</c:v>
                </c:pt>
                <c:pt idx="976">
                  <c:v>8.30440224342877</c:v>
                </c:pt>
                <c:pt idx="977">
                  <c:v>8.30440224342877</c:v>
                </c:pt>
                <c:pt idx="978">
                  <c:v>8.30440224342877</c:v>
                </c:pt>
                <c:pt idx="979">
                  <c:v>8.354867624692694</c:v>
                </c:pt>
                <c:pt idx="980">
                  <c:v>8.354867624692694</c:v>
                </c:pt>
                <c:pt idx="981">
                  <c:v>8.50803497685199</c:v>
                </c:pt>
                <c:pt idx="982">
                  <c:v>8.50803497685199</c:v>
                </c:pt>
                <c:pt idx="983">
                  <c:v>8.50803497685199</c:v>
                </c:pt>
                <c:pt idx="984">
                  <c:v>8.50803497685199</c:v>
                </c:pt>
                <c:pt idx="985">
                  <c:v>8.559813112122581</c:v>
                </c:pt>
                <c:pt idx="986">
                  <c:v>8.559813112122581</c:v>
                </c:pt>
                <c:pt idx="987">
                  <c:v>8.559813112122581</c:v>
                </c:pt>
                <c:pt idx="988">
                  <c:v>8.559813112122581</c:v>
                </c:pt>
                <c:pt idx="989">
                  <c:v>8.559813112122581</c:v>
                </c:pt>
                <c:pt idx="990">
                  <c:v>8.559813112122581</c:v>
                </c:pt>
                <c:pt idx="991">
                  <c:v>8.559813112122581</c:v>
                </c:pt>
                <c:pt idx="992">
                  <c:v>8.6124860308368</c:v>
                </c:pt>
                <c:pt idx="993">
                  <c:v>8.6124860308368</c:v>
                </c:pt>
                <c:pt idx="994">
                  <c:v>8.6124860308368</c:v>
                </c:pt>
                <c:pt idx="995">
                  <c:v>8.6124860308368</c:v>
                </c:pt>
                <c:pt idx="996">
                  <c:v>8.6124860308368</c:v>
                </c:pt>
                <c:pt idx="997">
                  <c:v>8.6124860308368</c:v>
                </c:pt>
                <c:pt idx="998">
                  <c:v>8.6124860308368</c:v>
                </c:pt>
                <c:pt idx="999">
                  <c:v>8.6124860308368</c:v>
                </c:pt>
                <c:pt idx="1000">
                  <c:v>8.6124860308368</c:v>
                </c:pt>
                <c:pt idx="1001">
                  <c:v>8.6124860308368</c:v>
                </c:pt>
                <c:pt idx="1002">
                  <c:v>8.6124860308368</c:v>
                </c:pt>
                <c:pt idx="1003">
                  <c:v>8.6124860308368</c:v>
                </c:pt>
                <c:pt idx="1004">
                  <c:v>8.6124860308368</c:v>
                </c:pt>
                <c:pt idx="1005">
                  <c:v>8.6124860308368</c:v>
                </c:pt>
                <c:pt idx="1006">
                  <c:v>8.6124860308368</c:v>
                </c:pt>
                <c:pt idx="1007">
                  <c:v>8.6124860308368</c:v>
                </c:pt>
                <c:pt idx="1008">
                  <c:v>8.6124860308368</c:v>
                </c:pt>
                <c:pt idx="1009">
                  <c:v>8.6124860308368</c:v>
                </c:pt>
                <c:pt idx="1010">
                  <c:v>8.6124860308368</c:v>
                </c:pt>
                <c:pt idx="1011">
                  <c:v>8.6124860308368</c:v>
                </c:pt>
                <c:pt idx="1012">
                  <c:v>8.6124860308368</c:v>
                </c:pt>
                <c:pt idx="1013">
                  <c:v>8.6124860308368</c:v>
                </c:pt>
                <c:pt idx="1014">
                  <c:v>8.670326229551458</c:v>
                </c:pt>
                <c:pt idx="1015">
                  <c:v>8.670326229551458</c:v>
                </c:pt>
                <c:pt idx="1016">
                  <c:v>8.670326229551458</c:v>
                </c:pt>
                <c:pt idx="1017">
                  <c:v>8.670326229551458</c:v>
                </c:pt>
                <c:pt idx="1018">
                  <c:v>8.670326229551458</c:v>
                </c:pt>
                <c:pt idx="1019">
                  <c:v>8.670326229551458</c:v>
                </c:pt>
                <c:pt idx="1020">
                  <c:v>8.790181444473291</c:v>
                </c:pt>
                <c:pt idx="1021">
                  <c:v>8.790181444473291</c:v>
                </c:pt>
                <c:pt idx="1022">
                  <c:v>8.850625326882544</c:v>
                </c:pt>
                <c:pt idx="1023">
                  <c:v>8.850625326882544</c:v>
                </c:pt>
                <c:pt idx="1024">
                  <c:v>8.850625326882544</c:v>
                </c:pt>
                <c:pt idx="1025">
                  <c:v>8.91159480826925</c:v>
                </c:pt>
                <c:pt idx="1026">
                  <c:v>8.91159480826925</c:v>
                </c:pt>
                <c:pt idx="1027">
                  <c:v>8.9733496592467</c:v>
                </c:pt>
                <c:pt idx="1028">
                  <c:v>8.9733496592467</c:v>
                </c:pt>
                <c:pt idx="1029">
                  <c:v>8.9733496592467</c:v>
                </c:pt>
                <c:pt idx="1030">
                  <c:v>8.9733496592467</c:v>
                </c:pt>
                <c:pt idx="1031">
                  <c:v>8.9733496592467</c:v>
                </c:pt>
                <c:pt idx="1032">
                  <c:v>8.9733496592467</c:v>
                </c:pt>
                <c:pt idx="1033">
                  <c:v>8.9733496592467</c:v>
                </c:pt>
                <c:pt idx="1034">
                  <c:v>8.9733496592467</c:v>
                </c:pt>
                <c:pt idx="1035">
                  <c:v>8.9733496592467</c:v>
                </c:pt>
                <c:pt idx="1036">
                  <c:v>8.9733496592467</c:v>
                </c:pt>
                <c:pt idx="1037">
                  <c:v>8.9733496592467</c:v>
                </c:pt>
                <c:pt idx="1038">
                  <c:v>8.9733496592467</c:v>
                </c:pt>
                <c:pt idx="1039">
                  <c:v>9.042624126781518</c:v>
                </c:pt>
                <c:pt idx="1040">
                  <c:v>9.042624126781518</c:v>
                </c:pt>
                <c:pt idx="1041">
                  <c:v>9.042624126781518</c:v>
                </c:pt>
                <c:pt idx="1042">
                  <c:v>9.042624126781518</c:v>
                </c:pt>
                <c:pt idx="1043">
                  <c:v>9.042624126781518</c:v>
                </c:pt>
                <c:pt idx="1044">
                  <c:v>9.042624126781518</c:v>
                </c:pt>
                <c:pt idx="1045">
                  <c:v>9.042624126781518</c:v>
                </c:pt>
                <c:pt idx="1046">
                  <c:v>9.042624126781518</c:v>
                </c:pt>
                <c:pt idx="1047">
                  <c:v>9.042624126781518</c:v>
                </c:pt>
                <c:pt idx="1048">
                  <c:v>9.042624126781518</c:v>
                </c:pt>
                <c:pt idx="1049">
                  <c:v>9.042624126781518</c:v>
                </c:pt>
                <c:pt idx="1050">
                  <c:v>9.042624126781518</c:v>
                </c:pt>
                <c:pt idx="1051">
                  <c:v>9.042624126781518</c:v>
                </c:pt>
                <c:pt idx="1052">
                  <c:v>9.042624126781518</c:v>
                </c:pt>
                <c:pt idx="1053">
                  <c:v>9.042624126781518</c:v>
                </c:pt>
                <c:pt idx="1054">
                  <c:v>9.194219753236828</c:v>
                </c:pt>
                <c:pt idx="1055">
                  <c:v>9.194219753236828</c:v>
                </c:pt>
                <c:pt idx="1056">
                  <c:v>9.346706369940102</c:v>
                </c:pt>
                <c:pt idx="1057">
                  <c:v>9.346706369940102</c:v>
                </c:pt>
                <c:pt idx="1058">
                  <c:v>9.346706369940102</c:v>
                </c:pt>
                <c:pt idx="1059">
                  <c:v>9.346706369940102</c:v>
                </c:pt>
                <c:pt idx="1060">
                  <c:v>9.346706369940102</c:v>
                </c:pt>
                <c:pt idx="1061">
                  <c:v>9.346706369940102</c:v>
                </c:pt>
                <c:pt idx="1062">
                  <c:v>9.346706369940102</c:v>
                </c:pt>
                <c:pt idx="1063">
                  <c:v>9.346706369940102</c:v>
                </c:pt>
                <c:pt idx="1064">
                  <c:v>9.42505839554949</c:v>
                </c:pt>
                <c:pt idx="1065">
                  <c:v>9.42505839554949</c:v>
                </c:pt>
                <c:pt idx="1066">
                  <c:v>9.42505839554949</c:v>
                </c:pt>
                <c:pt idx="1067">
                  <c:v>9.42505839554949</c:v>
                </c:pt>
                <c:pt idx="1068">
                  <c:v>9.50542657798468</c:v>
                </c:pt>
                <c:pt idx="1069">
                  <c:v>9.50542657798468</c:v>
                </c:pt>
                <c:pt idx="1070">
                  <c:v>9.50542657798468</c:v>
                </c:pt>
                <c:pt idx="1071">
                  <c:v>9.50542657798468</c:v>
                </c:pt>
                <c:pt idx="1072">
                  <c:v>9.50542657798468</c:v>
                </c:pt>
                <c:pt idx="1073">
                  <c:v>9.50542657798468</c:v>
                </c:pt>
                <c:pt idx="1074">
                  <c:v>9.50542657798468</c:v>
                </c:pt>
                <c:pt idx="1075">
                  <c:v>9.59079881706205</c:v>
                </c:pt>
                <c:pt idx="1076">
                  <c:v>9.59079881706205</c:v>
                </c:pt>
                <c:pt idx="1077">
                  <c:v>9.59079881706205</c:v>
                </c:pt>
                <c:pt idx="1078">
                  <c:v>9.59079881706205</c:v>
                </c:pt>
                <c:pt idx="1079">
                  <c:v>9.59079881706205</c:v>
                </c:pt>
                <c:pt idx="1080">
                  <c:v>9.59079881706205</c:v>
                </c:pt>
                <c:pt idx="1081">
                  <c:v>9.59079881706205</c:v>
                </c:pt>
                <c:pt idx="1082">
                  <c:v>9.59079881706205</c:v>
                </c:pt>
                <c:pt idx="1083">
                  <c:v>9.59079881706205</c:v>
                </c:pt>
                <c:pt idx="1084">
                  <c:v>9.59079881706205</c:v>
                </c:pt>
                <c:pt idx="1085">
                  <c:v>9.59079881706205</c:v>
                </c:pt>
                <c:pt idx="1086">
                  <c:v>9.683526202890712</c:v>
                </c:pt>
                <c:pt idx="1087">
                  <c:v>9.683526202890712</c:v>
                </c:pt>
                <c:pt idx="1088">
                  <c:v>9.683526202890712</c:v>
                </c:pt>
                <c:pt idx="1089">
                  <c:v>9.683526202890712</c:v>
                </c:pt>
                <c:pt idx="1090">
                  <c:v>9.683526202890712</c:v>
                </c:pt>
                <c:pt idx="1091">
                  <c:v>9.683526202890712</c:v>
                </c:pt>
                <c:pt idx="1092">
                  <c:v>9.683526202890712</c:v>
                </c:pt>
                <c:pt idx="1093">
                  <c:v>9.683526202890712</c:v>
                </c:pt>
                <c:pt idx="1094">
                  <c:v>9.683526202890712</c:v>
                </c:pt>
                <c:pt idx="1095">
                  <c:v>9.683526202890712</c:v>
                </c:pt>
                <c:pt idx="1096">
                  <c:v>9.784213464648889</c:v>
                </c:pt>
                <c:pt idx="1097">
                  <c:v>9.784213464648889</c:v>
                </c:pt>
                <c:pt idx="1098">
                  <c:v>9.784213464648889</c:v>
                </c:pt>
                <c:pt idx="1099">
                  <c:v>9.88731722068932</c:v>
                </c:pt>
                <c:pt idx="1100">
                  <c:v>9.88731722068932</c:v>
                </c:pt>
                <c:pt idx="1101">
                  <c:v>9.99077609873675</c:v>
                </c:pt>
                <c:pt idx="1102">
                  <c:v>9.99077609873675</c:v>
                </c:pt>
                <c:pt idx="1103">
                  <c:v>9.99077609873675</c:v>
                </c:pt>
                <c:pt idx="1104">
                  <c:v>9.99077609873675</c:v>
                </c:pt>
                <c:pt idx="1105">
                  <c:v>9.99077609873675</c:v>
                </c:pt>
                <c:pt idx="1106">
                  <c:v>9.99077609873675</c:v>
                </c:pt>
                <c:pt idx="1107">
                  <c:v>9.99077609873675</c:v>
                </c:pt>
                <c:pt idx="1108">
                  <c:v>9.99077609873675</c:v>
                </c:pt>
                <c:pt idx="1109">
                  <c:v>9.99077609873675</c:v>
                </c:pt>
                <c:pt idx="1110">
                  <c:v>9.99077609873675</c:v>
                </c:pt>
                <c:pt idx="1111">
                  <c:v>9.99077609873675</c:v>
                </c:pt>
                <c:pt idx="1112">
                  <c:v>9.99077609873675</c:v>
                </c:pt>
                <c:pt idx="1113">
                  <c:v>9.99077609873675</c:v>
                </c:pt>
                <c:pt idx="1114">
                  <c:v>9.99077609873675</c:v>
                </c:pt>
                <c:pt idx="1115">
                  <c:v>9.99077609873675</c:v>
                </c:pt>
                <c:pt idx="1116">
                  <c:v>9.99077609873675</c:v>
                </c:pt>
                <c:pt idx="1117">
                  <c:v>9.99077609873675</c:v>
                </c:pt>
                <c:pt idx="1118">
                  <c:v>9.99077609873675</c:v>
                </c:pt>
                <c:pt idx="1119">
                  <c:v>10.10999361383775</c:v>
                </c:pt>
                <c:pt idx="1120">
                  <c:v>10.10999361383775</c:v>
                </c:pt>
                <c:pt idx="1121">
                  <c:v>10.10999361383775</c:v>
                </c:pt>
                <c:pt idx="1122">
                  <c:v>10.10999361383775</c:v>
                </c:pt>
                <c:pt idx="1123">
                  <c:v>10.10999361383775</c:v>
                </c:pt>
                <c:pt idx="1124">
                  <c:v>10.10999361383775</c:v>
                </c:pt>
                <c:pt idx="1125">
                  <c:v>10.10999361383775</c:v>
                </c:pt>
                <c:pt idx="1126">
                  <c:v>10.10999361383775</c:v>
                </c:pt>
                <c:pt idx="1127">
                  <c:v>10.10999361383775</c:v>
                </c:pt>
                <c:pt idx="1128">
                  <c:v>10.10999361383775</c:v>
                </c:pt>
                <c:pt idx="1129">
                  <c:v>10.10999361383775</c:v>
                </c:pt>
                <c:pt idx="1130">
                  <c:v>10.10999361383775</c:v>
                </c:pt>
                <c:pt idx="1131">
                  <c:v>10.10999361383775</c:v>
                </c:pt>
                <c:pt idx="1132">
                  <c:v>10.10999361383775</c:v>
                </c:pt>
                <c:pt idx="1133">
                  <c:v>10.10999361383775</c:v>
                </c:pt>
                <c:pt idx="1134">
                  <c:v>10.10999361383775</c:v>
                </c:pt>
                <c:pt idx="1135">
                  <c:v>10.10999361383775</c:v>
                </c:pt>
                <c:pt idx="1136">
                  <c:v>10.10999361383775</c:v>
                </c:pt>
                <c:pt idx="1137">
                  <c:v>10.10999361383775</c:v>
                </c:pt>
                <c:pt idx="1138">
                  <c:v>10.10999361383775</c:v>
                </c:pt>
                <c:pt idx="1139">
                  <c:v>10.10999361383775</c:v>
                </c:pt>
                <c:pt idx="1140">
                  <c:v>10.10999361383775</c:v>
                </c:pt>
                <c:pt idx="1141">
                  <c:v>10.10999361383775</c:v>
                </c:pt>
                <c:pt idx="1142">
                  <c:v>10.10999361383775</c:v>
                </c:pt>
                <c:pt idx="1143">
                  <c:v>10.26965614738333</c:v>
                </c:pt>
                <c:pt idx="1144">
                  <c:v>10.26965614738333</c:v>
                </c:pt>
                <c:pt idx="1145">
                  <c:v>10.26965614738333</c:v>
                </c:pt>
                <c:pt idx="1146">
                  <c:v>10.26965614738333</c:v>
                </c:pt>
                <c:pt idx="1147">
                  <c:v>10.26965614738333</c:v>
                </c:pt>
                <c:pt idx="1148">
                  <c:v>10.26965614738333</c:v>
                </c:pt>
                <c:pt idx="1149">
                  <c:v>10.26965614738333</c:v>
                </c:pt>
                <c:pt idx="1150">
                  <c:v>10.26965614738333</c:v>
                </c:pt>
                <c:pt idx="1151">
                  <c:v>10.26965614738333</c:v>
                </c:pt>
                <c:pt idx="1152">
                  <c:v>10.26965614738333</c:v>
                </c:pt>
                <c:pt idx="1153">
                  <c:v>10.26965614738333</c:v>
                </c:pt>
                <c:pt idx="1154">
                  <c:v>10.26965614738333</c:v>
                </c:pt>
                <c:pt idx="1155">
                  <c:v>10.26965614738333</c:v>
                </c:pt>
                <c:pt idx="1156">
                  <c:v>10.26965614738333</c:v>
                </c:pt>
                <c:pt idx="1157">
                  <c:v>10.26965614738333</c:v>
                </c:pt>
                <c:pt idx="1158">
                  <c:v>10.26965614738333</c:v>
                </c:pt>
                <c:pt idx="1159">
                  <c:v>10.26965614738333</c:v>
                </c:pt>
                <c:pt idx="1160">
                  <c:v>10.26965614738333</c:v>
                </c:pt>
                <c:pt idx="1161">
                  <c:v>10.26965614738333</c:v>
                </c:pt>
                <c:pt idx="1162">
                  <c:v>10.26965614738333</c:v>
                </c:pt>
                <c:pt idx="1163">
                  <c:v>10.26965614738333</c:v>
                </c:pt>
                <c:pt idx="1164">
                  <c:v>10.26965614738333</c:v>
                </c:pt>
                <c:pt idx="1165">
                  <c:v>10.26965614738333</c:v>
                </c:pt>
                <c:pt idx="1166">
                  <c:v>10.26965614738333</c:v>
                </c:pt>
                <c:pt idx="1167">
                  <c:v>10.26965614738333</c:v>
                </c:pt>
                <c:pt idx="1168">
                  <c:v>10.26965614738333</c:v>
                </c:pt>
                <c:pt idx="1169">
                  <c:v>10.26965614738333</c:v>
                </c:pt>
                <c:pt idx="1170">
                  <c:v>10.26965614738333</c:v>
                </c:pt>
                <c:pt idx="1171">
                  <c:v>10.26965614738333</c:v>
                </c:pt>
                <c:pt idx="1172">
                  <c:v>10.26965614738333</c:v>
                </c:pt>
                <c:pt idx="1173">
                  <c:v>10.26965614738333</c:v>
                </c:pt>
                <c:pt idx="1174">
                  <c:v>10.26965614738333</c:v>
                </c:pt>
                <c:pt idx="1175">
                  <c:v>10.26965614738333</c:v>
                </c:pt>
                <c:pt idx="1176">
                  <c:v>10.26965614738333</c:v>
                </c:pt>
                <c:pt idx="1177">
                  <c:v>10.26965614738333</c:v>
                </c:pt>
                <c:pt idx="1178">
                  <c:v>10.26965614738333</c:v>
                </c:pt>
                <c:pt idx="1179">
                  <c:v>10.26965614738333</c:v>
                </c:pt>
                <c:pt idx="1180">
                  <c:v>10.26965614738333</c:v>
                </c:pt>
                <c:pt idx="1181">
                  <c:v>10.26965614738333</c:v>
                </c:pt>
                <c:pt idx="1182">
                  <c:v>10.26965614738333</c:v>
                </c:pt>
                <c:pt idx="1183">
                  <c:v>10.26965614738333</c:v>
                </c:pt>
                <c:pt idx="1184">
                  <c:v>10.26965614738333</c:v>
                </c:pt>
                <c:pt idx="1185">
                  <c:v>10.57076468380151</c:v>
                </c:pt>
                <c:pt idx="1186">
                  <c:v>10.57076468380151</c:v>
                </c:pt>
                <c:pt idx="1187">
                  <c:v>10.57076468380151</c:v>
                </c:pt>
                <c:pt idx="1188">
                  <c:v>10.57076468380151</c:v>
                </c:pt>
                <c:pt idx="1189">
                  <c:v>10.57076468380151</c:v>
                </c:pt>
                <c:pt idx="1190">
                  <c:v>10.57076468380151</c:v>
                </c:pt>
                <c:pt idx="1191">
                  <c:v>10.57076468380151</c:v>
                </c:pt>
                <c:pt idx="1192">
                  <c:v>10.57076468380151</c:v>
                </c:pt>
                <c:pt idx="1193">
                  <c:v>10.57076468380151</c:v>
                </c:pt>
                <c:pt idx="1194">
                  <c:v>10.57076468380151</c:v>
                </c:pt>
                <c:pt idx="1195">
                  <c:v>10.57076468380151</c:v>
                </c:pt>
                <c:pt idx="1196">
                  <c:v>10.57076468380151</c:v>
                </c:pt>
                <c:pt idx="1197">
                  <c:v>10.57076468380151</c:v>
                </c:pt>
                <c:pt idx="1198">
                  <c:v>10.57076468380151</c:v>
                </c:pt>
                <c:pt idx="1199">
                  <c:v>10.57076468380151</c:v>
                </c:pt>
                <c:pt idx="1200">
                  <c:v>10.57076468380151</c:v>
                </c:pt>
                <c:pt idx="1201">
                  <c:v>10.57076468380151</c:v>
                </c:pt>
                <c:pt idx="1202">
                  <c:v>10.57076468380151</c:v>
                </c:pt>
                <c:pt idx="1203">
                  <c:v>10.57076468380151</c:v>
                </c:pt>
                <c:pt idx="1204">
                  <c:v>10.57076468380151</c:v>
                </c:pt>
                <c:pt idx="1205">
                  <c:v>10.57076468380151</c:v>
                </c:pt>
                <c:pt idx="1206">
                  <c:v>10.57076468380151</c:v>
                </c:pt>
                <c:pt idx="1207">
                  <c:v>10.57076468380151</c:v>
                </c:pt>
                <c:pt idx="1208">
                  <c:v>10.57076468380151</c:v>
                </c:pt>
                <c:pt idx="1209">
                  <c:v>10.57076468380151</c:v>
                </c:pt>
                <c:pt idx="1210">
                  <c:v>10.57076468380151</c:v>
                </c:pt>
                <c:pt idx="1211">
                  <c:v>10.57076468380151</c:v>
                </c:pt>
                <c:pt idx="1212">
                  <c:v>10.57076468380151</c:v>
                </c:pt>
                <c:pt idx="1213">
                  <c:v>10.57076468380151</c:v>
                </c:pt>
                <c:pt idx="1214">
                  <c:v>10.57076468380151</c:v>
                </c:pt>
                <c:pt idx="1215">
                  <c:v>10.57076468380151</c:v>
                </c:pt>
                <c:pt idx="1216">
                  <c:v>10.57076468380151</c:v>
                </c:pt>
                <c:pt idx="1217">
                  <c:v>10.57076468380151</c:v>
                </c:pt>
                <c:pt idx="1218">
                  <c:v>10.57076468380151</c:v>
                </c:pt>
                <c:pt idx="1219">
                  <c:v>10.57076468380151</c:v>
                </c:pt>
                <c:pt idx="1220">
                  <c:v>10.57076468380151</c:v>
                </c:pt>
                <c:pt idx="1221">
                  <c:v>10.57076468380151</c:v>
                </c:pt>
                <c:pt idx="1222">
                  <c:v>10.57076468380151</c:v>
                </c:pt>
                <c:pt idx="1223">
                  <c:v>10.57076468380151</c:v>
                </c:pt>
                <c:pt idx="1224">
                  <c:v>10.57076468380151</c:v>
                </c:pt>
                <c:pt idx="1225">
                  <c:v>10.57076468380151</c:v>
                </c:pt>
                <c:pt idx="1226">
                  <c:v>10.57076468380151</c:v>
                </c:pt>
                <c:pt idx="1227">
                  <c:v>10.57076468380151</c:v>
                </c:pt>
                <c:pt idx="1228">
                  <c:v>10.57076468380151</c:v>
                </c:pt>
                <c:pt idx="1229">
                  <c:v>10.57076468380151</c:v>
                </c:pt>
                <c:pt idx="1230">
                  <c:v>10.57076468380151</c:v>
                </c:pt>
                <c:pt idx="1231">
                  <c:v>10.57076468380151</c:v>
                </c:pt>
                <c:pt idx="1232">
                  <c:v>10.57076468380151</c:v>
                </c:pt>
                <c:pt idx="1233">
                  <c:v>10.57076468380151</c:v>
                </c:pt>
                <c:pt idx="1234">
                  <c:v>10.57076468380151</c:v>
                </c:pt>
                <c:pt idx="1235">
                  <c:v>10.57076468380151</c:v>
                </c:pt>
                <c:pt idx="1236">
                  <c:v>10.57076468380151</c:v>
                </c:pt>
                <c:pt idx="1237">
                  <c:v>10.57076468380151</c:v>
                </c:pt>
                <c:pt idx="1238">
                  <c:v>10.57076468380151</c:v>
                </c:pt>
                <c:pt idx="1239">
                  <c:v>10.57076468380151</c:v>
                </c:pt>
                <c:pt idx="1240">
                  <c:v>10.57076468380151</c:v>
                </c:pt>
                <c:pt idx="1241">
                  <c:v>10.57076468380151</c:v>
                </c:pt>
                <c:pt idx="1242">
                  <c:v>10.57076468380151</c:v>
                </c:pt>
                <c:pt idx="1243">
                  <c:v>10.57076468380151</c:v>
                </c:pt>
                <c:pt idx="1244">
                  <c:v>10.57076468380151</c:v>
                </c:pt>
                <c:pt idx="1245">
                  <c:v>10.57076468380151</c:v>
                </c:pt>
                <c:pt idx="1246">
                  <c:v>10.57076468380151</c:v>
                </c:pt>
                <c:pt idx="1247">
                  <c:v>10.57076468380151</c:v>
                </c:pt>
                <c:pt idx="1248">
                  <c:v>10.57076468380151</c:v>
                </c:pt>
                <c:pt idx="1249">
                  <c:v>10.57076468380151</c:v>
                </c:pt>
                <c:pt idx="1250">
                  <c:v>10.57076468380151</c:v>
                </c:pt>
                <c:pt idx="1251">
                  <c:v>10.57076468380151</c:v>
                </c:pt>
                <c:pt idx="1252">
                  <c:v>10.57076468380151</c:v>
                </c:pt>
                <c:pt idx="1253">
                  <c:v>10.57076468380151</c:v>
                </c:pt>
                <c:pt idx="1254">
                  <c:v>10.57076468380151</c:v>
                </c:pt>
                <c:pt idx="1255">
                  <c:v>10.57076468380151</c:v>
                </c:pt>
                <c:pt idx="1256">
                  <c:v>10.57076468380151</c:v>
                </c:pt>
                <c:pt idx="1257">
                  <c:v>10.57076468380151</c:v>
                </c:pt>
                <c:pt idx="1258">
                  <c:v>10.57076468380151</c:v>
                </c:pt>
                <c:pt idx="1259">
                  <c:v>10.57076468380151</c:v>
                </c:pt>
                <c:pt idx="1260">
                  <c:v>10.57076468380151</c:v>
                </c:pt>
                <c:pt idx="1261">
                  <c:v>10.57076468380151</c:v>
                </c:pt>
                <c:pt idx="1262">
                  <c:v>10.57076468380151</c:v>
                </c:pt>
                <c:pt idx="1263">
                  <c:v>10.57076468380151</c:v>
                </c:pt>
                <c:pt idx="1264">
                  <c:v>10.57076468380151</c:v>
                </c:pt>
                <c:pt idx="1265">
                  <c:v>10.57076468380151</c:v>
                </c:pt>
                <c:pt idx="1266">
                  <c:v>10.57076468380151</c:v>
                </c:pt>
                <c:pt idx="1267">
                  <c:v>10.57076468380151</c:v>
                </c:pt>
                <c:pt idx="1268">
                  <c:v>10.57076468380151</c:v>
                </c:pt>
                <c:pt idx="1269">
                  <c:v>10.57076468380151</c:v>
                </c:pt>
                <c:pt idx="1270">
                  <c:v>10.57076468380151</c:v>
                </c:pt>
                <c:pt idx="1271">
                  <c:v>10.57076468380151</c:v>
                </c:pt>
                <c:pt idx="1272">
                  <c:v>10.57076468380151</c:v>
                </c:pt>
                <c:pt idx="1273">
                  <c:v>10.57076468380151</c:v>
                </c:pt>
                <c:pt idx="1274">
                  <c:v>10.57076468380151</c:v>
                </c:pt>
                <c:pt idx="1275">
                  <c:v>10.57076468380151</c:v>
                </c:pt>
                <c:pt idx="1276">
                  <c:v>10.57076468380151</c:v>
                </c:pt>
                <c:pt idx="1277">
                  <c:v>10.57076468380151</c:v>
                </c:pt>
                <c:pt idx="1278">
                  <c:v>10.57076468380151</c:v>
                </c:pt>
                <c:pt idx="1279">
                  <c:v>10.57076468380151</c:v>
                </c:pt>
                <c:pt idx="1280">
                  <c:v>10.57076468380151</c:v>
                </c:pt>
                <c:pt idx="1281">
                  <c:v>10.57076468380151</c:v>
                </c:pt>
                <c:pt idx="1282">
                  <c:v>10.57076468380151</c:v>
                </c:pt>
                <c:pt idx="1283">
                  <c:v>10.57076468380151</c:v>
                </c:pt>
                <c:pt idx="1284">
                  <c:v>10.57076468380151</c:v>
                </c:pt>
                <c:pt idx="1285">
                  <c:v>10.57076468380151</c:v>
                </c:pt>
                <c:pt idx="1286">
                  <c:v>10.57076468380151</c:v>
                </c:pt>
                <c:pt idx="1287">
                  <c:v>10.57076468380151</c:v>
                </c:pt>
                <c:pt idx="1288">
                  <c:v>10.57076468380151</c:v>
                </c:pt>
                <c:pt idx="1289">
                  <c:v>10.57076468380151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BD00-4D2E-9A19-5A3CE4AFE3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032387160"/>
        <c:axId val="-2032391272"/>
      </c:scatterChart>
      <c:valAx>
        <c:axId val="-2032387160"/>
        <c:scaling>
          <c:orientation val="minMax"/>
          <c:max val="30.0"/>
          <c:min val="0.0"/>
        </c:scaling>
        <c:delete val="0"/>
        <c:axPos val="b"/>
        <c:numFmt formatCode="0" sourceLinked="0"/>
        <c:majorTickMark val="out"/>
        <c:minorTickMark val="none"/>
        <c:tickLblPos val="nextTo"/>
        <c:spPr>
          <a:noFill/>
          <a:ln w="190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nl-NL"/>
          </a:p>
        </c:txPr>
        <c:crossAx val="-2032391272"/>
        <c:crossesAt val="-2.0"/>
        <c:crossBetween val="midCat"/>
        <c:majorUnit val="3.0"/>
        <c:minorUnit val="3.0"/>
      </c:valAx>
      <c:valAx>
        <c:axId val="-2032391272"/>
        <c:scaling>
          <c:orientation val="minMax"/>
          <c:max val="12.0"/>
          <c:min val="0.0"/>
        </c:scaling>
        <c:delete val="0"/>
        <c:axPos val="l"/>
        <c:numFmt formatCode="0" sourceLinked="0"/>
        <c:majorTickMark val="out"/>
        <c:minorTickMark val="none"/>
        <c:tickLblPos val="nextTo"/>
        <c:spPr>
          <a:noFill/>
          <a:ln w="190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nl-NL"/>
          </a:p>
        </c:txPr>
        <c:crossAx val="-2032387160"/>
        <c:crosses val="autoZero"/>
        <c:crossBetween val="midCat"/>
        <c:majorUnit val="2.0"/>
        <c:minorUnit val="0.004"/>
      </c:valAx>
      <c:spPr>
        <a:noFill/>
        <a:ln>
          <a:noFill/>
        </a:ln>
        <a:effectLst/>
      </c:spPr>
    </c:plotArea>
    <c:plotVisOnly val="1"/>
    <c:dispBlanksAs val="span"/>
    <c:showDLblsOverMax val="0"/>
  </c:chart>
  <c:spPr>
    <a:noFill/>
    <a:ln>
      <a:noFill/>
    </a:ln>
    <a:effectLst/>
  </c:spPr>
  <c:txPr>
    <a:bodyPr/>
    <a:lstStyle/>
    <a:p>
      <a:pPr>
        <a:defRPr sz="1600" b="1">
          <a:solidFill>
            <a:schemeClr val="tx1"/>
          </a:solidFill>
        </a:defRPr>
      </a:pPr>
      <a:endParaRPr lang="nl-NL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Relationship Id="rId2" Type="http://schemas.openxmlformats.org/officeDocument/2006/relationships/image" Target="../media/image2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7FC5D4-8F4A-4882-A732-A858F71309D9}" type="datetimeFigureOut">
              <a:rPr lang="en-GB" smtClean="0"/>
              <a:t>22-12-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0B73BF-E3E4-498C-BF4C-91FD0512AEF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62142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5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8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0B73BF-E3E4-498C-BF4C-91FD0512AEFE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4489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75ED0A-E718-BA45-A87A-A6ACBA5847C0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2952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3929E-2116-6547-AFF9-4667251CEAB4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17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002527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Melding CBG van </a:t>
            </a:r>
            <a:r>
              <a:rPr lang="en-GB" dirty="0" err="1" smtClean="0"/>
              <a:t>euglykemisch</a:t>
            </a:r>
            <a:r>
              <a:rPr lang="en-GB" dirty="0" smtClean="0"/>
              <a:t> </a:t>
            </a:r>
            <a:r>
              <a:rPr lang="en-GB" dirty="0" err="1" smtClean="0"/>
              <a:t>keto-acidose</a:t>
            </a:r>
            <a:r>
              <a:rPr lang="en-GB" dirty="0" smtClean="0"/>
              <a:t> (</a:t>
            </a:r>
            <a:r>
              <a:rPr lang="en-GB" dirty="0" err="1" smtClean="0"/>
              <a:t>juli</a:t>
            </a:r>
            <a:r>
              <a:rPr lang="en-GB" dirty="0" smtClean="0"/>
              <a:t> 2015)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20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021601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F179DC-FF12-4096-8FA7-4AE9A7A2DB55}" type="slidenum">
              <a:rPr lang="en-GB" smtClean="0">
                <a:solidFill>
                  <a:prstClr val="black"/>
                </a:solidFill>
              </a:rPr>
              <a:pPr/>
              <a:t>2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12648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0B73BF-E3E4-498C-BF4C-91FD0512AEFE}" type="slidenum">
              <a:rPr lang="en-GB">
                <a:solidFill>
                  <a:prstClr val="black"/>
                </a:solidFill>
              </a:rPr>
              <a:pPr/>
              <a:t>2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7341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FBE706-C696-4290-9F7B-0E6E0B2BCFE7}" type="slidenum">
              <a:rPr lang="nl-NL" altLang="en-US" smtClean="0">
                <a:solidFill>
                  <a:prstClr val="black"/>
                </a:solidFill>
              </a:rPr>
              <a:pPr>
                <a:defRPr/>
              </a:pPr>
              <a:t>24</a:t>
            </a:fld>
            <a:endParaRPr lang="nl-NL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70904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dirty="0" smtClean="0"/>
              <a:t>In the combined analysis of the CANVAS/CANVAS-R trial a 14% reduction in the primary outcome was observed for </a:t>
            </a:r>
            <a:r>
              <a:rPr lang="en-GB" baseline="0" dirty="0" err="1" smtClean="0"/>
              <a:t>canagliflozin</a:t>
            </a:r>
            <a:r>
              <a:rPr lang="en-GB" baseline="0" dirty="0" smtClean="0"/>
              <a:t> treated patients </a:t>
            </a:r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>
                <a:solidFill>
                  <a:srgbClr val="001965"/>
                </a:solidFill>
                <a:latin typeface="Verdana"/>
              </a:rPr>
              <a:pPr/>
              <a:t>25</a:t>
            </a:fld>
            <a:endParaRPr lang="en-GB" dirty="0">
              <a:solidFill>
                <a:srgbClr val="001965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25585753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For</a:t>
            </a:r>
            <a:r>
              <a:rPr lang="en-GB" baseline="0" dirty="0" smtClean="0"/>
              <a:t> the insulin class two CVOTs have been conducted within T2D. Both trials demonstrated CV safety. </a:t>
            </a:r>
          </a:p>
          <a:p>
            <a:r>
              <a:rPr lang="en-GB" baseline="0" dirty="0" smtClean="0"/>
              <a:t>The ORIGIN trials were initiated before the FDA guidance and were therefore not a FDA mandated CVO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>
                <a:solidFill>
                  <a:srgbClr val="001965"/>
                </a:solidFill>
                <a:latin typeface="Verdana"/>
              </a:rPr>
              <a:pPr/>
              <a:t>26</a:t>
            </a:fld>
            <a:endParaRPr lang="en-GB" dirty="0">
              <a:solidFill>
                <a:srgbClr val="001965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55627441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0B73BF-E3E4-498C-BF4C-91FD0512AEFE}" type="slidenum">
              <a:rPr lang="en-GB">
                <a:solidFill>
                  <a:prstClr val="black"/>
                </a:solidFill>
              </a:rPr>
              <a:pPr/>
              <a:t>27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7341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>
                <a:solidFill>
                  <a:srgbClr val="001965"/>
                </a:solidFill>
                <a:latin typeface="Verdana"/>
              </a:rPr>
              <a:pPr/>
              <a:t>28</a:t>
            </a:fld>
            <a:endParaRPr lang="en-GB" dirty="0">
              <a:solidFill>
                <a:srgbClr val="001965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255474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4403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80000"/>
              </a:lnSpc>
              <a:spcBef>
                <a:spcPct val="0"/>
              </a:spcBef>
            </a:pPr>
            <a:endParaRPr lang="en-GB" sz="800" dirty="0">
              <a:latin typeface="Verdana" charset="0"/>
            </a:endParaRPr>
          </a:p>
        </p:txBody>
      </p:sp>
      <p:sp>
        <p:nvSpPr>
          <p:cNvPr id="44036" name="Slide Number Placeholder 3"/>
          <p:cNvSpPr txBox="1">
            <a:spLocks noGrp="1"/>
          </p:cNvSpPr>
          <p:nvPr/>
        </p:nvSpPr>
        <p:spPr bwMode="auto">
          <a:xfrm>
            <a:off x="3883025" y="8685213"/>
            <a:ext cx="297338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56" tIns="45528" rIns="91056" bIns="45528" anchor="b"/>
          <a:lstStyle>
            <a:lvl1pPr defTabSz="911225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 defTabSz="911225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defTabSz="911225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defTabSz="911225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defTabSz="911225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r">
              <a:spcBef>
                <a:spcPct val="50000"/>
              </a:spcBef>
            </a:pPr>
            <a:fld id="{1B616D9C-A84A-5D40-99C1-F9FB993213BE}" type="slidenum">
              <a:rPr lang="en-US" sz="1200">
                <a:latin typeface="Arial" charset="0"/>
              </a:rPr>
              <a:pPr algn="r">
                <a:spcBef>
                  <a:spcPct val="50000"/>
                </a:spcBef>
              </a:pPr>
              <a:t>6</a:t>
            </a:fld>
            <a:endParaRPr lang="en-US" sz="12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815331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FBE706-C696-4290-9F7B-0E6E0B2BCFE7}" type="slidenum">
              <a:rPr lang="en-GB" altLang="en-US" smtClean="0">
                <a:solidFill>
                  <a:prstClr val="black"/>
                </a:solidFill>
              </a:rPr>
              <a:pPr>
                <a:defRPr/>
              </a:pPr>
              <a:t>29</a:t>
            </a:fld>
            <a:endParaRPr lang="en-GB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87672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i="0" u="none" strike="noStrike" kern="1200" baseline="0" dirty="0" smtClean="0">
                <a:solidFill>
                  <a:schemeClr val="tx1"/>
                </a:solidFill>
              </a:rPr>
              <a:t>The primary outcome was the time from randomization to a composite outcome consisting of the first occurrence of cardiovascular death, nonfatal (including silent) myocardial infarction (MI), or nonfatal stroke. </a:t>
            </a:r>
            <a:endParaRPr lang="en-GB" b="1" dirty="0" smtClean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b="1" dirty="0" smtClean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b="0" dirty="0" smtClean="0"/>
              <a:t>Reference: Primary manuscript Figure 1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b="1" dirty="0" smtClean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 smtClean="0"/>
              <a:t>Source:  KM</a:t>
            </a:r>
            <a:r>
              <a:rPr lang="en-GB" b="1" baseline="0" dirty="0" smtClean="0"/>
              <a:t> plot: </a:t>
            </a:r>
            <a:r>
              <a:rPr lang="en-GB" b="0" dirty="0" smtClean="0"/>
              <a:t>EOT Figure 14.2.45 / ID14201320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 smtClean="0"/>
              <a:t>HR: </a:t>
            </a:r>
            <a:r>
              <a:rPr lang="en-GB" b="0" dirty="0" smtClean="0"/>
              <a:t>EOT Table 14.2.43/</a:t>
            </a:r>
            <a:r>
              <a:rPr lang="en-GB" sz="1200" b="0" kern="1200" dirty="0" smtClean="0">
                <a:solidFill>
                  <a:schemeClr val="tx1"/>
                </a:solidFill>
                <a:effectLst/>
              </a:rPr>
              <a:t>ID14201300_primary_analysis_fas.txt</a:t>
            </a:r>
            <a:endParaRPr lang="en-GB" b="0" dirty="0" smtClean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 smtClean="0"/>
              <a:t>P-value: </a:t>
            </a:r>
            <a:r>
              <a:rPr lang="en-GB" b="0" dirty="0" smtClean="0"/>
              <a:t>EOT Table 14.2.44/</a:t>
            </a:r>
            <a:r>
              <a:rPr lang="en-GB" sz="1200" b="0" kern="1200" dirty="0" smtClean="0">
                <a:solidFill>
                  <a:schemeClr val="tx1"/>
                </a:solidFill>
                <a:effectLst/>
              </a:rPr>
              <a:t>ID14201310_primary_analysis_pvalues_fas.txt</a:t>
            </a:r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>
                <a:solidFill>
                  <a:prstClr val="black"/>
                </a:solidFill>
              </a:rPr>
              <a:pPr/>
              <a:t>30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159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4532E3-4B1D-468B-9893-A9064633DA74}" type="slidenum">
              <a:rPr lang="en-GB" smtClean="0">
                <a:solidFill>
                  <a:prstClr val="black"/>
                </a:solidFill>
              </a:rPr>
              <a:pPr/>
              <a:t>3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45615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4532E3-4B1D-468B-9893-A9064633DA74}" type="slidenum">
              <a:rPr lang="en-GB" smtClean="0">
                <a:solidFill>
                  <a:prstClr val="black"/>
                </a:solidFill>
              </a:rPr>
              <a:pPr/>
              <a:t>33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45615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4532E3-4B1D-468B-9893-A9064633DA74}" type="slidenum">
              <a:rPr lang="en-GB" smtClean="0">
                <a:solidFill>
                  <a:prstClr val="black"/>
                </a:solidFill>
              </a:rPr>
              <a:pPr/>
              <a:t>34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45615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0B73BF-E3E4-498C-BF4C-91FD0512AEFE}" type="slidenum">
              <a:rPr lang="en-GB" smtClean="0"/>
              <a:t>3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493924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0B73BF-E3E4-498C-BF4C-91FD0512AEFE}" type="slidenum">
              <a:rPr lang="en-GB" smtClean="0"/>
              <a:t>3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493924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0B73BF-E3E4-498C-BF4C-91FD0512AEFE}" type="slidenum">
              <a:rPr lang="en-GB" smtClean="0"/>
              <a:t>3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493924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0B73BF-E3E4-498C-BF4C-91FD0512AEFE}" type="slidenum">
              <a:rPr lang="en-GB" smtClean="0"/>
              <a:t>3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49392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202" name="Rectangle 7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6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1pPr>
            <a:lvl2pPr marL="742950" indent="-285750" eaLnBrk="0" hangingPunct="0">
              <a:defRPr sz="36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2pPr>
            <a:lvl3pPr marL="1143000" indent="-228600" eaLnBrk="0" hangingPunct="0">
              <a:defRPr sz="36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3pPr>
            <a:lvl4pPr marL="1600200" indent="-228600" eaLnBrk="0" hangingPunct="0">
              <a:defRPr sz="36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4pPr>
            <a:lvl5pPr marL="2057400" indent="-228600" eaLnBrk="0" hangingPunct="0">
              <a:defRPr sz="36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5pPr>
            <a:lvl6pPr marL="2514600" indent="-228600" defTabSz="581025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6pPr>
            <a:lvl7pPr marL="2971800" indent="-228600" defTabSz="581025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7pPr>
            <a:lvl8pPr marL="3429000" indent="-228600" defTabSz="581025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8pPr>
            <a:lvl9pPr marL="3886200" indent="-228600" defTabSz="581025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9pPr>
          </a:lstStyle>
          <a:p>
            <a:pPr eaLnBrk="1" hangingPunct="1"/>
            <a:fld id="{D9B8472B-45D7-43FB-AF2B-173C5EE777AB}" type="slidenum">
              <a:rPr lang="da-DK" altLang="en-US" smtClean="0">
                <a:latin typeface="Verdana" pitchFamily="34" charset="0"/>
              </a:rPr>
              <a:pPr eaLnBrk="1" hangingPunct="1"/>
              <a:t>7</a:t>
            </a:fld>
            <a:endParaRPr lang="da-DK" altLang="en-US" dirty="0">
              <a:latin typeface="Verdana" pitchFamily="34" charset="0"/>
            </a:endParaRPr>
          </a:p>
        </p:txBody>
      </p:sp>
      <p:sp>
        <p:nvSpPr>
          <p:cNvPr id="1792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 w="12700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920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da-DK" altLang="en-US" dirty="0" smtClean="0"/>
              <a:t>Studies have </a:t>
            </a:r>
            <a:r>
              <a:rPr lang="da-DK" altLang="en-US" dirty="0" err="1" smtClean="0"/>
              <a:t>clearly</a:t>
            </a:r>
            <a:r>
              <a:rPr lang="da-DK" altLang="en-US" dirty="0" smtClean="0"/>
              <a:t> </a:t>
            </a:r>
            <a:r>
              <a:rPr lang="da-DK" altLang="en-US" dirty="0" err="1" smtClean="0"/>
              <a:t>shown</a:t>
            </a:r>
            <a:r>
              <a:rPr lang="da-DK" altLang="en-US" dirty="0" smtClean="0"/>
              <a:t> </a:t>
            </a:r>
            <a:r>
              <a:rPr lang="da-DK" altLang="en-US" dirty="0" err="1" smtClean="0"/>
              <a:t>that</a:t>
            </a:r>
            <a:r>
              <a:rPr lang="da-DK" altLang="en-US" dirty="0" smtClean="0"/>
              <a:t> </a:t>
            </a:r>
            <a:r>
              <a:rPr lang="da-DK" altLang="en-US" dirty="0" err="1" smtClean="0"/>
              <a:t>improving</a:t>
            </a:r>
            <a:r>
              <a:rPr lang="da-DK" altLang="en-US" dirty="0" smtClean="0"/>
              <a:t> </a:t>
            </a:r>
            <a:r>
              <a:rPr lang="da-DK" altLang="en-US" dirty="0" err="1" smtClean="0"/>
              <a:t>glucose</a:t>
            </a:r>
            <a:r>
              <a:rPr lang="da-DK" altLang="en-US" dirty="0" smtClean="0"/>
              <a:t> </a:t>
            </a:r>
            <a:r>
              <a:rPr lang="da-DK" altLang="en-US" dirty="0" err="1" smtClean="0"/>
              <a:t>control</a:t>
            </a:r>
            <a:r>
              <a:rPr lang="da-DK" altLang="en-US" dirty="0" smtClean="0"/>
              <a:t> </a:t>
            </a:r>
            <a:r>
              <a:rPr lang="da-DK" altLang="en-US" dirty="0" err="1" smtClean="0"/>
              <a:t>improves</a:t>
            </a:r>
            <a:r>
              <a:rPr lang="da-DK" altLang="en-US" dirty="0" smtClean="0"/>
              <a:t> </a:t>
            </a:r>
            <a:r>
              <a:rPr lang="da-DK" altLang="en-US" dirty="0" err="1" smtClean="0"/>
              <a:t>outcomes</a:t>
            </a:r>
            <a:r>
              <a:rPr lang="da-DK" altLang="en-US" dirty="0" smtClean="0"/>
              <a:t>. In the UKPDS, a 1% </a:t>
            </a:r>
            <a:r>
              <a:rPr lang="da-DK" altLang="en-US" dirty="0" err="1" smtClean="0"/>
              <a:t>decrease</a:t>
            </a:r>
            <a:r>
              <a:rPr lang="da-DK" altLang="en-US" dirty="0" smtClean="0"/>
              <a:t> in HbA</a:t>
            </a:r>
            <a:r>
              <a:rPr lang="da-DK" altLang="en-US" baseline="-15000" dirty="0" smtClean="0"/>
              <a:t>1c</a:t>
            </a:r>
            <a:r>
              <a:rPr lang="da-DK" altLang="en-US" baseline="-25000" dirty="0" smtClean="0"/>
              <a:t> </a:t>
            </a:r>
            <a:r>
              <a:rPr lang="da-DK" altLang="en-US" dirty="0" err="1" smtClean="0"/>
              <a:t>decreased</a:t>
            </a:r>
            <a:r>
              <a:rPr lang="da-DK" altLang="en-US" dirty="0" smtClean="0"/>
              <a:t> the </a:t>
            </a:r>
            <a:r>
              <a:rPr lang="da-DK" altLang="en-US" dirty="0" err="1" smtClean="0"/>
              <a:t>risk</a:t>
            </a:r>
            <a:r>
              <a:rPr lang="da-DK" altLang="en-US" dirty="0" smtClean="0"/>
              <a:t> of:</a:t>
            </a:r>
          </a:p>
          <a:p>
            <a:pPr marL="342900" lvl="1" indent="-171450">
              <a:buFontTx/>
              <a:buChar char="•"/>
            </a:pPr>
            <a:r>
              <a:rPr lang="da-DK" altLang="en-US" dirty="0" smtClean="0"/>
              <a:t>Diabetes-</a:t>
            </a:r>
            <a:r>
              <a:rPr lang="da-DK" altLang="en-US" dirty="0" err="1" smtClean="0"/>
              <a:t>related</a:t>
            </a:r>
            <a:r>
              <a:rPr lang="da-DK" altLang="en-US" dirty="0" smtClean="0"/>
              <a:t> </a:t>
            </a:r>
            <a:r>
              <a:rPr lang="da-DK" altLang="en-US" dirty="0" err="1" smtClean="0"/>
              <a:t>death</a:t>
            </a:r>
            <a:r>
              <a:rPr lang="da-DK" altLang="en-US" dirty="0" smtClean="0"/>
              <a:t> by 21% (</a:t>
            </a:r>
            <a:r>
              <a:rPr lang="da-DK" altLang="en-US" i="1" dirty="0" smtClean="0"/>
              <a:t>p</a:t>
            </a:r>
            <a:r>
              <a:rPr lang="da-DK" altLang="en-US" dirty="0" smtClean="0"/>
              <a:t>&lt;0.0001)</a:t>
            </a:r>
          </a:p>
          <a:p>
            <a:pPr marL="342900" lvl="1" indent="-171450">
              <a:buFontTx/>
              <a:buChar char="•"/>
            </a:pPr>
            <a:r>
              <a:rPr lang="da-DK" altLang="en-US" dirty="0" err="1" smtClean="0"/>
              <a:t>Myocardial</a:t>
            </a:r>
            <a:r>
              <a:rPr lang="da-DK" altLang="en-US" dirty="0" smtClean="0"/>
              <a:t> </a:t>
            </a:r>
            <a:r>
              <a:rPr lang="da-DK" altLang="en-US" dirty="0" err="1" smtClean="0"/>
              <a:t>infarction</a:t>
            </a:r>
            <a:r>
              <a:rPr lang="da-DK" altLang="en-US" dirty="0" smtClean="0"/>
              <a:t> by 14% (</a:t>
            </a:r>
            <a:r>
              <a:rPr lang="da-DK" altLang="en-US" i="1" dirty="0" smtClean="0"/>
              <a:t>p</a:t>
            </a:r>
            <a:r>
              <a:rPr lang="da-DK" altLang="en-US" dirty="0" smtClean="0"/>
              <a:t>&lt;0.0001)</a:t>
            </a:r>
          </a:p>
          <a:p>
            <a:pPr marL="342900" lvl="1" indent="-171450">
              <a:buFontTx/>
              <a:buChar char="•"/>
            </a:pPr>
            <a:r>
              <a:rPr lang="da-DK" altLang="en-US" dirty="0" err="1" smtClean="0"/>
              <a:t>Microvascular</a:t>
            </a:r>
            <a:r>
              <a:rPr lang="da-DK" altLang="en-US" dirty="0" smtClean="0"/>
              <a:t> </a:t>
            </a:r>
            <a:r>
              <a:rPr lang="da-DK" altLang="en-US" dirty="0" err="1" smtClean="0"/>
              <a:t>complications</a:t>
            </a:r>
            <a:r>
              <a:rPr lang="da-DK" altLang="en-US" dirty="0" smtClean="0"/>
              <a:t> by 37% (</a:t>
            </a:r>
            <a:r>
              <a:rPr lang="da-DK" altLang="en-US" i="1" dirty="0" smtClean="0"/>
              <a:t>p</a:t>
            </a:r>
            <a:r>
              <a:rPr lang="da-DK" altLang="en-US" dirty="0" smtClean="0"/>
              <a:t>&lt;0.0001)</a:t>
            </a:r>
          </a:p>
          <a:p>
            <a:pPr marL="342900" lvl="1" indent="-171450">
              <a:buFontTx/>
              <a:buChar char="•"/>
            </a:pPr>
            <a:r>
              <a:rPr lang="da-DK" altLang="en-US" dirty="0" err="1" smtClean="0"/>
              <a:t>Peripheral</a:t>
            </a:r>
            <a:r>
              <a:rPr lang="da-DK" altLang="en-US" dirty="0" smtClean="0"/>
              <a:t> </a:t>
            </a:r>
            <a:r>
              <a:rPr lang="da-DK" altLang="en-US" dirty="0" err="1" smtClean="0"/>
              <a:t>vascular</a:t>
            </a:r>
            <a:r>
              <a:rPr lang="da-DK" altLang="en-US" dirty="0" smtClean="0"/>
              <a:t> </a:t>
            </a:r>
            <a:r>
              <a:rPr lang="da-DK" altLang="en-US" dirty="0" err="1" smtClean="0"/>
              <a:t>disease</a:t>
            </a:r>
            <a:r>
              <a:rPr lang="da-DK" altLang="en-US" dirty="0" smtClean="0"/>
              <a:t> by 43% (</a:t>
            </a:r>
            <a:r>
              <a:rPr lang="da-DK" altLang="en-US" i="1" dirty="0" smtClean="0"/>
              <a:t>p</a:t>
            </a:r>
            <a:r>
              <a:rPr lang="da-DK" altLang="en-US" dirty="0" smtClean="0"/>
              <a:t>&lt;0.0001)</a:t>
            </a:r>
          </a:p>
          <a:p>
            <a:pPr marL="342900" lvl="1" indent="-171450">
              <a:buFontTx/>
              <a:buChar char="•"/>
            </a:pPr>
            <a:endParaRPr lang="da-DK" altLang="en-US" dirty="0" smtClean="0"/>
          </a:p>
          <a:p>
            <a:pPr eaLnBrk="1" hangingPunct="1"/>
            <a:r>
              <a:rPr lang="da-DK" altLang="en-US" dirty="0" smtClean="0"/>
              <a:t>Any </a:t>
            </a:r>
            <a:r>
              <a:rPr lang="da-DK" altLang="en-US" dirty="0" err="1" smtClean="0"/>
              <a:t>reduction</a:t>
            </a:r>
            <a:r>
              <a:rPr lang="da-DK" altLang="en-US" dirty="0" smtClean="0"/>
              <a:t> in HbA</a:t>
            </a:r>
            <a:r>
              <a:rPr lang="da-DK" altLang="en-US" baseline="-15000" dirty="0" smtClean="0"/>
              <a:t>1c</a:t>
            </a:r>
            <a:r>
              <a:rPr lang="da-DK" altLang="en-US" dirty="0" smtClean="0"/>
              <a:t> is </a:t>
            </a:r>
            <a:r>
              <a:rPr lang="da-DK" altLang="en-US" dirty="0" err="1" smtClean="0"/>
              <a:t>likely</a:t>
            </a:r>
            <a:r>
              <a:rPr lang="da-DK" altLang="en-US" dirty="0" smtClean="0"/>
              <a:t> to </a:t>
            </a:r>
            <a:r>
              <a:rPr lang="da-DK" altLang="en-US" dirty="0" err="1" smtClean="0"/>
              <a:t>reduce</a:t>
            </a:r>
            <a:r>
              <a:rPr lang="da-DK" altLang="en-US" dirty="0" smtClean="0"/>
              <a:t> the </a:t>
            </a:r>
            <a:r>
              <a:rPr lang="da-DK" altLang="en-US" dirty="0" err="1" smtClean="0"/>
              <a:t>risk</a:t>
            </a:r>
            <a:r>
              <a:rPr lang="da-DK" altLang="en-US" dirty="0" smtClean="0"/>
              <a:t> of </a:t>
            </a:r>
            <a:r>
              <a:rPr lang="da-DK" altLang="en-US" dirty="0" err="1" smtClean="0"/>
              <a:t>complications</a:t>
            </a:r>
            <a:r>
              <a:rPr lang="da-DK" altLang="en-US" dirty="0" smtClean="0"/>
              <a:t> with the </a:t>
            </a:r>
            <a:r>
              <a:rPr lang="da-DK" altLang="en-US" dirty="0" err="1" smtClean="0"/>
              <a:t>lowest</a:t>
            </a:r>
            <a:r>
              <a:rPr lang="da-DK" altLang="en-US" dirty="0" smtClean="0"/>
              <a:t> </a:t>
            </a:r>
            <a:r>
              <a:rPr lang="da-DK" altLang="en-US" dirty="0" err="1" smtClean="0"/>
              <a:t>risk</a:t>
            </a:r>
            <a:r>
              <a:rPr lang="da-DK" altLang="en-US" dirty="0" smtClean="0"/>
              <a:t> </a:t>
            </a:r>
            <a:r>
              <a:rPr lang="da-DK" altLang="en-US" dirty="0" err="1" smtClean="0"/>
              <a:t>being</a:t>
            </a:r>
            <a:r>
              <a:rPr lang="da-DK" altLang="en-US" dirty="0" smtClean="0"/>
              <a:t> in patients with HbA</a:t>
            </a:r>
            <a:r>
              <a:rPr lang="da-DK" altLang="en-US" baseline="-15000" dirty="0" smtClean="0"/>
              <a:t>1c</a:t>
            </a:r>
            <a:r>
              <a:rPr lang="da-DK" altLang="en-US" dirty="0" smtClean="0"/>
              <a:t> </a:t>
            </a:r>
            <a:r>
              <a:rPr lang="da-DK" altLang="en-US" dirty="0" err="1" smtClean="0"/>
              <a:t>values</a:t>
            </a:r>
            <a:r>
              <a:rPr lang="da-DK" altLang="en-US" dirty="0" smtClean="0"/>
              <a:t> in the normal range (&lt;6.0%).  </a:t>
            </a:r>
          </a:p>
          <a:p>
            <a:pPr eaLnBrk="1" hangingPunct="1"/>
            <a:endParaRPr lang="da-DK" altLang="en-US" dirty="0" smtClean="0"/>
          </a:p>
          <a:p>
            <a:pPr eaLnBrk="1" hangingPunct="1"/>
            <a:r>
              <a:rPr lang="da-DK" altLang="en-US" sz="900" b="1" u="sng" dirty="0" smtClean="0"/>
              <a:t>References</a:t>
            </a:r>
          </a:p>
          <a:p>
            <a:pPr eaLnBrk="1" hangingPunct="1"/>
            <a:r>
              <a:rPr lang="da-DK" altLang="en-US" sz="900" dirty="0" smtClean="0"/>
              <a:t>Stratton  </a:t>
            </a:r>
            <a:r>
              <a:rPr lang="da-DK" altLang="en-US" sz="900" i="1" dirty="0" smtClean="0"/>
              <a:t>et al</a:t>
            </a:r>
            <a:r>
              <a:rPr lang="da-DK" altLang="en-US" sz="900" dirty="0" smtClean="0"/>
              <a:t>. Association of </a:t>
            </a:r>
            <a:r>
              <a:rPr lang="da-DK" altLang="en-US" sz="900" dirty="0" err="1" smtClean="0"/>
              <a:t>glycaemia</a:t>
            </a:r>
            <a:r>
              <a:rPr lang="da-DK" altLang="en-US" sz="900" dirty="0" smtClean="0"/>
              <a:t> with </a:t>
            </a:r>
            <a:r>
              <a:rPr lang="da-DK" altLang="en-US" sz="900" dirty="0" err="1" smtClean="0"/>
              <a:t>macrovascular</a:t>
            </a:r>
            <a:r>
              <a:rPr lang="da-DK" altLang="en-US" sz="900" dirty="0" smtClean="0"/>
              <a:t> and </a:t>
            </a:r>
            <a:r>
              <a:rPr lang="da-DK" altLang="en-US" sz="900" dirty="0" err="1" smtClean="0"/>
              <a:t>microvascular</a:t>
            </a:r>
            <a:r>
              <a:rPr lang="da-DK" altLang="en-US" sz="900" dirty="0" smtClean="0"/>
              <a:t> </a:t>
            </a:r>
            <a:r>
              <a:rPr lang="da-DK" altLang="en-US" sz="900" dirty="0" err="1" smtClean="0"/>
              <a:t>complications</a:t>
            </a:r>
            <a:r>
              <a:rPr lang="da-DK" altLang="en-US" sz="900" dirty="0" smtClean="0"/>
              <a:t> of type 2 diabetes (UKPDS 35): </a:t>
            </a:r>
            <a:r>
              <a:rPr lang="da-DK" altLang="en-US" sz="900" dirty="0" err="1" smtClean="0"/>
              <a:t>prospective</a:t>
            </a:r>
            <a:r>
              <a:rPr lang="da-DK" altLang="en-US" sz="900" dirty="0" smtClean="0"/>
              <a:t>, </a:t>
            </a:r>
            <a:r>
              <a:rPr lang="da-DK" altLang="en-US" sz="900" dirty="0" err="1" smtClean="0"/>
              <a:t>observational</a:t>
            </a:r>
            <a:r>
              <a:rPr lang="da-DK" altLang="en-US" sz="900" dirty="0" smtClean="0"/>
              <a:t> </a:t>
            </a:r>
            <a:r>
              <a:rPr lang="da-DK" altLang="en-US" sz="900" dirty="0" err="1" smtClean="0"/>
              <a:t>study</a:t>
            </a:r>
            <a:r>
              <a:rPr lang="da-DK" altLang="en-US" sz="900" dirty="0" smtClean="0"/>
              <a:t>. </a:t>
            </a:r>
            <a:r>
              <a:rPr lang="da-DK" altLang="en-US" sz="900" i="1" dirty="0" smtClean="0"/>
              <a:t>BMJ</a:t>
            </a:r>
            <a:r>
              <a:rPr lang="da-DK" altLang="en-US" sz="900" dirty="0" smtClean="0"/>
              <a:t> 2000;321:405</a:t>
            </a:r>
            <a:r>
              <a:rPr lang="da-DK" altLang="en-US" sz="900" dirty="0" smtClean="0">
                <a:cs typeface="Arial" pitchFamily="34" charset="0"/>
              </a:rPr>
              <a:t>–</a:t>
            </a:r>
            <a:r>
              <a:rPr lang="da-DK" altLang="en-US" sz="900" dirty="0" smtClean="0"/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839445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F4ECA7-F66A-4EEC-B539-D897EAEBE236}" type="slidenum">
              <a:rPr lang="en-GB" smtClean="0">
                <a:solidFill>
                  <a:prstClr val="black"/>
                </a:solidFill>
              </a:rPr>
              <a:pPr/>
              <a:t>8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7382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>
                <a:solidFill>
                  <a:prstClr val="black"/>
                </a:solidFill>
              </a:rPr>
              <a:pPr/>
              <a:t>9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677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86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en-US" dirty="0" smtClean="0"/>
          </a:p>
        </p:txBody>
      </p:sp>
      <p:sp>
        <p:nvSpPr>
          <p:cNvPr id="6861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18106014-98EA-406B-ADE7-32B973156885}" type="slidenum">
              <a:rPr lang="en-GB" altLang="en-US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11</a:t>
            </a:fld>
            <a:endParaRPr lang="en-GB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00011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13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479226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 txBox="1">
            <a:spLocks noGrp="1" noChangeArrowheads="1"/>
          </p:cNvSpPr>
          <p:nvPr/>
        </p:nvSpPr>
        <p:spPr bwMode="auto">
          <a:xfrm>
            <a:off x="381000" y="228600"/>
            <a:ext cx="609600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148" tIns="46074" rIns="92148" bIns="46074">
            <a:spAutoFit/>
          </a:bodyPr>
          <a:lstStyle/>
          <a:p>
            <a:pPr defTabSz="9191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Tx/>
              <a:buChar char="•"/>
            </a:pPr>
            <a:r>
              <a:rPr lang="en-US" altLang="en-US" sz="1000" b="1">
                <a:solidFill>
                  <a:srgbClr val="000000"/>
                </a:solidFill>
                <a:latin typeface="Calibri" pitchFamily="34" charset="0"/>
              </a:rPr>
              <a:t>Metformin and pleiotropic effects - KOOY 15022010</a:t>
            </a:r>
            <a:endParaRPr lang="nl-NL" altLang="en-US" sz="1000" b="1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7347" name="Rectangle 5"/>
          <p:cNvSpPr txBox="1">
            <a:spLocks noGrp="1" noChangeArrowheads="1"/>
          </p:cNvSpPr>
          <p:nvPr/>
        </p:nvSpPr>
        <p:spPr bwMode="auto">
          <a:xfrm>
            <a:off x="6096000" y="8761413"/>
            <a:ext cx="38100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148" tIns="46074" rIns="92148" bIns="46074">
            <a:spAutoFit/>
          </a:bodyPr>
          <a:lstStyle/>
          <a:p>
            <a:pPr algn="r" defTabSz="91916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Tx/>
              <a:buChar char="•"/>
            </a:pPr>
            <a:fld id="{3567281C-4A80-4529-B357-A8E1B90A3740}" type="slidenum">
              <a:rPr lang="nl-NL" altLang="en-US" sz="1000" b="1">
                <a:solidFill>
                  <a:srgbClr val="000000"/>
                </a:solidFill>
                <a:latin typeface="Calibri" pitchFamily="34" charset="0"/>
              </a:rPr>
              <a:pPr algn="r" defTabSz="91916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0000"/>
                </a:buClr>
                <a:buFontTx/>
                <a:buChar char="•"/>
              </a:pPr>
              <a:t>14</a:t>
            </a:fld>
            <a:endParaRPr lang="nl-NL" altLang="en-US" sz="1000" b="1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73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07975" y="720725"/>
            <a:ext cx="6337300" cy="35655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734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4951413"/>
            <a:ext cx="6096000" cy="3810000"/>
          </a:xfrm>
          <a:noFill/>
        </p:spPr>
        <p:txBody>
          <a:bodyPr wrap="square" lIns="92148" tIns="46074" rIns="92148" bIns="46074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tformine</a:t>
            </a:r>
            <a:r>
              <a:rPr lang="nl-NL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toegevoegd aan insuline bij patiënten met DM2, leidt tot een gunstiger lichaamsgewicht, een betere glucoseregulatie met minder insuline en een lagere kans op </a:t>
            </a:r>
            <a:r>
              <a:rPr lang="nl-NL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crovasculaire</a:t>
            </a:r>
            <a:r>
              <a:rPr lang="nl-NL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ebeurtenissen. Deze bevindingen ondersteunen het beleid om behandeling met </a:t>
            </a:r>
            <a:r>
              <a:rPr lang="nl-NL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tformine</a:t>
            </a:r>
            <a:r>
              <a:rPr lang="nl-NL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oort te zetten bij patiënten met DM2 die insuline gaan gebruiken</a:t>
            </a:r>
          </a:p>
          <a:p>
            <a:pPr eaLnBrk="1" hangingPunct="1">
              <a:spcBef>
                <a:spcPct val="0"/>
              </a:spcBef>
            </a:pPr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5614397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15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479226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30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0.vml"/><Relationship Id="rId2" Type="http://schemas.openxmlformats.org/officeDocument/2006/relationships/tags" Target="../tags/tag3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31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1.vml"/><Relationship Id="rId2" Type="http://schemas.openxmlformats.org/officeDocument/2006/relationships/tags" Target="../tags/tag3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3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2.vml"/><Relationship Id="rId2" Type="http://schemas.openxmlformats.org/officeDocument/2006/relationships/tags" Target="../tags/tag3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3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3.vml"/><Relationship Id="rId2" Type="http://schemas.openxmlformats.org/officeDocument/2006/relationships/tags" Target="../tags/tag33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34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4.vml"/><Relationship Id="rId2" Type="http://schemas.openxmlformats.org/officeDocument/2006/relationships/tags" Target="../tags/tag3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2.png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2.png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8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8.vml"/><Relationship Id="rId2" Type="http://schemas.openxmlformats.org/officeDocument/2006/relationships/tags" Target="../tags/tag3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4" Type="http://schemas.openxmlformats.org/officeDocument/2006/relationships/slideMaster" Target="../slideMasters/slideMaster9.xml"/><Relationship Id="rId5" Type="http://schemas.openxmlformats.org/officeDocument/2006/relationships/oleObject" Target="../embeddings/oleObject39.bin"/><Relationship Id="rId6" Type="http://schemas.openxmlformats.org/officeDocument/2006/relationships/image" Target="../media/image1.emf"/><Relationship Id="rId7" Type="http://schemas.openxmlformats.org/officeDocument/2006/relationships/oleObject" Target="../embeddings/oleObject40.bin"/><Relationship Id="rId1" Type="http://schemas.openxmlformats.org/officeDocument/2006/relationships/vmlDrawing" Target="../drawings/vmlDrawing39.vml"/><Relationship Id="rId2" Type="http://schemas.openxmlformats.org/officeDocument/2006/relationships/tags" Target="../tags/tag3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41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0.vml"/><Relationship Id="rId2" Type="http://schemas.openxmlformats.org/officeDocument/2006/relationships/tags" Target="../tags/tag4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4" Type="http://schemas.openxmlformats.org/officeDocument/2006/relationships/slideMaster" Target="../slideMasters/slideMaster10.xml"/><Relationship Id="rId5" Type="http://schemas.openxmlformats.org/officeDocument/2006/relationships/oleObject" Target="../embeddings/oleObject42.bin"/><Relationship Id="rId6" Type="http://schemas.openxmlformats.org/officeDocument/2006/relationships/image" Target="../media/image1.emf"/><Relationship Id="rId7" Type="http://schemas.openxmlformats.org/officeDocument/2006/relationships/oleObject" Target="../embeddings/oleObject43.bin"/><Relationship Id="rId1" Type="http://schemas.openxmlformats.org/officeDocument/2006/relationships/vmlDrawing" Target="../drawings/vmlDrawing41.vml"/><Relationship Id="rId2" Type="http://schemas.openxmlformats.org/officeDocument/2006/relationships/tags" Target="../tags/tag4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1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4.vml"/><Relationship Id="rId2" Type="http://schemas.openxmlformats.org/officeDocument/2006/relationships/tags" Target="../tags/tag1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5.vml"/><Relationship Id="rId2" Type="http://schemas.openxmlformats.org/officeDocument/2006/relationships/tags" Target="../tags/tag1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6.vml"/><Relationship Id="rId2" Type="http://schemas.openxmlformats.org/officeDocument/2006/relationships/tags" Target="../tags/tag1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7.vml"/><Relationship Id="rId2" Type="http://schemas.openxmlformats.org/officeDocument/2006/relationships/tags" Target="../tags/tag1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8.vml"/><Relationship Id="rId2" Type="http://schemas.openxmlformats.org/officeDocument/2006/relationships/tags" Target="../tags/tag18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9.vml"/><Relationship Id="rId2" Type="http://schemas.openxmlformats.org/officeDocument/2006/relationships/tags" Target="../tags/tag19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0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0.vml"/><Relationship Id="rId2" Type="http://schemas.openxmlformats.org/officeDocument/2006/relationships/tags" Target="../tags/tag20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1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1.vml"/><Relationship Id="rId2" Type="http://schemas.openxmlformats.org/officeDocument/2006/relationships/tags" Target="../tags/tag2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2.vml"/><Relationship Id="rId2" Type="http://schemas.openxmlformats.org/officeDocument/2006/relationships/tags" Target="../tags/tag2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3.vml"/><Relationship Id="rId2" Type="http://schemas.openxmlformats.org/officeDocument/2006/relationships/tags" Target="../tags/tag2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4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4.vml"/><Relationship Id="rId2" Type="http://schemas.openxmlformats.org/officeDocument/2006/relationships/tags" Target="../tags/tag2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5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5.vml"/><Relationship Id="rId2" Type="http://schemas.openxmlformats.org/officeDocument/2006/relationships/tags" Target="../tags/tag2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6.vml"/><Relationship Id="rId2" Type="http://schemas.openxmlformats.org/officeDocument/2006/relationships/tags" Target="../tags/tag2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7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7.vml"/><Relationship Id="rId2" Type="http://schemas.openxmlformats.org/officeDocument/2006/relationships/tags" Target="../tags/tag2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8.vml"/><Relationship Id="rId2" Type="http://schemas.openxmlformats.org/officeDocument/2006/relationships/tags" Target="../tags/tag2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29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9.vml"/><Relationship Id="rId2" Type="http://schemas.openxmlformats.org/officeDocument/2006/relationships/tags" Target="../tags/tag2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55F9A-10B8-48A0-A670-4DAF4FCE3C5E}" type="datetimeFigureOut">
              <a:rPr lang="en-GB" smtClean="0"/>
              <a:t>22-12-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E52CB-72DF-4CEA-9D3E-F3F83B8EA34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73795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55F9A-10B8-48A0-A670-4DAF4FCE3C5E}" type="datetimeFigureOut">
              <a:rPr lang="en-GB" smtClean="0"/>
              <a:t>22-12-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E52CB-72DF-4CEA-9D3E-F3F83B8EA34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229828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arge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316800" y="1312225"/>
            <a:ext cx="8510400" cy="2955788"/>
          </a:xfrm>
          <a:prstGeom prst="roundRect">
            <a:avLst>
              <a:gd name="adj" fmla="val 4683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68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2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268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2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731411" y="1312225"/>
            <a:ext cx="4093768" cy="2955788"/>
          </a:xfrm>
          <a:prstGeom prst="roundRect">
            <a:avLst>
              <a:gd name="adj" fmla="val 3924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68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2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7361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3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318821" y="1312223"/>
            <a:ext cx="5564631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202278" y="1312225"/>
            <a:ext cx="2624927" cy="2955788"/>
          </a:xfrm>
          <a:prstGeom prst="roundRect">
            <a:avLst>
              <a:gd name="adj" fmla="val 4084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68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2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687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4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937200" y="1312225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8"/>
          </p:nvPr>
        </p:nvSpPr>
        <p:spPr>
          <a:xfrm>
            <a:off x="318830" y="1312223"/>
            <a:ext cx="6308887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68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2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64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/>
          <p:cNvSpPr>
            <a:spLocks noGrp="1"/>
          </p:cNvSpPr>
          <p:nvPr>
            <p:ph idx="18"/>
          </p:nvPr>
        </p:nvSpPr>
        <p:spPr>
          <a:xfrm>
            <a:off x="318827" y="1312223"/>
            <a:ext cx="4099651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937200" y="1312225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4726874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68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2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7307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937200" y="1312225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4726874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31" name="Picture Placeholder 8"/>
          <p:cNvSpPr>
            <a:spLocks noGrp="1"/>
          </p:cNvSpPr>
          <p:nvPr>
            <p:ph type="pic" sz="quarter" idx="29"/>
          </p:nvPr>
        </p:nvSpPr>
        <p:spPr>
          <a:xfrm>
            <a:off x="2521837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32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316800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68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2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8458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idx="23"/>
          </p:nvPr>
        </p:nvSpPr>
        <p:spPr>
          <a:xfrm>
            <a:off x="318821" y="1312223"/>
            <a:ext cx="2923653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13" name="Media Placeholder 8"/>
          <p:cNvSpPr>
            <a:spLocks noGrp="1"/>
          </p:cNvSpPr>
          <p:nvPr>
            <p:ph type="media" sz="quarter" idx="18" hasCustomPrompt="1"/>
          </p:nvPr>
        </p:nvSpPr>
        <p:spPr>
          <a:xfrm>
            <a:off x="3578125" y="1309928"/>
            <a:ext cx="5258820" cy="2958085"/>
          </a:xfr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Click to add media size 16/9</a:t>
            </a:r>
            <a:endParaRPr lang="en-GB" noProof="0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68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2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4522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/>
          </p:cNvSpPr>
          <p:nvPr>
            <p:ph type="media" sz="quarter" idx="15" hasCustomPrompt="1"/>
          </p:nvPr>
        </p:nvSpPr>
        <p:spPr>
          <a:xfrm>
            <a:off x="4891539" y="1309928"/>
            <a:ext cx="3945406" cy="2958085"/>
          </a:xfr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Click to add media size 4/3</a:t>
            </a:r>
            <a:endParaRPr lang="en-GB" noProof="0" dirty="0"/>
          </a:p>
        </p:txBody>
      </p:sp>
      <p:sp>
        <p:nvSpPr>
          <p:cNvPr id="17" name="Content Placeholder 2"/>
          <p:cNvSpPr>
            <a:spLocks noGrp="1"/>
          </p:cNvSpPr>
          <p:nvPr>
            <p:ph idx="24"/>
          </p:nvPr>
        </p:nvSpPr>
        <p:spPr>
          <a:xfrm>
            <a:off x="318822" y="1312223"/>
            <a:ext cx="4251592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68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2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841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/>
          </p:cNvSpPr>
          <p:nvPr>
            <p:ph type="media" sz="quarter" idx="18" hasCustomPrompt="1"/>
          </p:nvPr>
        </p:nvSpPr>
        <p:spPr>
          <a:xfrm>
            <a:off x="0" y="3"/>
            <a:ext cx="9144000" cy="5143499"/>
          </a:xfr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Click to add media size 16:9</a:t>
            </a:r>
            <a:endParaRPr lang="en-GB" noProof="0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68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FFFFFF"/>
                </a:solidFill>
              </a:rPr>
              <a:t>Presentation titl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FFFFFF"/>
                </a:solidFill>
              </a:rPr>
              <a:t>Dat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24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9661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514822" y="105052"/>
            <a:ext cx="312378" cy="101600"/>
          </a:xfrm>
          <a:prstGeom prst="rect">
            <a:avLst/>
          </a:prstGeom>
        </p:spPr>
        <p:txBody>
          <a:bodyPr lIns="68564" tIns="34289" rIns="68564" bIns="34289"/>
          <a:lstStyle/>
          <a:p>
            <a:pPr defTabSz="685613">
              <a:defRPr/>
            </a:pPr>
            <a:fld id="{4B01E8EF-57E8-4F85-90EB-163CEE512F88}" type="slidenum">
              <a:rPr lang="en-GB" sz="1400">
                <a:solidFill>
                  <a:srgbClr val="82786F"/>
                </a:solidFill>
              </a:rPr>
              <a:pPr defTabSz="685613">
                <a:defRPr/>
              </a:pPr>
              <a:t>‹nr.›</a:t>
            </a:fld>
            <a:endParaRPr lang="en-GB" sz="1400" dirty="0">
              <a:solidFill>
                <a:srgbClr val="82786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72968" y="103909"/>
            <a:ext cx="2900363" cy="101600"/>
          </a:xfrm>
          <a:prstGeom prst="rect">
            <a:avLst/>
          </a:prstGeom>
        </p:spPr>
        <p:txBody>
          <a:bodyPr lIns="68564" tIns="34289" rIns="68564" bIns="34289"/>
          <a:lstStyle/>
          <a:p>
            <a:pPr defTabSz="685613">
              <a:defRPr/>
            </a:pPr>
            <a:r>
              <a:rPr lang="en-GB" sz="1400">
                <a:solidFill>
                  <a:srgbClr val="82786F"/>
                </a:solidFill>
              </a:rPr>
              <a:t>Presentation title</a:t>
            </a:r>
            <a:endParaRPr lang="en-GB" sz="1400" dirty="0">
              <a:solidFill>
                <a:srgbClr val="82786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187154" y="103909"/>
            <a:ext cx="1201738" cy="101600"/>
          </a:xfrm>
          <a:prstGeom prst="rect">
            <a:avLst/>
          </a:prstGeom>
        </p:spPr>
        <p:txBody>
          <a:bodyPr lIns="68564" tIns="34289" rIns="68564" bIns="34289"/>
          <a:lstStyle/>
          <a:p>
            <a:pPr defTabSz="685613">
              <a:defRPr/>
            </a:pPr>
            <a:r>
              <a:rPr lang="en-GB" sz="1400">
                <a:solidFill>
                  <a:srgbClr val="82786F"/>
                </a:solidFill>
              </a:rPr>
              <a:t>Date</a:t>
            </a:r>
            <a:endParaRPr lang="en-GB" sz="1400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5516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55F9A-10B8-48A0-A670-4DAF4FCE3C5E}" type="datetimeFigureOut">
              <a:rPr lang="en-GB" smtClean="0"/>
              <a:t>22-12-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E52CB-72DF-4CEA-9D3E-F3F83B8EA34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082141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514822" y="105052"/>
            <a:ext cx="312378" cy="101600"/>
          </a:xfrm>
          <a:prstGeom prst="rect">
            <a:avLst/>
          </a:prstGeom>
        </p:spPr>
        <p:txBody>
          <a:bodyPr lIns="68564" tIns="34289" rIns="68564" bIns="34289"/>
          <a:lstStyle/>
          <a:p>
            <a:pPr defTabSz="685613">
              <a:defRPr/>
            </a:pPr>
            <a:fld id="{4B01E8EF-57E8-4F85-90EB-163CEE512F88}" type="slidenum">
              <a:rPr lang="en-GB" sz="1400">
                <a:solidFill>
                  <a:srgbClr val="82786F"/>
                </a:solidFill>
              </a:rPr>
              <a:pPr defTabSz="685613">
                <a:defRPr/>
              </a:pPr>
              <a:t>‹nr.›</a:t>
            </a:fld>
            <a:endParaRPr lang="en-GB" sz="1400" dirty="0">
              <a:solidFill>
                <a:srgbClr val="82786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72968" y="103909"/>
            <a:ext cx="2900363" cy="101600"/>
          </a:xfrm>
          <a:prstGeom prst="rect">
            <a:avLst/>
          </a:prstGeom>
        </p:spPr>
        <p:txBody>
          <a:bodyPr lIns="68564" tIns="34289" rIns="68564" bIns="34289"/>
          <a:lstStyle/>
          <a:p>
            <a:pPr defTabSz="685613">
              <a:defRPr/>
            </a:pPr>
            <a:r>
              <a:rPr lang="en-GB" sz="1400">
                <a:solidFill>
                  <a:srgbClr val="82786F"/>
                </a:solidFill>
              </a:rPr>
              <a:t>Presentation title</a:t>
            </a:r>
            <a:endParaRPr lang="en-GB" sz="1400" dirty="0">
              <a:solidFill>
                <a:srgbClr val="82786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187154" y="103909"/>
            <a:ext cx="1201738" cy="101600"/>
          </a:xfrm>
          <a:prstGeom prst="rect">
            <a:avLst/>
          </a:prstGeom>
        </p:spPr>
        <p:txBody>
          <a:bodyPr lIns="68564" tIns="34289" rIns="68564" bIns="34289"/>
          <a:lstStyle/>
          <a:p>
            <a:pPr defTabSz="685613">
              <a:defRPr/>
            </a:pPr>
            <a:r>
              <a:rPr lang="en-GB" sz="1400">
                <a:solidFill>
                  <a:srgbClr val="82786F"/>
                </a:solidFill>
              </a:rPr>
              <a:t>Date</a:t>
            </a:r>
            <a:endParaRPr lang="en-GB" sz="1400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561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316800" y="309048"/>
            <a:ext cx="8510400" cy="3958973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71984" tIns="71984" rIns="71984" bIns="71984" numCol="1" rtlCol="0" anchor="ctr" anchorCtr="0" compatLnSpc="1">
            <a:prstTxWarp prst="textNoShape">
              <a:avLst/>
            </a:prstTxWarp>
          </a:bodyPr>
          <a:lstStyle/>
          <a:p>
            <a:pPr algn="ctr" defTabSz="1218839" fontAlgn="base">
              <a:spcBef>
                <a:spcPct val="50000"/>
              </a:spcBef>
              <a:spcAft>
                <a:spcPct val="0"/>
              </a:spcAft>
            </a:pPr>
            <a:endParaRPr lang="en-GB" sz="2400" b="1" dirty="0">
              <a:solidFill>
                <a:srgbClr val="001965"/>
              </a:solidFill>
            </a:endParaRPr>
          </a:p>
        </p:txBody>
      </p:sp>
      <p:sp>
        <p:nvSpPr>
          <p:cNvPr id="21" name="Title 6"/>
          <p:cNvSpPr txBox="1">
            <a:spLocks/>
          </p:cNvSpPr>
          <p:nvPr userDrawn="1"/>
        </p:nvSpPr>
        <p:spPr bwMode="auto">
          <a:xfrm>
            <a:off x="318823" y="577310"/>
            <a:ext cx="8518124" cy="391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7788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001965"/>
                </a:solidFill>
                <a:latin typeface="+mj-lt"/>
                <a:ea typeface="+mj-ea"/>
                <a:cs typeface="+mj-cs"/>
              </a:defRPr>
            </a:lvl1pPr>
            <a:lvl2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2pPr>
            <a:lvl3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3pPr>
            <a:lvl4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4pPr>
            <a:lvl5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5pPr>
            <a:lvl6pPr marL="329595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6pPr>
            <a:lvl7pPr marL="659191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7pPr>
            <a:lvl8pPr marL="988786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8pPr>
            <a:lvl9pPr marL="1318382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9pPr>
          </a:lstStyle>
          <a:p>
            <a:r>
              <a:rPr lang="en-GB" dirty="0" smtClean="0"/>
              <a:t>Title</a:t>
            </a:r>
            <a:endParaRPr lang="en-GB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2748811" y="2524537"/>
            <a:ext cx="3633374" cy="253916"/>
          </a:xfrm>
          <a:prstGeom prst="rect">
            <a:avLst/>
          </a:prstGeom>
          <a:noFill/>
        </p:spPr>
        <p:txBody>
          <a:bodyPr wrap="square" lIns="68564" tIns="34289" rIns="68564" bIns="34289" rtlCol="0">
            <a:spAutoFit/>
          </a:bodyPr>
          <a:lstStyle/>
          <a:p>
            <a:pPr algn="ctr" defTabSz="685613"/>
            <a:r>
              <a:rPr lang="en-GB" sz="1200" dirty="0">
                <a:solidFill>
                  <a:srgbClr val="E64A0E"/>
                </a:solidFill>
              </a:rPr>
              <a:t>Keep all content in this area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318821" y="1312235"/>
            <a:ext cx="8518125" cy="346249"/>
          </a:xfrm>
          <a:prstGeom prst="rect">
            <a:avLst/>
          </a:prstGeom>
          <a:noFill/>
        </p:spPr>
        <p:txBody>
          <a:bodyPr wrap="square" lIns="68564" tIns="34289" rIns="68564" bIns="34289" rtlCol="0">
            <a:spAutoFit/>
          </a:bodyPr>
          <a:lstStyle/>
          <a:p>
            <a:pPr defTabSz="685613"/>
            <a:endParaRPr lang="en-GB" dirty="0">
              <a:solidFill>
                <a:srgbClr val="001965"/>
              </a:solidFill>
            </a:endParaRPr>
          </a:p>
        </p:txBody>
      </p:sp>
      <p:sp>
        <p:nvSpPr>
          <p:cNvPr id="30" name="Rectangle 29"/>
          <p:cNvSpPr/>
          <p:nvPr userDrawn="1"/>
        </p:nvSpPr>
        <p:spPr bwMode="auto">
          <a:xfrm>
            <a:off x="316805" y="1312223"/>
            <a:ext cx="8510401" cy="2955789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9801" indent="-269801" defTabSz="1218839" fontAlgn="base">
              <a:spcBef>
                <a:spcPct val="50000"/>
              </a:spcBef>
              <a:spcAft>
                <a:spcPct val="0"/>
              </a:spcAft>
              <a:buClr>
                <a:srgbClr val="009FDA"/>
              </a:buClr>
              <a:buFont typeface="Arial" pitchFamily="34" charset="0"/>
              <a:buChar char="•"/>
            </a:pPr>
            <a:r>
              <a:rPr lang="en-GB" dirty="0">
                <a:solidFill>
                  <a:srgbClr val="001965"/>
                </a:solidFill>
              </a:rPr>
              <a:t>Content area</a:t>
            </a:r>
          </a:p>
        </p:txBody>
      </p:sp>
      <p:sp>
        <p:nvSpPr>
          <p:cNvPr id="31" name="TextBox 30"/>
          <p:cNvSpPr txBox="1"/>
          <p:nvPr userDrawn="1"/>
        </p:nvSpPr>
        <p:spPr>
          <a:xfrm>
            <a:off x="316801" y="964459"/>
            <a:ext cx="4572008" cy="253916"/>
          </a:xfrm>
          <a:prstGeom prst="rect">
            <a:avLst/>
          </a:prstGeom>
          <a:noFill/>
        </p:spPr>
        <p:txBody>
          <a:bodyPr wrap="square" lIns="68564" tIns="34289" rIns="68564" bIns="34289" rtlCol="0">
            <a:spAutoFit/>
          </a:bodyPr>
          <a:lstStyle/>
          <a:p>
            <a:pPr defTabSz="685613"/>
            <a:r>
              <a:rPr lang="en-GB" sz="1200" dirty="0">
                <a:solidFill>
                  <a:srgbClr val="E64A0E"/>
                </a:solidFill>
              </a:rPr>
              <a:t>Keep all titles, trompets and subtitles in this area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4919814" y="329740"/>
            <a:ext cx="3909190" cy="253916"/>
          </a:xfrm>
          <a:prstGeom prst="rect">
            <a:avLst/>
          </a:prstGeom>
          <a:noFill/>
        </p:spPr>
        <p:txBody>
          <a:bodyPr wrap="square" lIns="68564" tIns="34289" rIns="68564" bIns="34289" rtlCol="0">
            <a:spAutoFit/>
          </a:bodyPr>
          <a:lstStyle/>
          <a:p>
            <a:pPr algn="r" defTabSz="685613"/>
            <a:r>
              <a:rPr lang="en-GB" sz="1200" dirty="0">
                <a:solidFill>
                  <a:srgbClr val="E64A0E"/>
                </a:solidFill>
              </a:rPr>
              <a:t>Never move Footer, Date and No placeholders</a:t>
            </a:r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68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7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8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2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8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6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16803" y="4479436"/>
            <a:ext cx="8510404" cy="540240"/>
          </a:xfrm>
        </p:spPr>
        <p:txBody>
          <a:bodyPr rIns="67484" anchor="b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800" kern="1200" dirty="0" smtClean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1pPr>
            <a:lvl2pPr marL="265028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800" kern="1200" dirty="0" smtClean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536386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800" kern="1200" dirty="0" smtClean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807758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800" kern="1200" dirty="0" smtClean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072772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GB" sz="800" kern="1200" dirty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4"/>
          </p:nvPr>
        </p:nvSpPr>
        <p:spPr>
          <a:xfrm>
            <a:off x="4173540" y="103189"/>
            <a:ext cx="2900363" cy="101600"/>
          </a:xfrm>
          <a:prstGeom prst="rect">
            <a:avLst/>
          </a:prstGeom>
        </p:spPr>
        <p:txBody>
          <a:bodyPr lIns="68564" tIns="34289" rIns="68564" bIns="34289"/>
          <a:lstStyle>
            <a:lvl1pPr algn="r" defTabSz="878613" eaLnBrk="1" hangingPunct="1">
              <a:spcBef>
                <a:spcPct val="0"/>
              </a:spcBef>
              <a:defRPr sz="600" b="0">
                <a:solidFill>
                  <a:srgbClr val="82786F"/>
                </a:solidFill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15"/>
          </p:nvPr>
        </p:nvSpPr>
        <p:spPr>
          <a:xfrm>
            <a:off x="7186616" y="103189"/>
            <a:ext cx="1201737" cy="101600"/>
          </a:xfrm>
          <a:prstGeom prst="rect">
            <a:avLst/>
          </a:prstGeom>
        </p:spPr>
        <p:txBody>
          <a:bodyPr lIns="68564" tIns="34289" rIns="68564" bIns="34289"/>
          <a:lstStyle>
            <a:lvl1pPr algn="r" defTabSz="878613" eaLnBrk="1" hangingPunct="1">
              <a:spcBef>
                <a:spcPct val="0"/>
              </a:spcBef>
              <a:defRPr sz="600" b="0">
                <a:solidFill>
                  <a:srgbClr val="82786F"/>
                </a:solidFill>
              </a:defRPr>
            </a:lvl1pPr>
          </a:lstStyle>
          <a:p>
            <a:pPr>
              <a:defRPr/>
            </a:pPr>
            <a:fld id="{AEDF75A4-E12A-40F4-B3F6-B03C2607982F}" type="datetimeFigureOut">
              <a:rPr lang="en-GB"/>
              <a:pPr>
                <a:defRPr/>
              </a:pPr>
              <a:t>22-12-17</a:t>
            </a:fld>
            <a:endParaRPr lang="en-GB" dirty="0"/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16"/>
          </p:nvPr>
        </p:nvSpPr>
        <p:spPr>
          <a:xfrm>
            <a:off x="8515352" y="104776"/>
            <a:ext cx="311151" cy="101600"/>
          </a:xfrm>
          <a:prstGeom prst="rect">
            <a:avLst/>
          </a:prstGeom>
        </p:spPr>
        <p:txBody>
          <a:bodyPr lIns="68564" tIns="34289" rIns="68564" bIns="34289"/>
          <a:lstStyle>
            <a:lvl1pPr defTabSz="876014">
              <a:defRPr/>
            </a:lvl1pPr>
          </a:lstStyle>
          <a:p>
            <a:pPr>
              <a:defRPr/>
            </a:pPr>
            <a:fld id="{240E07BD-EF21-49DB-9D9F-047CBFAF8700}" type="slidenum">
              <a:rPr lang="en-GB" altLang="en-US" sz="1400">
                <a:solidFill>
                  <a:srgbClr val="001965"/>
                </a:solidFill>
              </a:rPr>
              <a:pPr>
                <a:defRPr/>
              </a:pPr>
              <a:t>‹nr.›</a:t>
            </a:fld>
            <a:endParaRPr lang="en-GB" altLang="en-US" sz="1400" dirty="0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314321"/>
      </p:ext>
    </p:extLst>
  </p:cSld>
  <p:clrMapOvr>
    <a:masterClrMapping/>
  </p:clrMapOvr>
  <p:transition xmlns:p14="http://schemas.microsoft.com/office/powerpoint/2010/main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6926" y="1014039"/>
            <a:ext cx="8170863" cy="3215879"/>
          </a:xfrm>
        </p:spPr>
        <p:txBody>
          <a:bodyPr/>
          <a:lstStyle>
            <a:lvl1pPr marL="444357" indent="-444357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42448" y="4845338"/>
            <a:ext cx="8128487" cy="153888"/>
          </a:xfrm>
        </p:spPr>
        <p:txBody>
          <a:bodyPr rIns="0" anchor="b">
            <a:spAutoFit/>
          </a:bodyPr>
          <a:lstStyle>
            <a:lvl1pPr marL="0" indent="0">
              <a:buFontTx/>
              <a:buNone/>
              <a:defRPr sz="1000">
                <a:latin typeface="+mj-lt"/>
              </a:defRPr>
            </a:lvl1pPr>
            <a:lvl2pPr marL="457046" indent="0">
              <a:buFontTx/>
              <a:buNone/>
              <a:defRPr/>
            </a:lvl2pPr>
            <a:lvl3pPr marL="914106" indent="0">
              <a:buFontTx/>
              <a:buNone/>
              <a:defRPr/>
            </a:lvl3pPr>
            <a:lvl4pPr marL="1371158" indent="0">
              <a:buFontTx/>
              <a:buNone/>
              <a:defRPr/>
            </a:lvl4pPr>
            <a:lvl5pPr marL="1828214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163642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7"/>
            <a:ext cx="8510400" cy="312299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1800"/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32249" y="4573573"/>
            <a:ext cx="8394952" cy="488009"/>
          </a:xfrm>
        </p:spPr>
        <p:txBody>
          <a:bodyPr anchor="b" anchorCtr="0">
            <a:normAutofit/>
          </a:bodyPr>
          <a:lstStyle>
            <a:lvl1pPr marL="0" indent="0" algn="l" defTabSz="685596" rtl="0" eaLnBrk="1" latinLnBrk="0" hangingPunct="1">
              <a:buNone/>
              <a:defRPr lang="en-GB" sz="800" kern="1200" dirty="0">
                <a:solidFill>
                  <a:srgbClr val="82786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3786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7"/>
            <a:ext cx="8510400" cy="312299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1800"/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32249" y="4573573"/>
            <a:ext cx="8394952" cy="488009"/>
          </a:xfrm>
        </p:spPr>
        <p:txBody>
          <a:bodyPr anchor="b" anchorCtr="0">
            <a:normAutofit/>
          </a:bodyPr>
          <a:lstStyle>
            <a:lvl1pPr marL="0" indent="0" algn="l" defTabSz="685596" rtl="0" eaLnBrk="1" latinLnBrk="0" hangingPunct="1">
              <a:buNone/>
              <a:defRPr lang="en-GB" sz="800" kern="1200" dirty="0">
                <a:solidFill>
                  <a:srgbClr val="82786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366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7"/>
            <a:ext cx="8510400" cy="312299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1800"/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32249" y="4573573"/>
            <a:ext cx="8394952" cy="488009"/>
          </a:xfrm>
        </p:spPr>
        <p:txBody>
          <a:bodyPr anchor="b" anchorCtr="0">
            <a:normAutofit/>
          </a:bodyPr>
          <a:lstStyle>
            <a:lvl1pPr marL="0" indent="0" algn="l" defTabSz="685596" rtl="0" eaLnBrk="1" latinLnBrk="0" hangingPunct="1">
              <a:buNone/>
              <a:defRPr lang="en-GB" sz="800" kern="1200" dirty="0">
                <a:solidFill>
                  <a:srgbClr val="82786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3868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8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1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6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515351" y="104776"/>
            <a:ext cx="311150" cy="101600"/>
          </a:xfrm>
          <a:prstGeom prst="rect">
            <a:avLst/>
          </a:prstGeom>
        </p:spPr>
        <p:txBody>
          <a:bodyPr lIns="68564" tIns="34289" rIns="68564" bIns="34289"/>
          <a:lstStyle>
            <a:lvl1pPr>
              <a:defRPr/>
            </a:lvl1pPr>
          </a:lstStyle>
          <a:p>
            <a:pPr defTabSz="685613">
              <a:defRPr/>
            </a:pPr>
            <a:fld id="{55A5342D-2CCD-48D8-82B1-570B5D1EA49F}" type="slidenum">
              <a:rPr lang="en-GB" altLang="en-US" sz="1400" smtClean="0">
                <a:solidFill>
                  <a:srgbClr val="001965"/>
                </a:solidFill>
              </a:rPr>
              <a:pPr defTabSz="685613">
                <a:defRPr/>
              </a:pPr>
              <a:t>‹nr.›</a:t>
            </a:fld>
            <a:endParaRPr lang="en-GB" altLang="en-US" sz="1400" dirty="0">
              <a:solidFill>
                <a:srgbClr val="001965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73540" y="103189"/>
            <a:ext cx="2900362" cy="101600"/>
          </a:xfrm>
          <a:prstGeom prst="rect">
            <a:avLst/>
          </a:prstGeom>
        </p:spPr>
        <p:txBody>
          <a:bodyPr lIns="68564" tIns="34289" rIns="68564" bIns="34289"/>
          <a:lstStyle>
            <a:lvl1pPr>
              <a:defRPr/>
            </a:lvl1pPr>
          </a:lstStyle>
          <a:p>
            <a:pPr defTabSz="685613">
              <a:defRPr/>
            </a:pPr>
            <a:r>
              <a:rPr lang="en-GB" sz="1400" smtClean="0">
                <a:solidFill>
                  <a:srgbClr val="001965"/>
                </a:solidFill>
              </a:rPr>
              <a:t>Clinical trial design and results template</a:t>
            </a:r>
            <a:endParaRPr lang="en-GB" sz="1400" dirty="0">
              <a:solidFill>
                <a:srgbClr val="001965"/>
              </a:solidFill>
            </a:endParaRP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12"/>
          </p:nvPr>
        </p:nvSpPr>
        <p:spPr>
          <a:xfrm>
            <a:off x="7186613" y="103189"/>
            <a:ext cx="1201737" cy="101600"/>
          </a:xfrm>
          <a:prstGeom prst="rect">
            <a:avLst/>
          </a:prstGeom>
        </p:spPr>
        <p:txBody>
          <a:bodyPr lIns="68564" tIns="34289" rIns="68564" bIns="34289"/>
          <a:lstStyle>
            <a:lvl1pPr>
              <a:defRPr/>
            </a:lvl1pPr>
          </a:lstStyle>
          <a:p>
            <a:pPr defTabSz="685613">
              <a:defRPr/>
            </a:pPr>
            <a:r>
              <a:rPr lang="en-US" sz="1400" smtClean="0">
                <a:solidFill>
                  <a:srgbClr val="001965"/>
                </a:solidFill>
              </a:rPr>
              <a:t>Date</a:t>
            </a:r>
            <a:endParaRPr lang="en-GB" sz="1400" dirty="0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949530"/>
      </p:ext>
    </p:extLst>
  </p:cSld>
  <p:clrMapOvr>
    <a:masterClrMapping/>
  </p:clrMapOvr>
  <p:transition xmlns:p14="http://schemas.microsoft.com/office/powerpoint/2010/main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6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16808" y="4479440"/>
            <a:ext cx="7623631" cy="664065"/>
          </a:xfrm>
        </p:spPr>
        <p:txBody>
          <a:bodyPr rIns="67484" bIns="67484" anchor="b"/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800" kern="1200" dirty="0" smtClean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1pPr>
            <a:lvl2pPr marL="265031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800" kern="1200" dirty="0" smtClean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536399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800" kern="1200" dirty="0" smtClean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807778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800" kern="1200" dirty="0" smtClean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07280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GB" sz="800" kern="1200" dirty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7" name="Date Placeholder 1"/>
          <p:cNvSpPr>
            <a:spLocks noGrp="1"/>
          </p:cNvSpPr>
          <p:nvPr>
            <p:ph type="dt" sz="half" idx="14"/>
          </p:nvPr>
        </p:nvSpPr>
        <p:spPr>
          <a:xfrm>
            <a:off x="7186613" y="103189"/>
            <a:ext cx="1201737" cy="101600"/>
          </a:xfrm>
          <a:prstGeom prst="rect">
            <a:avLst/>
          </a:prstGeom>
        </p:spPr>
        <p:txBody>
          <a:bodyPr lIns="68564" tIns="34289" rIns="68564" bIns="34289"/>
          <a:lstStyle>
            <a:lvl1pPr>
              <a:defRPr/>
            </a:lvl1pPr>
          </a:lstStyle>
          <a:p>
            <a:pPr defTabSz="685613">
              <a:defRPr/>
            </a:pPr>
            <a:r>
              <a:rPr lang="en-US" sz="1400" smtClean="0">
                <a:solidFill>
                  <a:srgbClr val="001965"/>
                </a:solidFill>
              </a:rPr>
              <a:t>Date</a:t>
            </a:r>
            <a:endParaRPr lang="en-GB" sz="1400" dirty="0">
              <a:solidFill>
                <a:srgbClr val="001965"/>
              </a:solidFill>
            </a:endParaRP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4173540" y="103189"/>
            <a:ext cx="2900362" cy="101600"/>
          </a:xfrm>
          <a:prstGeom prst="rect">
            <a:avLst/>
          </a:prstGeom>
        </p:spPr>
        <p:txBody>
          <a:bodyPr lIns="68564" tIns="34289" rIns="68564" bIns="34289"/>
          <a:lstStyle>
            <a:lvl1pPr>
              <a:defRPr/>
            </a:lvl1pPr>
          </a:lstStyle>
          <a:p>
            <a:pPr defTabSz="685613">
              <a:defRPr/>
            </a:pPr>
            <a:r>
              <a:rPr lang="en-GB" sz="1400" smtClean="0">
                <a:solidFill>
                  <a:srgbClr val="001965"/>
                </a:solidFill>
              </a:rPr>
              <a:t>Clinical trial design and results template</a:t>
            </a:r>
            <a:endParaRPr lang="en-GB" sz="1400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6"/>
          </p:nvPr>
        </p:nvSpPr>
        <p:spPr>
          <a:xfrm>
            <a:off x="8515351" y="104776"/>
            <a:ext cx="311150" cy="101600"/>
          </a:xfrm>
          <a:prstGeom prst="rect">
            <a:avLst/>
          </a:prstGeom>
        </p:spPr>
        <p:txBody>
          <a:bodyPr lIns="68564" tIns="34289" rIns="68564" bIns="34289"/>
          <a:lstStyle>
            <a:lvl1pPr>
              <a:defRPr/>
            </a:lvl1pPr>
          </a:lstStyle>
          <a:p>
            <a:pPr defTabSz="685613">
              <a:defRPr/>
            </a:pPr>
            <a:fld id="{A0BBA462-0F9A-4549-8865-6FA33500763B}" type="slidenum">
              <a:rPr lang="en-GB" altLang="en-US" sz="1400" smtClean="0">
                <a:solidFill>
                  <a:srgbClr val="001965"/>
                </a:solidFill>
              </a:rPr>
              <a:pPr defTabSz="685613">
                <a:defRPr/>
              </a:pPr>
              <a:t>‹nr.›</a:t>
            </a:fld>
            <a:endParaRPr lang="en-GB" altLang="en-US" sz="1400" dirty="0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7978715"/>
      </p:ext>
    </p:extLst>
  </p:cSld>
  <p:clrMapOvr>
    <a:masterClrMapping/>
  </p:clrMapOvr>
  <p:transition xmlns:p14="http://schemas.microsoft.com/office/powerpoint/2010/main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6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16808" y="4479440"/>
            <a:ext cx="7623631" cy="664065"/>
          </a:xfrm>
        </p:spPr>
        <p:txBody>
          <a:bodyPr rIns="67484" bIns="67484" anchor="b"/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800" kern="1200" dirty="0" smtClean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1pPr>
            <a:lvl2pPr marL="265031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800" kern="1200" dirty="0" smtClean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536399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800" kern="1200" dirty="0" smtClean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807778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800" kern="1200" dirty="0" smtClean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07280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GB" sz="800" kern="1200" dirty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7" name="Date Placeholder 1"/>
          <p:cNvSpPr>
            <a:spLocks noGrp="1"/>
          </p:cNvSpPr>
          <p:nvPr>
            <p:ph type="dt" sz="half" idx="14"/>
          </p:nvPr>
        </p:nvSpPr>
        <p:spPr>
          <a:xfrm>
            <a:off x="7186613" y="103189"/>
            <a:ext cx="1201737" cy="101600"/>
          </a:xfrm>
          <a:prstGeom prst="rect">
            <a:avLst/>
          </a:prstGeom>
        </p:spPr>
        <p:txBody>
          <a:bodyPr lIns="68564" tIns="34289" rIns="68564" bIns="34289"/>
          <a:lstStyle>
            <a:lvl1pPr>
              <a:defRPr/>
            </a:lvl1pPr>
          </a:lstStyle>
          <a:p>
            <a:pPr defTabSz="685613">
              <a:defRPr/>
            </a:pPr>
            <a:r>
              <a:rPr lang="en-US" sz="1400" smtClean="0">
                <a:solidFill>
                  <a:srgbClr val="001965"/>
                </a:solidFill>
              </a:rPr>
              <a:t>Date</a:t>
            </a:r>
            <a:endParaRPr lang="en-GB" sz="1400" dirty="0">
              <a:solidFill>
                <a:srgbClr val="001965"/>
              </a:solidFill>
            </a:endParaRP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4173540" y="103189"/>
            <a:ext cx="2900362" cy="101600"/>
          </a:xfrm>
          <a:prstGeom prst="rect">
            <a:avLst/>
          </a:prstGeom>
        </p:spPr>
        <p:txBody>
          <a:bodyPr lIns="68564" tIns="34289" rIns="68564" bIns="34289"/>
          <a:lstStyle>
            <a:lvl1pPr>
              <a:defRPr/>
            </a:lvl1pPr>
          </a:lstStyle>
          <a:p>
            <a:pPr defTabSz="685613">
              <a:defRPr/>
            </a:pPr>
            <a:r>
              <a:rPr lang="en-GB" sz="1400" smtClean="0">
                <a:solidFill>
                  <a:srgbClr val="001965"/>
                </a:solidFill>
              </a:rPr>
              <a:t>Clinical trial design and results template</a:t>
            </a:r>
            <a:endParaRPr lang="en-GB" sz="1400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6"/>
          </p:nvPr>
        </p:nvSpPr>
        <p:spPr>
          <a:xfrm>
            <a:off x="8515351" y="104776"/>
            <a:ext cx="311150" cy="101600"/>
          </a:xfrm>
          <a:prstGeom prst="rect">
            <a:avLst/>
          </a:prstGeom>
        </p:spPr>
        <p:txBody>
          <a:bodyPr lIns="68564" tIns="34289" rIns="68564" bIns="34289"/>
          <a:lstStyle>
            <a:lvl1pPr>
              <a:defRPr/>
            </a:lvl1pPr>
          </a:lstStyle>
          <a:p>
            <a:pPr defTabSz="685613">
              <a:defRPr/>
            </a:pPr>
            <a:fld id="{33E22FEA-6513-4C3E-83AF-6257106AB1C1}" type="slidenum">
              <a:rPr lang="en-GB" altLang="en-US" sz="1400" smtClean="0">
                <a:solidFill>
                  <a:srgbClr val="001965"/>
                </a:solidFill>
              </a:rPr>
              <a:pPr defTabSz="685613">
                <a:defRPr/>
              </a:pPr>
              <a:t>‹nr.›</a:t>
            </a:fld>
            <a:endParaRPr lang="en-GB" altLang="en-US" sz="1400" dirty="0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549248"/>
      </p:ext>
    </p:extLst>
  </p:cSld>
  <p:clrMapOvr>
    <a:masterClrMapping/>
  </p:clrMapOvr>
  <p:transition xmlns:p14="http://schemas.microsoft.com/office/powerpoint/2010/main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kst en 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143000" y="457200"/>
            <a:ext cx="7772400" cy="857250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half" idx="1"/>
          </p:nvPr>
        </p:nvSpPr>
        <p:spPr>
          <a:xfrm>
            <a:off x="1169813" y="1459706"/>
            <a:ext cx="3818467" cy="30861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5123746" y="1459706"/>
            <a:ext cx="3818467" cy="30861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5" name="Rectangle 3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Rectangle 3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CB7285-5622-4B75-8671-DA927AC104C7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0670756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7"/>
            <a:ext cx="8510400" cy="312299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1800"/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10" name="Rectangle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38" y="103909"/>
            <a:ext cx="312377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658219" eaLnBrk="1" hangingPunct="1">
              <a:defRPr sz="5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32249" y="4573573"/>
            <a:ext cx="8394952" cy="488009"/>
          </a:xfrm>
        </p:spPr>
        <p:txBody>
          <a:bodyPr>
            <a:normAutofit/>
          </a:bodyPr>
          <a:lstStyle>
            <a:lvl1pPr marL="0" indent="0" algn="l" defTabSz="685596" rtl="0" eaLnBrk="1" latinLnBrk="0" hangingPunct="1">
              <a:spcBef>
                <a:spcPts val="404"/>
              </a:spcBef>
              <a:buNone/>
              <a:defRPr lang="en-GB" sz="600" kern="1200" dirty="0">
                <a:solidFill>
                  <a:srgbClr val="82786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70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658993" eaLnBrk="1" hangingPunct="1">
              <a:spcBef>
                <a:spcPct val="0"/>
              </a:spcBef>
              <a:defRPr sz="5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Liraglutide–DPP-4i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658993" eaLnBrk="1" hangingPunct="1">
              <a:spcBef>
                <a:spcPct val="0"/>
              </a:spcBef>
              <a:defRPr sz="5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srgbClr val="82786F"/>
                </a:solidFill>
              </a:rPr>
              <a:t>SEPTEMBER 2014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027293"/>
      </p:ext>
    </p:extLst>
  </p:cSld>
  <p:clrMapOvr>
    <a:masterClrMapping/>
  </p:clrMapOvr>
  <p:transition xmlns:p14="http://schemas.microsoft.com/office/powerpoint/2010/main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515351" y="104776"/>
            <a:ext cx="311150" cy="101600"/>
          </a:xfrm>
          <a:prstGeom prst="rect">
            <a:avLst/>
          </a:prstGeom>
          <a:ln/>
        </p:spPr>
        <p:txBody>
          <a:bodyPr lIns="68564" tIns="34289" rIns="68564" bIns="34289"/>
          <a:lstStyle>
            <a:lvl1pPr>
              <a:defRPr/>
            </a:lvl1pPr>
          </a:lstStyle>
          <a:p>
            <a:pPr defTabSz="685613">
              <a:defRPr/>
            </a:pPr>
            <a:fld id="{CBE9FAB3-31B1-409E-92E4-4C0885D0CD84}" type="slidenum">
              <a:rPr lang="en-GB" sz="1400" smtClean="0">
                <a:solidFill>
                  <a:srgbClr val="82786F"/>
                </a:solidFill>
              </a:rPr>
              <a:pPr defTabSz="685613">
                <a:defRPr/>
              </a:pPr>
              <a:t>‹nr.›</a:t>
            </a:fld>
            <a:endParaRPr lang="en-GB" sz="1400" dirty="0">
              <a:solidFill>
                <a:srgbClr val="82786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73540" y="103189"/>
            <a:ext cx="2900362" cy="101600"/>
          </a:xfrm>
          <a:prstGeom prst="rect">
            <a:avLst/>
          </a:prstGeom>
          <a:ln/>
        </p:spPr>
        <p:txBody>
          <a:bodyPr lIns="68564" tIns="34289" rIns="68564" bIns="34289"/>
          <a:lstStyle>
            <a:lvl1pPr>
              <a:defRPr/>
            </a:lvl1pPr>
          </a:lstStyle>
          <a:p>
            <a:pPr defTabSz="685613">
              <a:defRPr/>
            </a:pPr>
            <a:r>
              <a:rPr lang="en-GB" sz="1400" smtClean="0">
                <a:solidFill>
                  <a:srgbClr val="82786F"/>
                </a:solidFill>
              </a:rPr>
              <a:t>Clinical trial design and results template</a:t>
            </a:r>
            <a:endParaRPr lang="en-GB" sz="1400" dirty="0">
              <a:solidFill>
                <a:srgbClr val="82786F"/>
              </a:solidFill>
            </a:endParaRP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>
          <a:xfrm>
            <a:off x="7186625" y="103189"/>
            <a:ext cx="1201737" cy="101600"/>
          </a:xfrm>
          <a:prstGeom prst="rect">
            <a:avLst/>
          </a:prstGeom>
          <a:ln/>
        </p:spPr>
        <p:txBody>
          <a:bodyPr lIns="68564" tIns="34289" rIns="68564" bIns="34289"/>
          <a:lstStyle>
            <a:lvl1pPr>
              <a:defRPr/>
            </a:lvl1pPr>
          </a:lstStyle>
          <a:p>
            <a:pPr defTabSz="685613">
              <a:defRPr/>
            </a:pPr>
            <a:r>
              <a:rPr lang="en-US" sz="1400" smtClean="0">
                <a:solidFill>
                  <a:srgbClr val="82786F"/>
                </a:solidFill>
              </a:rPr>
              <a:t>Date</a:t>
            </a:r>
            <a:endParaRPr lang="en-GB" sz="1400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032976"/>
      </p:ext>
    </p:extLst>
  </p:cSld>
  <p:clrMapOvr>
    <a:masterClrMapping/>
  </p:clrMapOvr>
  <p:transition xmlns:p14="http://schemas.microsoft.com/office/powerpoint/2010/main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4730400" y="1312223"/>
            <a:ext cx="4096800" cy="29556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515351" y="104776"/>
            <a:ext cx="311150" cy="101600"/>
          </a:xfrm>
          <a:prstGeom prst="rect">
            <a:avLst/>
          </a:prstGeom>
          <a:ln/>
        </p:spPr>
        <p:txBody>
          <a:bodyPr lIns="68564" tIns="34289" rIns="68564" bIns="34289"/>
          <a:lstStyle>
            <a:lvl1pPr>
              <a:defRPr/>
            </a:lvl1pPr>
          </a:lstStyle>
          <a:p>
            <a:pPr defTabSz="685613">
              <a:defRPr/>
            </a:pPr>
            <a:fld id="{40278567-A873-41F2-87A2-C576C3A686A3}" type="slidenum">
              <a:rPr lang="en-GB" sz="1400" smtClean="0">
                <a:solidFill>
                  <a:srgbClr val="82786F"/>
                </a:solidFill>
              </a:rPr>
              <a:pPr defTabSz="685613">
                <a:defRPr/>
              </a:pPr>
              <a:t>‹nr.›</a:t>
            </a:fld>
            <a:endParaRPr lang="en-GB" sz="1400" dirty="0">
              <a:solidFill>
                <a:srgbClr val="82786F"/>
              </a:solidFill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2"/>
          </p:nvPr>
        </p:nvSpPr>
        <p:spPr>
          <a:xfrm>
            <a:off x="4173540" y="103189"/>
            <a:ext cx="2900362" cy="101600"/>
          </a:xfrm>
          <a:prstGeom prst="rect">
            <a:avLst/>
          </a:prstGeom>
          <a:ln/>
        </p:spPr>
        <p:txBody>
          <a:bodyPr lIns="68564" tIns="34289" rIns="68564" bIns="34289"/>
          <a:lstStyle>
            <a:lvl1pPr>
              <a:defRPr/>
            </a:lvl1pPr>
          </a:lstStyle>
          <a:p>
            <a:pPr defTabSz="685613">
              <a:defRPr/>
            </a:pPr>
            <a:r>
              <a:rPr lang="en-GB" sz="1400" smtClean="0">
                <a:solidFill>
                  <a:srgbClr val="82786F"/>
                </a:solidFill>
              </a:rPr>
              <a:t>Summary of liraglutide safety</a:t>
            </a:r>
            <a:endParaRPr lang="en-GB" sz="1400" dirty="0">
              <a:solidFill>
                <a:srgbClr val="82786F"/>
              </a:solidFill>
            </a:endParaRP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3"/>
          </p:nvPr>
        </p:nvSpPr>
        <p:spPr>
          <a:xfrm>
            <a:off x="7186616" y="103189"/>
            <a:ext cx="1201737" cy="101600"/>
          </a:xfrm>
          <a:prstGeom prst="rect">
            <a:avLst/>
          </a:prstGeom>
          <a:ln/>
        </p:spPr>
        <p:txBody>
          <a:bodyPr lIns="68564" tIns="34289" rIns="68564" bIns="34289"/>
          <a:lstStyle>
            <a:lvl1pPr>
              <a:defRPr/>
            </a:lvl1pPr>
          </a:lstStyle>
          <a:p>
            <a:pPr defTabSz="685613">
              <a:defRPr/>
            </a:pPr>
            <a:r>
              <a:rPr lang="en-US" sz="1400" smtClean="0">
                <a:solidFill>
                  <a:srgbClr val="82786F"/>
                </a:solidFill>
              </a:rPr>
              <a:t>Date</a:t>
            </a:r>
            <a:endParaRPr lang="en-GB" sz="1400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3899392"/>
      </p:ext>
    </p:extLst>
  </p:cSld>
  <p:clrMapOvr>
    <a:masterClrMapping/>
  </p:clrMapOvr>
  <p:transition xmlns:p14="http://schemas.microsoft.com/office/powerpoint/2010/main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095375"/>
            <a:ext cx="8510400" cy="317263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401122"/>
            <a:ext cx="8510400" cy="391412"/>
          </a:xfrm>
          <a:prstGeom prst="rect">
            <a:avLst/>
          </a:prstGeo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3992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84800" y="1312874"/>
            <a:ext cx="3542400" cy="1531543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83892" y="3025464"/>
            <a:ext cx="3543319" cy="68458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8D2DA1-799D-4AB3-8D6A-C84E9B4FB822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972" y="1021475"/>
            <a:ext cx="4400093" cy="3300070"/>
          </a:xfrm>
          <a:prstGeom prst="rect">
            <a:avLst/>
          </a:prstGeom>
        </p:spPr>
      </p:pic>
      <p:sp>
        <p:nvSpPr>
          <p:cNvPr id="8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5521270" y="57455"/>
            <a:ext cx="1604287" cy="148931"/>
          </a:xfr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46" indent="0">
              <a:buNone/>
              <a:defRPr sz="900"/>
            </a:lvl2pPr>
            <a:lvl3pPr marL="536426" indent="0">
              <a:buNone/>
              <a:defRPr sz="900"/>
            </a:lvl3pPr>
            <a:lvl4pPr marL="807818" indent="0">
              <a:buNone/>
              <a:defRPr sz="900"/>
            </a:lvl4pPr>
            <a:lvl5pPr marL="1072853" indent="0">
              <a:buNone/>
              <a:defRPr sz="900"/>
            </a:lvl5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74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46" indent="0">
              <a:buNone/>
              <a:defRPr sz="900"/>
            </a:lvl2pPr>
            <a:lvl3pPr marL="536426" indent="0">
              <a:buNone/>
              <a:defRPr sz="900"/>
            </a:lvl3pPr>
            <a:lvl4pPr marL="807818" indent="0">
              <a:buNone/>
              <a:defRPr sz="900"/>
            </a:lvl4pPr>
            <a:lvl5pPr marL="1072853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929796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84800" y="1312874"/>
            <a:ext cx="3542400" cy="1531543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83892" y="3025464"/>
            <a:ext cx="3543319" cy="68458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8D2DA1-799D-4AB3-8D6A-C84E9B4FB822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5521270" y="57455"/>
            <a:ext cx="1604287" cy="148931"/>
          </a:xfr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46" indent="0">
              <a:buNone/>
              <a:defRPr sz="900"/>
            </a:lvl2pPr>
            <a:lvl3pPr marL="536426" indent="0">
              <a:buNone/>
              <a:defRPr sz="900"/>
            </a:lvl3pPr>
            <a:lvl4pPr marL="807818" indent="0">
              <a:buNone/>
              <a:defRPr sz="900"/>
            </a:lvl4pPr>
            <a:lvl5pPr marL="1072853" indent="0">
              <a:buNone/>
              <a:defRPr sz="900"/>
            </a:lvl5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74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46" indent="0">
              <a:buNone/>
              <a:defRPr sz="900"/>
            </a:lvl2pPr>
            <a:lvl3pPr marL="536426" indent="0">
              <a:buNone/>
              <a:defRPr sz="900"/>
            </a:lvl3pPr>
            <a:lvl4pPr marL="807818" indent="0">
              <a:buNone/>
              <a:defRPr sz="900"/>
            </a:lvl4pPr>
            <a:lvl5pPr marL="1072853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103267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E9FAB3-31B1-409E-92E4-4C0885D0CD84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74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46" indent="0">
              <a:buNone/>
              <a:defRPr sz="900"/>
            </a:lvl2pPr>
            <a:lvl3pPr marL="536426" indent="0">
              <a:buNone/>
              <a:defRPr sz="900"/>
            </a:lvl3pPr>
            <a:lvl4pPr marL="807818" indent="0">
              <a:buNone/>
              <a:defRPr sz="900"/>
            </a:lvl4pPr>
            <a:lvl5pPr marL="1072853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339864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981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3185" userDrawn="1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316800" y="906834"/>
            <a:ext cx="8510400" cy="19972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999" anchor="ctr"/>
          <a:lstStyle>
            <a:lvl1pPr marL="0" indent="0" algn="l">
              <a:buFontTx/>
              <a:buNone/>
              <a:defRPr sz="1400" baseline="0">
                <a:solidFill>
                  <a:srgbClr val="009FDA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rgbClr val="82786F"/>
                </a:solidFill>
              </a:defRPr>
            </a:lvl1pPr>
          </a:lstStyle>
          <a:p>
            <a:pPr>
              <a:defRPr/>
            </a:pPr>
            <a:fld id="{10D2D36D-C2C4-4D0D-B0F1-A274C175CDEE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 marL="0" indent="0">
              <a:buNone/>
              <a:defRPr>
                <a:solidFill>
                  <a:srgbClr val="82786F"/>
                </a:solidFill>
              </a:defRPr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>
                <a:solidFill>
                  <a:srgbClr val="82786F"/>
                </a:solidFill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74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46" indent="0">
              <a:buNone/>
              <a:defRPr sz="900"/>
            </a:lvl2pPr>
            <a:lvl3pPr marL="536426" indent="0">
              <a:buNone/>
              <a:defRPr sz="900"/>
            </a:lvl3pPr>
            <a:lvl4pPr marL="807818" indent="0">
              <a:buNone/>
              <a:defRPr sz="900"/>
            </a:lvl4pPr>
            <a:lvl5pPr marL="1072853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309001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4730400" y="1312223"/>
            <a:ext cx="4096800" cy="29556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278567-A873-41F2-87A2-C576C3A686A3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74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46" indent="0">
              <a:buNone/>
              <a:defRPr sz="900"/>
            </a:lvl2pPr>
            <a:lvl3pPr marL="536426" indent="0">
              <a:buNone/>
              <a:defRPr sz="900"/>
            </a:lvl3pPr>
            <a:lvl4pPr marL="807818" indent="0">
              <a:buNone/>
              <a:defRPr sz="900"/>
            </a:lvl4pPr>
            <a:lvl5pPr marL="1072853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041858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398BE7-5B78-41C6-B602-72434BBFCFD2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74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46" indent="0">
              <a:buNone/>
              <a:defRPr sz="900"/>
            </a:lvl2pPr>
            <a:lvl3pPr marL="536426" indent="0">
              <a:buNone/>
              <a:defRPr sz="900"/>
            </a:lvl3pPr>
            <a:lvl4pPr marL="807818" indent="0">
              <a:buNone/>
              <a:defRPr sz="900"/>
            </a:lvl4pPr>
            <a:lvl5pPr marL="1072853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464707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8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87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87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4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1372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4730400" y="1312223"/>
            <a:ext cx="4096800" cy="29556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278567-A873-41F2-87A2-C576C3A686A3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316800" y="906834"/>
            <a:ext cx="8510400" cy="19972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999" anchor="ctr"/>
          <a:lstStyle>
            <a:lvl1pPr marL="0" indent="0" algn="l">
              <a:buFontTx/>
              <a:buNone/>
              <a:defRPr sz="1400" baseline="0">
                <a:solidFill>
                  <a:srgbClr val="009FDA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74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46" indent="0">
              <a:buNone/>
              <a:defRPr sz="900"/>
            </a:lvl2pPr>
            <a:lvl3pPr marL="536426" indent="0">
              <a:buNone/>
              <a:defRPr sz="900"/>
            </a:lvl3pPr>
            <a:lvl4pPr marL="807818" indent="0">
              <a:buNone/>
              <a:defRPr sz="900"/>
            </a:lvl4pPr>
            <a:lvl5pPr marL="1072853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741617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4730400" y="1312223"/>
            <a:ext cx="4096800" cy="29556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278567-A873-41F2-87A2-C576C3A686A3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74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46" indent="0">
              <a:buNone/>
              <a:defRPr sz="900"/>
            </a:lvl2pPr>
            <a:lvl3pPr marL="536426" indent="0">
              <a:buNone/>
              <a:defRPr sz="900"/>
            </a:lvl3pPr>
            <a:lvl4pPr marL="807818" indent="0">
              <a:buNone/>
              <a:defRPr sz="900"/>
            </a:lvl4pPr>
            <a:lvl5pPr marL="1072853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281263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29F20C-ED07-4E43-BF52-584BEE95E550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74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46" indent="0">
              <a:buNone/>
              <a:defRPr sz="900"/>
            </a:lvl2pPr>
            <a:lvl3pPr marL="536426" indent="0">
              <a:buNone/>
              <a:defRPr sz="900"/>
            </a:lvl3pPr>
            <a:lvl4pPr marL="807818" indent="0">
              <a:buNone/>
              <a:defRPr sz="900"/>
            </a:lvl4pPr>
            <a:lvl5pPr marL="1072853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43202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29F20C-ED07-4E43-BF52-584BEE95E550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74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46" indent="0">
              <a:buNone/>
              <a:defRPr sz="900"/>
            </a:lvl2pPr>
            <a:lvl3pPr marL="536426" indent="0">
              <a:buNone/>
              <a:defRPr sz="900"/>
            </a:lvl3pPr>
            <a:lvl4pPr marL="807818" indent="0">
              <a:buNone/>
              <a:defRPr sz="900"/>
            </a:lvl4pPr>
            <a:lvl5pPr marL="1072853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136728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278567-A873-41F2-87A2-C576C3A686A3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26000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25" indent="0">
              <a:buNone/>
              <a:defRPr sz="900"/>
            </a:lvl2pPr>
            <a:lvl3pPr marL="536387" indent="0">
              <a:buNone/>
              <a:defRPr sz="900"/>
            </a:lvl3pPr>
            <a:lvl4pPr marL="807759" indent="0">
              <a:buNone/>
              <a:defRPr sz="900"/>
            </a:lvl4pPr>
            <a:lvl5pPr marL="1072775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03964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tx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68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r" defTabSz="878657" eaLnBrk="1" hangingPunct="1">
              <a:spcBef>
                <a:spcPct val="0"/>
              </a:spcBef>
              <a:buNone/>
              <a:defRPr sz="600" b="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en-GB" dirty="0" smtClean="0">
                <a:solidFill>
                  <a:srgbClr val="82786F"/>
                </a:solidFill>
              </a:rPr>
              <a:t>Marso </a:t>
            </a:r>
            <a:r>
              <a:rPr lang="en-GB" i="1" dirty="0" smtClean="0">
                <a:solidFill>
                  <a:srgbClr val="82786F"/>
                </a:solidFill>
              </a:rPr>
              <a:t>et al. NEJM</a:t>
            </a:r>
            <a:r>
              <a:rPr lang="en-GB" dirty="0" smtClean="0">
                <a:solidFill>
                  <a:srgbClr val="82786F"/>
                </a:solidFill>
              </a:rPr>
              <a:t> [in press]</a:t>
            </a:r>
            <a:endParaRPr lang="en-GB" i="1" dirty="0">
              <a:solidFill>
                <a:srgbClr val="82786F"/>
              </a:solidFill>
            </a:endParaRP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GB" dirty="0">
              <a:solidFill>
                <a:srgbClr val="E64A0E">
                  <a:lumMod val="50000"/>
                </a:srgbClr>
              </a:solidFill>
            </a:endParaRPr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24" eaLnBrk="1" hangingPunct="1">
              <a:defRPr sz="600" b="0" smtClean="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E64A0E">
                    <a:lumMod val="50000"/>
                  </a:srgbClr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E64A0E">
                  <a:lumMod val="50000"/>
                </a:srgb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74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46" indent="0">
              <a:buNone/>
              <a:defRPr sz="900"/>
            </a:lvl2pPr>
            <a:lvl3pPr marL="536426" indent="0">
              <a:buNone/>
              <a:defRPr sz="900"/>
            </a:lvl3pPr>
            <a:lvl4pPr marL="807818" indent="0">
              <a:buNone/>
              <a:defRPr sz="900"/>
            </a:lvl4pPr>
            <a:lvl5pPr marL="1072853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6345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29F20C-ED07-4E43-BF52-584BEE95E550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74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46" indent="0">
              <a:buNone/>
              <a:defRPr sz="900"/>
            </a:lvl2pPr>
            <a:lvl3pPr marL="536426" indent="0">
              <a:buNone/>
              <a:defRPr sz="900"/>
            </a:lvl3pPr>
            <a:lvl4pPr marL="807818" indent="0">
              <a:buNone/>
              <a:defRPr sz="900"/>
            </a:lvl4pPr>
            <a:lvl5pPr marL="1072853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540338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29F20C-ED07-4E43-BF52-584BEE95E550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74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46" indent="0">
              <a:buNone/>
              <a:defRPr sz="900"/>
            </a:lvl2pPr>
            <a:lvl3pPr marL="536426" indent="0">
              <a:buNone/>
              <a:defRPr sz="900"/>
            </a:lvl3pPr>
            <a:lvl4pPr marL="807818" indent="0">
              <a:buNone/>
              <a:defRPr sz="900"/>
            </a:lvl4pPr>
            <a:lvl5pPr marL="1072853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807538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29F20C-ED07-4E43-BF52-584BEE95E550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Text Placeholder 2"/>
          <p:cNvSpPr txBox="1">
            <a:spLocks/>
          </p:cNvSpPr>
          <p:nvPr userDrawn="1"/>
        </p:nvSpPr>
        <p:spPr bwMode="auto">
          <a:xfrm>
            <a:off x="316801" y="4564948"/>
            <a:ext cx="8509700" cy="321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161956" bIns="0" numCol="1" anchor="b" anchorCtr="0" compatLnSpc="1">
            <a:prstTxWarp prst="textNoShape">
              <a:avLst/>
            </a:prstTxWarp>
          </a:bodyPr>
          <a:lstStyle>
            <a:lvl1pPr marL="353475" indent="-353475" algn="l" rtl="0" eaLnBrk="0" fontAlgn="base" hangingPunct="0"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Verdana" pitchFamily="34" charset="0"/>
              <a:buChar char="•"/>
              <a:defRPr sz="2133" kern="1200">
                <a:solidFill>
                  <a:schemeClr val="accent2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15415" indent="-361942" algn="l" rtl="0" eaLnBrk="0" fontAlgn="base" hangingPunct="0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Font typeface="Verdana" pitchFamily="34" charset="0"/>
              <a:buChar char="•"/>
              <a:defRPr sz="1867" kern="1200">
                <a:solidFill>
                  <a:schemeClr val="accent2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077357" indent="-361942" algn="l" rtl="0" eaLnBrk="0" fontAlgn="base" hangingPunct="0">
              <a:spcBef>
                <a:spcPts val="400"/>
              </a:spcBef>
              <a:spcAft>
                <a:spcPts val="400"/>
              </a:spcAft>
              <a:buClr>
                <a:srgbClr val="E64A0E"/>
              </a:buClr>
              <a:buFont typeface="Verdana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314418" indent="-237061" algn="l" rtl="0" eaLnBrk="0" fontAlgn="base" hangingPunct="0">
              <a:spcBef>
                <a:spcPts val="400"/>
              </a:spcBef>
              <a:spcAft>
                <a:spcPts val="400"/>
              </a:spcAft>
              <a:buClr>
                <a:srgbClr val="82786F"/>
              </a:buClr>
              <a:buFont typeface="Verdana" pitchFamily="34" charset="0"/>
              <a:buChar char="•"/>
              <a:defRPr sz="1467" kern="1200">
                <a:solidFill>
                  <a:schemeClr val="accent2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1676358" indent="-245527" algn="l" rtl="0" eaLnBrk="0" fontAlgn="base" hangingPunct="0">
              <a:spcBef>
                <a:spcPts val="400"/>
              </a:spcBef>
              <a:spcAft>
                <a:spcPts val="400"/>
              </a:spcAft>
              <a:buClr>
                <a:srgbClr val="001423"/>
              </a:buClr>
              <a:buFont typeface="Verdana" pitchFamily="34" charset="0"/>
              <a:buChar char="•"/>
              <a:defRPr sz="1333" kern="1200">
                <a:solidFill>
                  <a:schemeClr val="accent2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153">
              <a:spcBef>
                <a:spcPts val="0"/>
              </a:spcBef>
              <a:spcAft>
                <a:spcPts val="0"/>
              </a:spcAft>
              <a:buClr>
                <a:srgbClr val="009FDA"/>
              </a:buClr>
              <a:buFont typeface="Verdana" pitchFamily="34" charset="0"/>
              <a:buNone/>
              <a:defRPr/>
            </a:pPr>
            <a:endParaRPr lang="en-GB" sz="600" dirty="0">
              <a:solidFill>
                <a:srgbClr val="82786F"/>
              </a:solidFill>
            </a:endParaRP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74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46" indent="0">
              <a:buNone/>
              <a:defRPr sz="900"/>
            </a:lvl2pPr>
            <a:lvl3pPr marL="536426" indent="0">
              <a:buNone/>
              <a:defRPr sz="900"/>
            </a:lvl3pPr>
            <a:lvl4pPr marL="807818" indent="0">
              <a:buNone/>
              <a:defRPr sz="900"/>
            </a:lvl4pPr>
            <a:lvl5pPr marL="1072853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79995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4730400" y="1312223"/>
            <a:ext cx="4096800" cy="29556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81BE86-149E-45CA-83CA-7A06D5F9D008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74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46" indent="0">
              <a:buNone/>
              <a:defRPr sz="900"/>
            </a:lvl2pPr>
            <a:lvl3pPr marL="536426" indent="0">
              <a:buNone/>
              <a:defRPr sz="900"/>
            </a:lvl3pPr>
            <a:lvl4pPr marL="807818" indent="0">
              <a:buNone/>
              <a:defRPr sz="900"/>
            </a:lvl4pPr>
            <a:lvl5pPr marL="1072853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008192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84800" y="1312890"/>
            <a:ext cx="3542400" cy="1531543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83923" y="3025464"/>
            <a:ext cx="3543319" cy="68458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ED1C1A9-F777-4F8E-9DA5-16FDB57626AC}" type="slidenum">
              <a:rPr lang="en-GB" altLang="en-US"/>
              <a:pPr/>
              <a:t>‹nr.›</a:t>
            </a:fld>
            <a:endParaRPr lang="en-GB" alt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5916843"/>
      </p:ext>
    </p:extLst>
  </p:cSld>
  <p:clrMapOvr>
    <a:masterClrMapping/>
  </p:clrMapOvr>
  <p:transition xmlns:p14="http://schemas.microsoft.com/office/powerpoint/2010/main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29F20C-ED07-4E43-BF52-584BEE95E550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74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46" indent="0">
              <a:buNone/>
              <a:defRPr sz="900"/>
            </a:lvl2pPr>
            <a:lvl3pPr marL="536426" indent="0">
              <a:buNone/>
              <a:defRPr sz="900"/>
            </a:lvl3pPr>
            <a:lvl4pPr marL="807818" indent="0">
              <a:buNone/>
              <a:defRPr sz="900"/>
            </a:lvl4pPr>
            <a:lvl5pPr marL="1072853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554916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E9FAB3-31B1-409E-92E4-4C0885D0CD84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74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46" indent="0">
              <a:buNone/>
              <a:defRPr sz="900"/>
            </a:lvl2pPr>
            <a:lvl3pPr marL="536426" indent="0">
              <a:buNone/>
              <a:defRPr sz="900"/>
            </a:lvl3pPr>
            <a:lvl4pPr marL="807818" indent="0">
              <a:buNone/>
              <a:defRPr sz="900"/>
            </a:lvl4pPr>
            <a:lvl5pPr marL="1072853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297149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Tro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317502" y="4564064"/>
            <a:ext cx="786447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09" rIns="91418" bIns="45709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defTabSz="91415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GB" sz="900" dirty="0" smtClean="0">
              <a:solidFill>
                <a:srgbClr val="001965"/>
              </a:solidFill>
              <a:cs typeface="Arial" charset="0"/>
            </a:endParaRP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4"/>
          </p:nvPr>
        </p:nvSpPr>
        <p:spPr>
          <a:xfrm>
            <a:off x="316800" y="385925"/>
            <a:ext cx="8510400" cy="12864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999" anchor="ctr">
            <a:noAutofit/>
          </a:bodyPr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7502" y="4564075"/>
            <a:ext cx="7864475" cy="293687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/>
            </a:lvl1pPr>
            <a:lvl2pPr marL="265040" indent="0">
              <a:buNone/>
              <a:defRPr sz="900"/>
            </a:lvl2pPr>
            <a:lvl3pPr marL="536413" indent="0">
              <a:buNone/>
              <a:defRPr sz="900"/>
            </a:lvl3pPr>
            <a:lvl4pPr marL="807798" indent="0">
              <a:buNone/>
              <a:defRPr sz="900"/>
            </a:lvl4pPr>
            <a:lvl5pPr marL="1072826" indent="0">
              <a:buNone/>
              <a:defRPr sz="9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Rectangle 23"/>
          <p:cNvSpPr>
            <a:spLocks noGrp="1" noChangeArrowheads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A264E4-6D97-4459-B952-A38D9E79D40E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ftr" sz="quarter" idx="2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069822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84800" y="1312868"/>
            <a:ext cx="3542400" cy="1531543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83886" y="3025464"/>
            <a:ext cx="3543319" cy="68458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8D2DA1-799D-4AB3-8D6A-C84E9B4FB822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972" y="1021475"/>
            <a:ext cx="4400093" cy="3300070"/>
          </a:xfrm>
          <a:prstGeom prst="rect">
            <a:avLst/>
          </a:prstGeom>
        </p:spPr>
      </p:pic>
      <p:sp>
        <p:nvSpPr>
          <p:cNvPr id="8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5521264" y="57449"/>
            <a:ext cx="1604287" cy="148931"/>
          </a:xfr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82" indent="0">
              <a:buNone/>
              <a:defRPr sz="900"/>
            </a:lvl2pPr>
            <a:lvl3pPr marL="536507" indent="0">
              <a:buNone/>
              <a:defRPr sz="900"/>
            </a:lvl3pPr>
            <a:lvl4pPr marL="807938" indent="0">
              <a:buNone/>
              <a:defRPr sz="900"/>
            </a:lvl4pPr>
            <a:lvl5pPr marL="1073015" indent="0">
              <a:buNone/>
              <a:defRPr sz="900"/>
            </a:lvl5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68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82" indent="0">
              <a:buNone/>
              <a:defRPr sz="900"/>
            </a:lvl2pPr>
            <a:lvl3pPr marL="536507" indent="0">
              <a:buNone/>
              <a:defRPr sz="900"/>
            </a:lvl3pPr>
            <a:lvl4pPr marL="807938" indent="0">
              <a:buNone/>
              <a:defRPr sz="900"/>
            </a:lvl4pPr>
            <a:lvl5pPr marL="1073015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707600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84800" y="1312868"/>
            <a:ext cx="3542400" cy="1531543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83886" y="3025464"/>
            <a:ext cx="3543319" cy="68458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8D2DA1-799D-4AB3-8D6A-C84E9B4FB822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5521264" y="57449"/>
            <a:ext cx="1604287" cy="148931"/>
          </a:xfr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82" indent="0">
              <a:buNone/>
              <a:defRPr sz="900"/>
            </a:lvl2pPr>
            <a:lvl3pPr marL="536507" indent="0">
              <a:buNone/>
              <a:defRPr sz="900"/>
            </a:lvl3pPr>
            <a:lvl4pPr marL="807938" indent="0">
              <a:buNone/>
              <a:defRPr sz="900"/>
            </a:lvl4pPr>
            <a:lvl5pPr marL="1073015" indent="0">
              <a:buNone/>
              <a:defRPr sz="900"/>
            </a:lvl5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68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82" indent="0">
              <a:buNone/>
              <a:defRPr sz="900"/>
            </a:lvl2pPr>
            <a:lvl3pPr marL="536507" indent="0">
              <a:buNone/>
              <a:defRPr sz="900"/>
            </a:lvl3pPr>
            <a:lvl4pPr marL="807938" indent="0">
              <a:buNone/>
              <a:defRPr sz="900"/>
            </a:lvl4pPr>
            <a:lvl5pPr marL="1073015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277547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E9FAB3-31B1-409E-92E4-4C0885D0CD84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68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82" indent="0">
              <a:buNone/>
              <a:defRPr sz="900"/>
            </a:lvl2pPr>
            <a:lvl3pPr marL="536507" indent="0">
              <a:buNone/>
              <a:defRPr sz="900"/>
            </a:lvl3pPr>
            <a:lvl4pPr marL="807938" indent="0">
              <a:buNone/>
              <a:defRPr sz="900"/>
            </a:lvl4pPr>
            <a:lvl5pPr marL="1073015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993862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981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3185" userDrawn="1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316800" y="906834"/>
            <a:ext cx="8510400" cy="19972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999" anchor="ctr"/>
          <a:lstStyle>
            <a:lvl1pPr marL="0" indent="0" algn="l">
              <a:buFontTx/>
              <a:buNone/>
              <a:defRPr sz="1400" baseline="0">
                <a:solidFill>
                  <a:srgbClr val="009FDA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rgbClr val="82786F"/>
                </a:solidFill>
              </a:defRPr>
            </a:lvl1pPr>
          </a:lstStyle>
          <a:p>
            <a:pPr>
              <a:defRPr/>
            </a:pPr>
            <a:fld id="{10D2D36D-C2C4-4D0D-B0F1-A274C175CDEE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 marL="0" indent="0">
              <a:buNone/>
              <a:defRPr>
                <a:solidFill>
                  <a:srgbClr val="82786F"/>
                </a:solidFill>
              </a:defRPr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>
                <a:solidFill>
                  <a:srgbClr val="82786F"/>
                </a:solidFill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68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82" indent="0">
              <a:buNone/>
              <a:defRPr sz="900"/>
            </a:lvl2pPr>
            <a:lvl3pPr marL="536507" indent="0">
              <a:buNone/>
              <a:defRPr sz="900"/>
            </a:lvl3pPr>
            <a:lvl4pPr marL="807938" indent="0">
              <a:buNone/>
              <a:defRPr sz="900"/>
            </a:lvl4pPr>
            <a:lvl5pPr marL="1073015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685576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4730400" y="1312223"/>
            <a:ext cx="4096800" cy="29556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278567-A873-41F2-87A2-C576C3A686A3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68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82" indent="0">
              <a:buNone/>
              <a:defRPr sz="900"/>
            </a:lvl2pPr>
            <a:lvl3pPr marL="536507" indent="0">
              <a:buNone/>
              <a:defRPr sz="900"/>
            </a:lvl3pPr>
            <a:lvl4pPr marL="807938" indent="0">
              <a:buNone/>
              <a:defRPr sz="900"/>
            </a:lvl4pPr>
            <a:lvl5pPr marL="1073015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67421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398BE7-5B78-41C6-B602-72434BBFCFD2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68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82" indent="0">
              <a:buNone/>
              <a:defRPr sz="900"/>
            </a:lvl2pPr>
            <a:lvl3pPr marL="536507" indent="0">
              <a:buNone/>
              <a:defRPr sz="900"/>
            </a:lvl3pPr>
            <a:lvl4pPr marL="807938" indent="0">
              <a:buNone/>
              <a:defRPr sz="900"/>
            </a:lvl4pPr>
            <a:lvl5pPr marL="1073015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902248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4730400" y="1312223"/>
            <a:ext cx="4096800" cy="29556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278567-A873-41F2-87A2-C576C3A686A3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316800" y="906834"/>
            <a:ext cx="8510400" cy="19972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999" anchor="ctr"/>
          <a:lstStyle>
            <a:lvl1pPr marL="0" indent="0" algn="l">
              <a:buFontTx/>
              <a:buNone/>
              <a:defRPr sz="1400" baseline="0">
                <a:solidFill>
                  <a:srgbClr val="009FDA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68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82" indent="0">
              <a:buNone/>
              <a:defRPr sz="900"/>
            </a:lvl2pPr>
            <a:lvl3pPr marL="536507" indent="0">
              <a:buNone/>
              <a:defRPr sz="900"/>
            </a:lvl3pPr>
            <a:lvl4pPr marL="807938" indent="0">
              <a:buNone/>
              <a:defRPr sz="900"/>
            </a:lvl4pPr>
            <a:lvl5pPr marL="1073015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267741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6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10B0ED4-D5F8-4780-B59D-6ADEE8C1C4AE}" type="slidenum">
              <a:rPr lang="en-GB" altLang="en-US"/>
              <a:pPr/>
              <a:t>‹nr.›</a:t>
            </a:fld>
            <a:endParaRPr lang="en-GB" altLang="en-US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4703233"/>
      </p:ext>
    </p:extLst>
  </p:cSld>
  <p:clrMapOvr>
    <a:masterClrMapping/>
  </p:clrMapOvr>
  <p:transition xmlns:p14="http://schemas.microsoft.com/office/powerpoint/2010/main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4730400" y="1312223"/>
            <a:ext cx="4096800" cy="29556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278567-A873-41F2-87A2-C576C3A686A3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68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82" indent="0">
              <a:buNone/>
              <a:defRPr sz="900"/>
            </a:lvl2pPr>
            <a:lvl3pPr marL="536507" indent="0">
              <a:buNone/>
              <a:defRPr sz="900"/>
            </a:lvl3pPr>
            <a:lvl4pPr marL="807938" indent="0">
              <a:buNone/>
              <a:defRPr sz="900"/>
            </a:lvl4pPr>
            <a:lvl5pPr marL="1073015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856014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29F20C-ED07-4E43-BF52-584BEE95E550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68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82" indent="0">
              <a:buNone/>
              <a:defRPr sz="900"/>
            </a:lvl2pPr>
            <a:lvl3pPr marL="536507" indent="0">
              <a:buNone/>
              <a:defRPr sz="900"/>
            </a:lvl3pPr>
            <a:lvl4pPr marL="807938" indent="0">
              <a:buNone/>
              <a:defRPr sz="900"/>
            </a:lvl4pPr>
            <a:lvl5pPr marL="1073015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531477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29F20C-ED07-4E43-BF52-584BEE95E550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68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82" indent="0">
              <a:buNone/>
              <a:defRPr sz="900"/>
            </a:lvl2pPr>
            <a:lvl3pPr marL="536507" indent="0">
              <a:buNone/>
              <a:defRPr sz="900"/>
            </a:lvl3pPr>
            <a:lvl4pPr marL="807938" indent="0">
              <a:buNone/>
              <a:defRPr sz="900"/>
            </a:lvl4pPr>
            <a:lvl5pPr marL="1073015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902307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278567-A873-41F2-87A2-C576C3A686A3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25994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61" indent="0">
              <a:buNone/>
              <a:defRPr sz="900"/>
            </a:lvl2pPr>
            <a:lvl3pPr marL="536468" indent="0">
              <a:buNone/>
              <a:defRPr sz="900"/>
            </a:lvl3pPr>
            <a:lvl4pPr marL="807879" indent="0">
              <a:buNone/>
              <a:defRPr sz="900"/>
            </a:lvl4pPr>
            <a:lvl5pPr marL="1072937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538874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tx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62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r" defTabSz="878789" eaLnBrk="1" hangingPunct="1">
              <a:spcBef>
                <a:spcPct val="0"/>
              </a:spcBef>
              <a:buNone/>
              <a:defRPr sz="600" b="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en-GB" dirty="0" smtClean="0">
                <a:solidFill>
                  <a:srgbClr val="82786F"/>
                </a:solidFill>
              </a:rPr>
              <a:t>Marso </a:t>
            </a:r>
            <a:r>
              <a:rPr lang="en-GB" i="1" dirty="0" smtClean="0">
                <a:solidFill>
                  <a:srgbClr val="82786F"/>
                </a:solidFill>
              </a:rPr>
              <a:t>et al. NEJM</a:t>
            </a:r>
            <a:r>
              <a:rPr lang="en-GB" dirty="0" smtClean="0">
                <a:solidFill>
                  <a:srgbClr val="82786F"/>
                </a:solidFill>
              </a:rPr>
              <a:t> [in press]</a:t>
            </a:r>
            <a:endParaRPr lang="en-GB" i="1" dirty="0">
              <a:solidFill>
                <a:srgbClr val="82786F"/>
              </a:solidFill>
            </a:endParaRP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789" eaLnBrk="1" hangingPunct="1">
              <a:spcBef>
                <a:spcPct val="0"/>
              </a:spcBef>
              <a:defRPr sz="600" b="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GB" dirty="0">
              <a:solidFill>
                <a:srgbClr val="E64A0E">
                  <a:lumMod val="50000"/>
                </a:srgbClr>
              </a:solidFill>
            </a:endParaRPr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56" eaLnBrk="1" hangingPunct="1">
              <a:defRPr sz="600" b="0" smtClean="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E64A0E">
                    <a:lumMod val="50000"/>
                  </a:srgbClr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E64A0E">
                  <a:lumMod val="50000"/>
                </a:srgbClr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68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82" indent="0">
              <a:buNone/>
              <a:defRPr sz="900"/>
            </a:lvl2pPr>
            <a:lvl3pPr marL="536507" indent="0">
              <a:buNone/>
              <a:defRPr sz="900"/>
            </a:lvl3pPr>
            <a:lvl4pPr marL="807938" indent="0">
              <a:buNone/>
              <a:defRPr sz="900"/>
            </a:lvl4pPr>
            <a:lvl5pPr marL="1073015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2836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29F20C-ED07-4E43-BF52-584BEE95E550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68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82" indent="0">
              <a:buNone/>
              <a:defRPr sz="900"/>
            </a:lvl2pPr>
            <a:lvl3pPr marL="536507" indent="0">
              <a:buNone/>
              <a:defRPr sz="900"/>
            </a:lvl3pPr>
            <a:lvl4pPr marL="807938" indent="0">
              <a:buNone/>
              <a:defRPr sz="900"/>
            </a:lvl4pPr>
            <a:lvl5pPr marL="1073015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982629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29F20C-ED07-4E43-BF52-584BEE95E550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68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82" indent="0">
              <a:buNone/>
              <a:defRPr sz="900"/>
            </a:lvl2pPr>
            <a:lvl3pPr marL="536507" indent="0">
              <a:buNone/>
              <a:defRPr sz="900"/>
            </a:lvl3pPr>
            <a:lvl4pPr marL="807938" indent="0">
              <a:buNone/>
              <a:defRPr sz="900"/>
            </a:lvl4pPr>
            <a:lvl5pPr marL="1073015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186782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29F20C-ED07-4E43-BF52-584BEE95E550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Text Placeholder 2"/>
          <p:cNvSpPr txBox="1">
            <a:spLocks/>
          </p:cNvSpPr>
          <p:nvPr userDrawn="1"/>
        </p:nvSpPr>
        <p:spPr bwMode="auto">
          <a:xfrm>
            <a:off x="316801" y="4564948"/>
            <a:ext cx="8509700" cy="321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161980" bIns="0" numCol="1" anchor="b" anchorCtr="0" compatLnSpc="1">
            <a:prstTxWarp prst="textNoShape">
              <a:avLst/>
            </a:prstTxWarp>
          </a:bodyPr>
          <a:lstStyle>
            <a:lvl1pPr marL="353475" indent="-353475" algn="l" rtl="0" eaLnBrk="0" fontAlgn="base" hangingPunct="0"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Verdana" pitchFamily="34" charset="0"/>
              <a:buChar char="•"/>
              <a:defRPr sz="2133" kern="1200">
                <a:solidFill>
                  <a:schemeClr val="accent2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15415" indent="-361942" algn="l" rtl="0" eaLnBrk="0" fontAlgn="base" hangingPunct="0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Font typeface="Verdana" pitchFamily="34" charset="0"/>
              <a:buChar char="•"/>
              <a:defRPr sz="1867" kern="1200">
                <a:solidFill>
                  <a:schemeClr val="accent2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077357" indent="-361942" algn="l" rtl="0" eaLnBrk="0" fontAlgn="base" hangingPunct="0">
              <a:spcBef>
                <a:spcPts val="400"/>
              </a:spcBef>
              <a:spcAft>
                <a:spcPts val="400"/>
              </a:spcAft>
              <a:buClr>
                <a:srgbClr val="E64A0E"/>
              </a:buClr>
              <a:buFont typeface="Verdana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314418" indent="-237061" algn="l" rtl="0" eaLnBrk="0" fontAlgn="base" hangingPunct="0">
              <a:spcBef>
                <a:spcPts val="400"/>
              </a:spcBef>
              <a:spcAft>
                <a:spcPts val="400"/>
              </a:spcAft>
              <a:buClr>
                <a:srgbClr val="82786F"/>
              </a:buClr>
              <a:buFont typeface="Verdana" pitchFamily="34" charset="0"/>
              <a:buChar char="•"/>
              <a:defRPr sz="1467" kern="1200">
                <a:solidFill>
                  <a:schemeClr val="accent2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1676358" indent="-245527" algn="l" rtl="0" eaLnBrk="0" fontAlgn="base" hangingPunct="0">
              <a:spcBef>
                <a:spcPts val="400"/>
              </a:spcBef>
              <a:spcAft>
                <a:spcPts val="400"/>
              </a:spcAft>
              <a:buClr>
                <a:srgbClr val="001423"/>
              </a:buClr>
              <a:buFont typeface="Verdana" pitchFamily="34" charset="0"/>
              <a:buChar char="•"/>
              <a:defRPr sz="1333" kern="1200">
                <a:solidFill>
                  <a:schemeClr val="accent2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288">
              <a:spcBef>
                <a:spcPts val="0"/>
              </a:spcBef>
              <a:spcAft>
                <a:spcPts val="0"/>
              </a:spcAft>
              <a:buClr>
                <a:srgbClr val="009FDA"/>
              </a:buClr>
              <a:buFont typeface="Verdana" pitchFamily="34" charset="0"/>
              <a:buNone/>
              <a:defRPr/>
            </a:pPr>
            <a:endParaRPr lang="en-GB" sz="600" dirty="0">
              <a:solidFill>
                <a:srgbClr val="82786F"/>
              </a:solidFill>
            </a:endParaRP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68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82" indent="0">
              <a:buNone/>
              <a:defRPr sz="900"/>
            </a:lvl2pPr>
            <a:lvl3pPr marL="536507" indent="0">
              <a:buNone/>
              <a:defRPr sz="900"/>
            </a:lvl3pPr>
            <a:lvl4pPr marL="807938" indent="0">
              <a:buNone/>
              <a:defRPr sz="900"/>
            </a:lvl4pPr>
            <a:lvl5pPr marL="1073015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527936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4730400" y="1312223"/>
            <a:ext cx="4096800" cy="29556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81BE86-149E-45CA-83CA-7A06D5F9D008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68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82" indent="0">
              <a:buNone/>
              <a:defRPr sz="900"/>
            </a:lvl2pPr>
            <a:lvl3pPr marL="536507" indent="0">
              <a:buNone/>
              <a:defRPr sz="900"/>
            </a:lvl3pPr>
            <a:lvl4pPr marL="807938" indent="0">
              <a:buNone/>
              <a:defRPr sz="900"/>
            </a:lvl4pPr>
            <a:lvl5pPr marL="1073015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655889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29F20C-ED07-4E43-BF52-584BEE95E550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68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82" indent="0">
              <a:buNone/>
              <a:defRPr sz="900"/>
            </a:lvl2pPr>
            <a:lvl3pPr marL="536507" indent="0">
              <a:buNone/>
              <a:defRPr sz="900"/>
            </a:lvl3pPr>
            <a:lvl4pPr marL="807938" indent="0">
              <a:buNone/>
              <a:defRPr sz="900"/>
            </a:lvl4pPr>
            <a:lvl5pPr marL="1073015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312486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o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/>
          <p:cNvSpPr>
            <a:spLocks noGrp="1" noChangeArrowheads="1"/>
          </p:cNvSpPr>
          <p:nvPr>
            <p:ph type="subTitle" idx="14"/>
          </p:nvPr>
        </p:nvSpPr>
        <p:spPr>
          <a:xfrm>
            <a:off x="316800" y="385925"/>
            <a:ext cx="8510400" cy="12864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999" anchor="ctr">
            <a:noAutofit/>
          </a:bodyPr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312226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044C825-A278-4735-861A-28420406BCED}" type="slidenum">
              <a:rPr lang="en-GB" altLang="en-US"/>
              <a:pPr/>
              <a:t>‹nr.›</a:t>
            </a:fld>
            <a:endParaRPr lang="en-GB" alt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11" name="Rectangle 81"/>
          <p:cNvSpPr>
            <a:spLocks noGrp="1" noChangeArrowheads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0492514"/>
      </p:ext>
    </p:extLst>
  </p:cSld>
  <p:clrMapOvr>
    <a:masterClrMapping/>
  </p:clrMapOvr>
  <p:transition xmlns:p14="http://schemas.microsoft.com/office/powerpoint/2010/main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E9FAB3-31B1-409E-92E4-4C0885D0CD84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8201" y="4754568"/>
            <a:ext cx="8509000" cy="293687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82" indent="0">
              <a:buNone/>
              <a:defRPr sz="900"/>
            </a:lvl2pPr>
            <a:lvl3pPr marL="536507" indent="0">
              <a:buNone/>
              <a:defRPr sz="900"/>
            </a:lvl3pPr>
            <a:lvl4pPr marL="807938" indent="0">
              <a:buNone/>
              <a:defRPr sz="900"/>
            </a:lvl4pPr>
            <a:lvl5pPr marL="1073015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823358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Tro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317502" y="4564064"/>
            <a:ext cx="786447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5" rIns="91430" bIns="45715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defTabSz="91428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GB" sz="900" dirty="0" smtClean="0">
              <a:solidFill>
                <a:srgbClr val="001965"/>
              </a:solidFill>
              <a:cs typeface="Arial" charset="0"/>
            </a:endParaRP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4"/>
          </p:nvPr>
        </p:nvSpPr>
        <p:spPr>
          <a:xfrm>
            <a:off x="316800" y="385925"/>
            <a:ext cx="8510400" cy="12864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999" anchor="ctr">
            <a:noAutofit/>
          </a:bodyPr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317502" y="4564069"/>
            <a:ext cx="7864475" cy="293687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/>
            </a:lvl1pPr>
            <a:lvl2pPr marL="265076" indent="0">
              <a:buNone/>
              <a:defRPr sz="900"/>
            </a:lvl2pPr>
            <a:lvl3pPr marL="536494" indent="0">
              <a:buNone/>
              <a:defRPr sz="900"/>
            </a:lvl3pPr>
            <a:lvl4pPr marL="807918" indent="0">
              <a:buNone/>
              <a:defRPr sz="900"/>
            </a:lvl4pPr>
            <a:lvl5pPr marL="1072988" indent="0">
              <a:buNone/>
              <a:defRPr sz="9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Rectangle 23"/>
          <p:cNvSpPr>
            <a:spLocks noGrp="1" noChangeArrowheads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A264E4-6D97-4459-B952-A38D9E79D40E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ftr" sz="quarter" idx="20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 smtClean="0"/>
              <a:t>Marso </a:t>
            </a:r>
            <a:r>
              <a:rPr lang="en-GB" i="1" dirty="0" smtClean="0"/>
              <a:t>et al. NEJM</a:t>
            </a:r>
            <a:r>
              <a:rPr lang="en-GB" dirty="0" smtClean="0"/>
              <a:t> [in press]</a:t>
            </a:r>
            <a:endParaRPr lang="en-GB" i="1" dirty="0"/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251777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84800" y="1312864"/>
            <a:ext cx="3542400" cy="1531543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83882" y="3025463"/>
            <a:ext cx="3543319" cy="68458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8D2DA1-799D-4AB3-8D6A-C84E9B4FB822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522462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E9FAB3-31B1-409E-92E4-4C0885D0CD84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38668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/>
          </p:nvPr>
        </p:nvSpPr>
        <p:spPr>
          <a:xfrm>
            <a:off x="316800" y="385925"/>
            <a:ext cx="8510400" cy="12864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>
            <a:noAutofit/>
          </a:bodyPr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4DF84B-66D7-42D6-B951-6935F1E98A29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046134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/>
          </p:nvPr>
        </p:nvSpPr>
        <p:spPr>
          <a:xfrm>
            <a:off x="316800" y="906833"/>
            <a:ext cx="8510400" cy="19972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/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D2D36D-C2C4-4D0D-B0F1-A274C175CDEE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520678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8821" y="515421"/>
            <a:ext cx="6692499" cy="3754955"/>
          </a:xfrm>
        </p:spPr>
        <p:txBody>
          <a:bodyPr tIns="57600" anchor="t"/>
          <a:lstStyle>
            <a:lvl1pPr>
              <a:lnSpc>
                <a:spcPct val="90000"/>
              </a:lnSpc>
              <a:defRPr sz="6000" spc="-15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Rectangle 2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718B6C-F9A8-4F8E-9EAF-06FFDDA65D5A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5" name="Rectangle 81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82578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4730400" y="1312223"/>
            <a:ext cx="4096800" cy="29556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278567-A873-41F2-87A2-C576C3A686A3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70567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4" name="Content Placeholder 2"/>
          <p:cNvSpPr>
            <a:spLocks noGrp="1"/>
          </p:cNvSpPr>
          <p:nvPr>
            <p:ph idx="1"/>
          </p:nvPr>
        </p:nvSpPr>
        <p:spPr>
          <a:xfrm>
            <a:off x="316800" y="1312224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16800" y="2873480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841098-4CAE-4F4B-8168-CCE246618300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2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2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1607555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7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262325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8" name="Content Placeholder 2"/>
          <p:cNvSpPr>
            <a:spLocks noGrp="1"/>
          </p:cNvSpPr>
          <p:nvPr>
            <p:ph idx="10"/>
          </p:nvPr>
        </p:nvSpPr>
        <p:spPr>
          <a:xfrm>
            <a:off x="3260376" y="1312223"/>
            <a:ext cx="262325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9" name="Content Placeholder 2"/>
          <p:cNvSpPr>
            <a:spLocks noGrp="1"/>
          </p:cNvSpPr>
          <p:nvPr>
            <p:ph idx="11"/>
          </p:nvPr>
        </p:nvSpPr>
        <p:spPr>
          <a:xfrm>
            <a:off x="6203950" y="1312223"/>
            <a:ext cx="262325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45F428-D708-47BC-BC8A-B596F553595E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56573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/>
          <p:cNvSpPr>
            <a:spLocks noGrp="1" noChangeArrowheads="1"/>
          </p:cNvSpPr>
          <p:nvPr>
            <p:ph type="subTitle" idx="14"/>
          </p:nvPr>
        </p:nvSpPr>
        <p:spPr>
          <a:xfrm>
            <a:off x="316800" y="906834"/>
            <a:ext cx="8510400" cy="19972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999" anchor="ctr"/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312226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9F7BC243-5843-4215-9F98-1E43A0EEC071}" type="slidenum">
              <a:rPr lang="en-GB" altLang="en-US"/>
              <a:pPr/>
              <a:t>‹nr.›</a:t>
            </a:fld>
            <a:endParaRPr lang="en-GB" alt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10" name="Rectangle 81"/>
          <p:cNvSpPr>
            <a:spLocks noGrp="1" noChangeArrowheads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9271103"/>
      </p:ext>
    </p:extLst>
  </p:cSld>
  <p:clrMapOvr>
    <a:masterClrMapping/>
  </p:clrMapOvr>
  <p:transition xmlns:p14="http://schemas.microsoft.com/office/powerpoint/2010/main"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/>
          </p:cNvSpPr>
          <p:nvPr>
            <p:ph idx="10"/>
          </p:nvPr>
        </p:nvSpPr>
        <p:spPr>
          <a:xfrm>
            <a:off x="2521838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1"/>
          </p:nvPr>
        </p:nvSpPr>
        <p:spPr>
          <a:xfrm>
            <a:off x="4726875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0" name="Content Placeholder 2"/>
          <p:cNvSpPr>
            <a:spLocks noGrp="1"/>
          </p:cNvSpPr>
          <p:nvPr>
            <p:ph idx="12"/>
          </p:nvPr>
        </p:nvSpPr>
        <p:spPr>
          <a:xfrm>
            <a:off x="6938964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7" name="Rectangle 23"/>
          <p:cNvSpPr>
            <a:spLocks noGrp="1" noChangeArrowheads="1"/>
          </p:cNvSpPr>
          <p:nvPr>
            <p:ph type="sldNum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CBC546-3C3D-4413-8174-2C0928D19AAB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9" name="Rectangle 81"/>
          <p:cNvSpPr>
            <a:spLocks noGrp="1" noChangeArrowheads="1"/>
          </p:cNvSpPr>
          <p:nvPr>
            <p:ph type="dt" sz="half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15115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4730400" y="1312224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26"/>
          </p:nvPr>
        </p:nvSpPr>
        <p:spPr>
          <a:xfrm>
            <a:off x="316801" y="1312224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Content Placeholder 2"/>
          <p:cNvSpPr>
            <a:spLocks noGrp="1"/>
          </p:cNvSpPr>
          <p:nvPr>
            <p:ph idx="27"/>
          </p:nvPr>
        </p:nvSpPr>
        <p:spPr>
          <a:xfrm>
            <a:off x="4729512" y="2873481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315913" y="2873481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7" name="Rectangle 23"/>
          <p:cNvSpPr>
            <a:spLocks noGrp="1" noChangeArrowheads="1"/>
          </p:cNvSpPr>
          <p:nvPr>
            <p:ph type="sldNum" sz="quarter" idx="2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8F1AA0-5D25-4BFD-9C6E-3731CBEC723B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9" name="Rectangle 81"/>
          <p:cNvSpPr>
            <a:spLocks noGrp="1" noChangeArrowheads="1"/>
          </p:cNvSpPr>
          <p:nvPr>
            <p:ph type="dt" sz="half" idx="3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267850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>
          <a:xfrm>
            <a:off x="316801" y="1312224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4" name="Content Placeholder 2"/>
          <p:cNvSpPr>
            <a:spLocks noGrp="1"/>
          </p:cNvSpPr>
          <p:nvPr>
            <p:ph idx="10"/>
          </p:nvPr>
        </p:nvSpPr>
        <p:spPr>
          <a:xfrm>
            <a:off x="3260376" y="1312224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5" name="Content Placeholder 2"/>
          <p:cNvSpPr>
            <a:spLocks noGrp="1"/>
          </p:cNvSpPr>
          <p:nvPr>
            <p:ph idx="11"/>
          </p:nvPr>
        </p:nvSpPr>
        <p:spPr>
          <a:xfrm>
            <a:off x="6203950" y="1312224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2"/>
          </p:nvPr>
        </p:nvSpPr>
        <p:spPr>
          <a:xfrm>
            <a:off x="316801" y="2873481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/>
          </p:cNvSpPr>
          <p:nvPr>
            <p:ph idx="13"/>
          </p:nvPr>
        </p:nvSpPr>
        <p:spPr>
          <a:xfrm>
            <a:off x="3260376" y="2873481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4"/>
          </p:nvPr>
        </p:nvSpPr>
        <p:spPr>
          <a:xfrm>
            <a:off x="6203950" y="2873481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9" name="Rectangle 23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76DD6C-9B92-4543-BA15-6BEC4F657E2B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11" name="Rectangle 81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71499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background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 algn="r" defTabSz="878899" eaLnBrk="1" hangingPunct="1">
              <a:spcBef>
                <a:spcPct val="0"/>
              </a:spcBef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FFFFFF"/>
                </a:solidFill>
              </a:rPr>
              <a:t>Clinical trial design and results template</a:t>
            </a:r>
          </a:p>
        </p:txBody>
      </p:sp>
      <p:sp>
        <p:nvSpPr>
          <p:cNvPr id="4" name="Rectangle 81"/>
          <p:cNvSpPr>
            <a:spLocks noGrp="1" noChangeArrowheads="1"/>
          </p:cNvSpPr>
          <p:nvPr>
            <p:ph type="dt" sz="half" idx="16"/>
          </p:nvPr>
        </p:nvSpPr>
        <p:spPr/>
        <p:txBody>
          <a:bodyPr/>
          <a:lstStyle>
            <a:lvl1pPr algn="r" defTabSz="878899" eaLnBrk="1" hangingPunct="1">
              <a:spcBef>
                <a:spcPct val="0"/>
              </a:spcBef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Dat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23"/>
          <p:cNvSpPr>
            <a:spLocks noGrp="1" noChangeArrowheads="1"/>
          </p:cNvSpPr>
          <p:nvPr>
            <p:ph type="sldNum" sz="quarter" idx="17"/>
          </p:nvPr>
        </p:nvSpPr>
        <p:spPr/>
        <p:txBody>
          <a:bodyPr/>
          <a:lstStyle>
            <a:lvl1pPr algn="r" defTabSz="877866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AC2FA73-B7F9-45BD-BAF8-9E6189C127D2}" type="slidenum">
              <a:rPr lang="en-GB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2605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op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2648932"/>
          </a:xfr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8" name="Content Placeholder 2"/>
          <p:cNvSpPr>
            <a:spLocks noGrp="1"/>
          </p:cNvSpPr>
          <p:nvPr>
            <p:ph idx="25"/>
          </p:nvPr>
        </p:nvSpPr>
        <p:spPr>
          <a:xfrm>
            <a:off x="316800" y="2873480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26"/>
          </p:nvPr>
        </p:nvSpPr>
        <p:spPr/>
        <p:txBody>
          <a:bodyPr/>
          <a:lstStyle>
            <a:lvl1pPr algn="r" defTabSz="878899" eaLnBrk="1" hangingPunct="1">
              <a:spcBef>
                <a:spcPct val="0"/>
              </a:spcBef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FFFFFF"/>
                </a:solidFill>
              </a:rPr>
              <a:t>Clinical trial design and results template</a:t>
            </a:r>
          </a:p>
        </p:txBody>
      </p:sp>
      <p:sp>
        <p:nvSpPr>
          <p:cNvPr id="5" name="Rectangle 81"/>
          <p:cNvSpPr>
            <a:spLocks noGrp="1" noChangeArrowheads="1"/>
          </p:cNvSpPr>
          <p:nvPr>
            <p:ph type="dt" sz="half" idx="27"/>
          </p:nvPr>
        </p:nvSpPr>
        <p:spPr/>
        <p:txBody>
          <a:bodyPr/>
          <a:lstStyle>
            <a:lvl1pPr algn="r" defTabSz="878899" eaLnBrk="1" hangingPunct="1">
              <a:spcBef>
                <a:spcPct val="0"/>
              </a:spcBef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Dat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23"/>
          <p:cNvSpPr>
            <a:spLocks noGrp="1" noChangeArrowheads="1"/>
          </p:cNvSpPr>
          <p:nvPr>
            <p:ph type="sldNum" sz="quarter" idx="28"/>
          </p:nvPr>
        </p:nvSpPr>
        <p:spPr/>
        <p:txBody>
          <a:bodyPr/>
          <a:lstStyle>
            <a:lvl1pPr algn="r" defTabSz="877866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4CDC439-7D14-4C22-8D71-8E6CC508DE01}" type="slidenum">
              <a:rPr lang="en-GB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69388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middle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1312225"/>
            <a:ext cx="9144000" cy="2955788"/>
          </a:xfr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0793F2-5857-4866-8A3B-FC661E40FA91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89153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566390" cy="5143500"/>
          </a:xfr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873446" y="515421"/>
            <a:ext cx="3953755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1"/>
          </p:nvPr>
        </p:nvSpPr>
        <p:spPr>
          <a:xfrm>
            <a:off x="4873446" y="1312223"/>
            <a:ext cx="3953755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2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5"/>
          </p:nvPr>
        </p:nvSpPr>
        <p:spPr>
          <a:xfrm>
            <a:off x="4873625" y="103189"/>
            <a:ext cx="2200275" cy="101600"/>
          </a:xfrm>
        </p:spPr>
        <p:txBody>
          <a:bodyPr/>
          <a:lstStyle>
            <a:lvl1pPr algn="r" defTabSz="878899" eaLnBrk="1" hangingPunct="1">
              <a:spcBef>
                <a:spcPct val="0"/>
              </a:spcBef>
              <a:defRPr sz="600" b="0" dirty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6"/>
          </p:nvPr>
        </p:nvSpPr>
        <p:spPr/>
        <p:txBody>
          <a:bodyPr/>
          <a:lstStyle>
            <a:lvl1pPr algn="r" defTabSz="878899" eaLnBrk="1" hangingPunct="1">
              <a:spcBef>
                <a:spcPct val="0"/>
              </a:spcBef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7" name="Slide Number Placeholder 23"/>
          <p:cNvSpPr>
            <a:spLocks noGrp="1" noChangeArrowheads="1"/>
          </p:cNvSpPr>
          <p:nvPr>
            <p:ph type="sldNum" sz="quarter" idx="17"/>
          </p:nvPr>
        </p:nvSpPr>
        <p:spPr/>
        <p:txBody>
          <a:bodyPr/>
          <a:lstStyle>
            <a:lvl1pPr algn="r" defTabSz="877866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1B10EAA0-E449-4266-9055-41E5E61D6A90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593359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arge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316800" y="1312225"/>
            <a:ext cx="8510400" cy="2955788"/>
          </a:xfrm>
          <a:prstGeom prst="roundRect">
            <a:avLst>
              <a:gd name="adj" fmla="val 4683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C855D-F444-4A24-B031-89493CF1DEA3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4007031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2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731411" y="1312225"/>
            <a:ext cx="4093768" cy="2955788"/>
          </a:xfrm>
          <a:prstGeom prst="roundRect">
            <a:avLst>
              <a:gd name="adj" fmla="val 3924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6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F15539-46F0-4714-9357-3E029ADF6425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075756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3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318821" y="1312223"/>
            <a:ext cx="5564631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202273" y="1312225"/>
            <a:ext cx="2624927" cy="2955788"/>
          </a:xfrm>
          <a:prstGeom prst="roundRect">
            <a:avLst>
              <a:gd name="adj" fmla="val 4084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D40531-B193-4FA5-9626-282A690FEA7A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84881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8821" y="515446"/>
            <a:ext cx="6692499" cy="3754955"/>
          </a:xfrm>
        </p:spPr>
        <p:txBody>
          <a:bodyPr tIns="57539" anchor="t"/>
          <a:lstStyle>
            <a:lvl1pPr>
              <a:lnSpc>
                <a:spcPct val="90000"/>
              </a:lnSpc>
              <a:defRPr sz="6000" spc="-151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9CE9A6A-1A0C-4194-A842-8FB29FB1119F}" type="slidenum">
              <a:rPr lang="en-GB" altLang="en-US"/>
              <a:pPr/>
              <a:t>‹nr.›</a:t>
            </a:fld>
            <a:endParaRPr lang="en-GB" alt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014951"/>
      </p:ext>
    </p:extLst>
  </p:cSld>
  <p:clrMapOvr>
    <a:masterClrMapping/>
  </p:clrMapOvr>
  <p:transition xmlns:p14="http://schemas.microsoft.com/office/powerpoint/2010/main"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4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937200" y="1312225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8"/>
          </p:nvPr>
        </p:nvSpPr>
        <p:spPr>
          <a:xfrm>
            <a:off x="318822" y="1312223"/>
            <a:ext cx="6308887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2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03F11A-521D-4CA8-A20B-4553ED574EFC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2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3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32964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/>
          <p:cNvSpPr>
            <a:spLocks noGrp="1"/>
          </p:cNvSpPr>
          <p:nvPr>
            <p:ph idx="18"/>
          </p:nvPr>
        </p:nvSpPr>
        <p:spPr>
          <a:xfrm>
            <a:off x="318822" y="1312223"/>
            <a:ext cx="4099651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937200" y="1312225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4726874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2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1EE2D5-78E7-4C77-89B2-D0214DAF2AAE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3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548244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937200" y="1312225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4726874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31" name="Picture Placeholder 8"/>
          <p:cNvSpPr>
            <a:spLocks noGrp="1"/>
          </p:cNvSpPr>
          <p:nvPr>
            <p:ph type="pic" sz="quarter" idx="29"/>
          </p:nvPr>
        </p:nvSpPr>
        <p:spPr>
          <a:xfrm>
            <a:off x="2521837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32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316800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7" name="Rectangle 23"/>
          <p:cNvSpPr>
            <a:spLocks noGrp="1" noChangeArrowheads="1"/>
          </p:cNvSpPr>
          <p:nvPr>
            <p:ph type="sldNum" sz="quarter" idx="3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367C96-4DFF-4CD6-86EA-4D08D6D19D75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9" name="Rectangle 81"/>
          <p:cNvSpPr>
            <a:spLocks noGrp="1" noChangeArrowheads="1"/>
          </p:cNvSpPr>
          <p:nvPr>
            <p:ph type="dt" sz="half" idx="3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76650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idx="23"/>
          </p:nvPr>
        </p:nvSpPr>
        <p:spPr>
          <a:xfrm>
            <a:off x="318821" y="1312223"/>
            <a:ext cx="2923653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3" name="Media Placeholder 8"/>
          <p:cNvSpPr>
            <a:spLocks noGrp="1"/>
          </p:cNvSpPr>
          <p:nvPr>
            <p:ph type="media" sz="quarter" idx="18"/>
          </p:nvPr>
        </p:nvSpPr>
        <p:spPr>
          <a:xfrm>
            <a:off x="3578125" y="1309928"/>
            <a:ext cx="5258820" cy="2958085"/>
          </a:xfrm>
          <a:solidFill>
            <a:schemeClr val="accent6"/>
          </a:solidFill>
          <a:effectLst/>
        </p:spPr>
        <p:txBody>
          <a:bodyPr rtlCol="0" anchor="ctr">
            <a:norm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media</a:t>
            </a:r>
            <a:endParaRPr lang="en-GB" noProof="0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95182E-FC5C-467F-9F5C-09912EB9807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23399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/>
          </p:cNvSpPr>
          <p:nvPr>
            <p:ph type="media" sz="quarter" idx="15"/>
          </p:nvPr>
        </p:nvSpPr>
        <p:spPr>
          <a:xfrm>
            <a:off x="4891539" y="1309928"/>
            <a:ext cx="3945406" cy="2958085"/>
          </a:xfrm>
          <a:solidFill>
            <a:schemeClr val="accent6"/>
          </a:solidFill>
          <a:effectLst/>
        </p:spPr>
        <p:txBody>
          <a:bodyPr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media</a:t>
            </a:r>
            <a:endParaRPr lang="en-GB" noProof="0" dirty="0"/>
          </a:p>
        </p:txBody>
      </p:sp>
      <p:sp>
        <p:nvSpPr>
          <p:cNvPr id="17" name="Content Placeholder 2"/>
          <p:cNvSpPr>
            <a:spLocks noGrp="1"/>
          </p:cNvSpPr>
          <p:nvPr>
            <p:ph idx="24"/>
          </p:nvPr>
        </p:nvSpPr>
        <p:spPr>
          <a:xfrm>
            <a:off x="318822" y="1312223"/>
            <a:ext cx="4251592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116159-7028-460D-AE76-F037B86A18F4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2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6761300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/>
          </p:cNvSpPr>
          <p:nvPr>
            <p:ph type="media" sz="quarter" idx="18"/>
          </p:nvPr>
        </p:nvSpPr>
        <p:spPr>
          <a:xfrm>
            <a:off x="0" y="0"/>
            <a:ext cx="9144000" cy="5143499"/>
          </a:xfrm>
          <a:solidFill>
            <a:schemeClr val="accent6"/>
          </a:solidFill>
          <a:effectLst/>
        </p:spPr>
        <p:txBody>
          <a:bodyPr rtlCol="0" anchor="ctr">
            <a:norm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icon to add media</a:t>
            </a:r>
            <a:endParaRPr lang="en-GB" noProof="0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9"/>
          </p:nvPr>
        </p:nvSpPr>
        <p:spPr/>
        <p:txBody>
          <a:bodyPr/>
          <a:lstStyle>
            <a:lvl1pPr algn="r" defTabSz="878899" eaLnBrk="1" hangingPunct="1">
              <a:spcBef>
                <a:spcPct val="0"/>
              </a:spcBef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FFFFFF"/>
                </a:solidFill>
              </a:rPr>
              <a:t>Clinical trial design and results template</a:t>
            </a:r>
          </a:p>
        </p:txBody>
      </p:sp>
      <p:sp>
        <p:nvSpPr>
          <p:cNvPr id="4" name="Rectangle 81"/>
          <p:cNvSpPr>
            <a:spLocks noGrp="1" noChangeArrowheads="1"/>
          </p:cNvSpPr>
          <p:nvPr>
            <p:ph type="dt" sz="half" idx="20"/>
          </p:nvPr>
        </p:nvSpPr>
        <p:spPr/>
        <p:txBody>
          <a:bodyPr/>
          <a:lstStyle>
            <a:lvl1pPr algn="r" defTabSz="878899" eaLnBrk="1" hangingPunct="1">
              <a:spcBef>
                <a:spcPct val="0"/>
              </a:spcBef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Dat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23"/>
          <p:cNvSpPr>
            <a:spLocks noGrp="1" noChangeArrowheads="1"/>
          </p:cNvSpPr>
          <p:nvPr>
            <p:ph type="sldNum" sz="quarter" idx="21"/>
          </p:nvPr>
        </p:nvSpPr>
        <p:spPr/>
        <p:txBody>
          <a:bodyPr/>
          <a:lstStyle>
            <a:lvl1pPr algn="r" defTabSz="877866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5E09414-6CA4-4F8B-BF9C-C73AA5DCC7B9}" type="slidenum">
              <a:rPr lang="en-GB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1991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317501" y="309564"/>
            <a:ext cx="8509000" cy="3959225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72000" tIns="72000" rIns="72000" bIns="72000" anchor="ctr"/>
          <a:lstStyle/>
          <a:p>
            <a:pPr algn="ctr" defTabSz="1219169"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2400" b="1" dirty="0">
              <a:solidFill>
                <a:srgbClr val="001965"/>
              </a:solidFill>
              <a:cs typeface="Arial" charset="0"/>
            </a:endParaRPr>
          </a:p>
        </p:txBody>
      </p:sp>
      <p:sp>
        <p:nvSpPr>
          <p:cNvPr id="3" name="Title 6"/>
          <p:cNvSpPr txBox="1">
            <a:spLocks/>
          </p:cNvSpPr>
          <p:nvPr userDrawn="1"/>
        </p:nvSpPr>
        <p:spPr bwMode="auto">
          <a:xfrm>
            <a:off x="319089" y="577850"/>
            <a:ext cx="8518525" cy="390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 defTabSz="87788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001965"/>
                </a:solidFill>
                <a:latin typeface="+mj-lt"/>
                <a:ea typeface="+mj-ea"/>
                <a:cs typeface="+mj-cs"/>
              </a:defRPr>
            </a:lvl1pPr>
            <a:lvl2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2pPr>
            <a:lvl3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3pPr>
            <a:lvl4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4pPr>
            <a:lvl5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5pPr>
            <a:lvl6pPr marL="329595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6pPr>
            <a:lvl7pPr marL="659191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7pPr>
            <a:lvl8pPr marL="988786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8pPr>
            <a:lvl9pPr marL="1318382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9pPr>
          </a:lstStyle>
          <a:p>
            <a:pPr>
              <a:defRPr/>
            </a:pPr>
            <a:r>
              <a:rPr lang="en-GB" dirty="0"/>
              <a:t>Title</a:t>
            </a:r>
          </a:p>
        </p:txBody>
      </p:sp>
      <p:sp>
        <p:nvSpPr>
          <p:cNvPr id="4" name="TextBox 11"/>
          <p:cNvSpPr txBox="1">
            <a:spLocks noChangeArrowheads="1"/>
          </p:cNvSpPr>
          <p:nvPr userDrawn="1"/>
        </p:nvSpPr>
        <p:spPr bwMode="auto">
          <a:xfrm>
            <a:off x="2749551" y="2524126"/>
            <a:ext cx="36322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E64A0E"/>
                </a:solidFill>
                <a:cs typeface="Arial" charset="0"/>
              </a:rPr>
              <a:t>Keep all content in this area</a:t>
            </a:r>
          </a:p>
        </p:txBody>
      </p:sp>
      <p:sp>
        <p:nvSpPr>
          <p:cNvPr id="5" name="TextBox 16"/>
          <p:cNvSpPr txBox="1">
            <a:spLocks noChangeArrowheads="1"/>
          </p:cNvSpPr>
          <p:nvPr userDrawn="1"/>
        </p:nvSpPr>
        <p:spPr bwMode="auto">
          <a:xfrm>
            <a:off x="319089" y="1312864"/>
            <a:ext cx="85185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1965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317501" y="1312864"/>
            <a:ext cx="8509000" cy="2955925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/>
          <a:lstStyle/>
          <a:p>
            <a:pPr marL="269868" indent="-269868" defTabSz="1219169" fontAlgn="base">
              <a:spcBef>
                <a:spcPct val="50000"/>
              </a:spcBef>
              <a:spcAft>
                <a:spcPct val="0"/>
              </a:spcAft>
              <a:buClr>
                <a:srgbClr val="009FDA"/>
              </a:buClr>
              <a:buFont typeface="Arial" pitchFamily="34" charset="0"/>
              <a:buChar char="•"/>
              <a:defRPr/>
            </a:pPr>
            <a:r>
              <a:rPr lang="en-GB" dirty="0">
                <a:solidFill>
                  <a:srgbClr val="001965"/>
                </a:solidFill>
                <a:cs typeface="Arial" charset="0"/>
              </a:rPr>
              <a:t>Content area</a:t>
            </a:r>
          </a:p>
        </p:txBody>
      </p:sp>
      <p:sp>
        <p:nvSpPr>
          <p:cNvPr id="7" name="TextBox 18"/>
          <p:cNvSpPr txBox="1">
            <a:spLocks noChangeArrowheads="1"/>
          </p:cNvSpPr>
          <p:nvPr userDrawn="1"/>
        </p:nvSpPr>
        <p:spPr bwMode="auto">
          <a:xfrm>
            <a:off x="317500" y="965201"/>
            <a:ext cx="45720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E64A0E"/>
                </a:solidFill>
                <a:cs typeface="Arial" charset="0"/>
              </a:rPr>
              <a:t>Keep all titles, trompets and subtitles in this area</a:t>
            </a:r>
          </a:p>
        </p:txBody>
      </p:sp>
      <p:sp>
        <p:nvSpPr>
          <p:cNvPr id="8" name="TextBox 19"/>
          <p:cNvSpPr txBox="1">
            <a:spLocks noChangeArrowheads="1"/>
          </p:cNvSpPr>
          <p:nvPr userDrawn="1"/>
        </p:nvSpPr>
        <p:spPr bwMode="auto">
          <a:xfrm>
            <a:off x="4919664" y="330201"/>
            <a:ext cx="391001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E64A0E"/>
                </a:solidFill>
                <a:cs typeface="Arial" charset="0"/>
              </a:rPr>
              <a:t>Never move Footer, Date and No placeholders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r" defTabSz="878899" eaLnBrk="1" hangingPunct="1">
              <a:spcBef>
                <a:spcPct val="0"/>
              </a:spcBef>
              <a:defRPr sz="600" b="0" dirty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10" name="Rectangle 81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 algn="r" defTabSz="878899" eaLnBrk="1" hangingPunct="1">
              <a:spcBef>
                <a:spcPct val="0"/>
              </a:spcBef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1" name="Slide Number Placeholder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 defTabSz="877866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3F08DF2-08E5-4258-AABE-0B58EE66DCBF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81572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87363" y="4854583"/>
            <a:ext cx="7023780" cy="19639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7684474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8535" y="228393"/>
            <a:ext cx="8186400" cy="7612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74301" y="4930542"/>
            <a:ext cx="8191500" cy="126958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7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823973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6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09147059"/>
      </p:ext>
    </p:extLst>
  </p:cSld>
  <p:clrMapOvr>
    <a:masterClrMapping/>
  </p:clrMapOvr>
  <p:transition xmlns:p14="http://schemas.microsoft.com/office/powerpoint/2010/main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316801" y="1312226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4730400" y="1312223"/>
            <a:ext cx="4096800" cy="29556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8CA5C5C-0454-4FA3-A67A-1A072433DFBB}" type="slidenum">
              <a:rPr lang="en-GB" altLang="en-US"/>
              <a:pPr/>
              <a:t>‹nr.›</a:t>
            </a:fld>
            <a:endParaRPr lang="en-GB" alt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9585015"/>
      </p:ext>
    </p:extLst>
  </p:cSld>
  <p:clrMapOvr>
    <a:masterClrMapping/>
  </p:clrMapOvr>
  <p:transition xmlns:p14="http://schemas.microsoft.com/office/powerpoint/2010/main"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84800" y="1312870"/>
            <a:ext cx="3542400" cy="1531543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83886" y="3025463"/>
            <a:ext cx="3543319" cy="68458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64079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ooter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16804" y="4213924"/>
            <a:ext cx="8509700" cy="770826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rgbClr val="82786F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0155728"/>
      </p:ext>
    </p:extLst>
  </p:cSld>
  <p:clrMapOvr>
    <a:masterClrMapping/>
  </p:clrMapOvr>
  <p:transition xmlns:p14="http://schemas.microsoft.com/office/powerpoint/2010/main"/>
  <p:extLst mod="1">
    <p:ext uri="{DCECCB84-F9BA-43D5-87BE-67443E8EF086}">
      <p15:sldGuideLst xmlns:p15="http://schemas.microsoft.com/office/powerpoint/2012/main" xmlns="">
        <p15:guide id="1" pos="153" userDrawn="1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316801" y="905930"/>
            <a:ext cx="8510400" cy="33009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t" anchorCtr="0">
            <a:normAutofit/>
          </a:bodyPr>
          <a:lstStyle>
            <a:lvl1pPr marL="0" indent="0" algn="l">
              <a:buFontTx/>
              <a:buNone/>
              <a:defRPr sz="1300" baseline="0">
                <a:solidFill>
                  <a:srgbClr val="009FDA"/>
                </a:solidFill>
              </a:defRPr>
            </a:lvl1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316804" y="4215600"/>
            <a:ext cx="8509700" cy="770400"/>
          </a:xfrm>
        </p:spPr>
        <p:txBody>
          <a:bodyPr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rgbClr val="82786F"/>
                </a:solidFill>
              </a:defRPr>
            </a:lvl1pPr>
            <a:lvl2pPr marL="265106" indent="0">
              <a:buNone/>
              <a:defRPr sz="800">
                <a:solidFill>
                  <a:srgbClr val="82786F"/>
                </a:solidFill>
              </a:defRPr>
            </a:lvl2pPr>
            <a:lvl3pPr>
              <a:defRPr sz="800">
                <a:solidFill>
                  <a:srgbClr val="82786F"/>
                </a:solidFill>
              </a:defRPr>
            </a:lvl3pPr>
            <a:lvl4pPr>
              <a:defRPr sz="800">
                <a:solidFill>
                  <a:srgbClr val="82786F"/>
                </a:solidFill>
              </a:defRPr>
            </a:lvl4pPr>
            <a:lvl5pPr>
              <a:defRPr sz="800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  <a:endParaRPr lang="en-GB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16800" y="171011"/>
            <a:ext cx="8510400" cy="717987"/>
          </a:xfrm>
        </p:spPr>
        <p:txBody>
          <a:bodyPr anchor="b" anchorCtr="0">
            <a:norm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94435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8821" y="1317813"/>
            <a:ext cx="6692499" cy="2952563"/>
          </a:xfrm>
        </p:spPr>
        <p:txBody>
          <a:bodyPr tIns="57600" anchor="t"/>
          <a:lstStyle>
            <a:lvl1pPr>
              <a:lnSpc>
                <a:spcPct val="90000"/>
              </a:lnSpc>
              <a:defRPr sz="3200" spc="-15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19075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4730400" y="1312223"/>
            <a:ext cx="4096800" cy="29556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84466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6688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6804" y="4213924"/>
            <a:ext cx="8509700" cy="770826"/>
          </a:xfrm>
        </p:spPr>
        <p:txBody>
          <a:bodyPr anchor="b"/>
          <a:lstStyle>
            <a:lvl1pPr marL="0" marR="0" indent="0" algn="l" defTabSz="91437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Verdana" pitchFamily="34" charset="0"/>
              <a:buNone/>
              <a:tabLst/>
              <a:defRPr sz="800" baseline="0">
                <a:solidFill>
                  <a:srgbClr val="82786F"/>
                </a:solidFill>
              </a:defRPr>
            </a:lvl1pPr>
          </a:lstStyle>
          <a:p>
            <a:r>
              <a:rPr lang="da-DK" dirty="0"/>
              <a:t>Footnotes</a:t>
            </a:r>
          </a:p>
          <a:p>
            <a:r>
              <a:rPr lang="da-DK" dirty="0"/>
              <a:t>Referenc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16800" y="1309530"/>
            <a:ext cx="8510400" cy="307381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21600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ts val="432"/>
              </a:spcBef>
              <a:spcAft>
                <a:spcPts val="300"/>
              </a:spcAft>
              <a:defRPr lang="en-US" sz="1800" noProof="0" dirty="0" smtClean="0"/>
            </a:lvl1pPr>
            <a:lvl2pPr>
              <a:lnSpc>
                <a:spcPct val="100000"/>
              </a:lnSpc>
              <a:spcBef>
                <a:spcPts val="432"/>
              </a:spcBef>
              <a:spcAft>
                <a:spcPts val="300"/>
              </a:spcAft>
              <a:defRPr lang="en-US" sz="1600" noProof="0" dirty="0" smtClean="0"/>
            </a:lvl2pPr>
            <a:lvl3pPr>
              <a:lnSpc>
                <a:spcPct val="100000"/>
              </a:lnSpc>
              <a:spcBef>
                <a:spcPts val="432"/>
              </a:spcBef>
              <a:spcAft>
                <a:spcPts val="300"/>
              </a:spcAft>
              <a:defRPr lang="en-US" sz="1400" noProof="0" dirty="0" smtClean="0"/>
            </a:lvl3pPr>
            <a:lvl4pPr>
              <a:lnSpc>
                <a:spcPct val="100000"/>
              </a:lnSpc>
              <a:spcBef>
                <a:spcPts val="432"/>
              </a:spcBef>
              <a:spcAft>
                <a:spcPts val="300"/>
              </a:spcAft>
              <a:defRPr lang="en-US" sz="1200" noProof="0" dirty="0" smtClean="0"/>
            </a:lvl4pPr>
            <a:lvl5pPr>
              <a:lnSpc>
                <a:spcPct val="100000"/>
              </a:lnSpc>
              <a:spcBef>
                <a:spcPts val="432"/>
              </a:spcBef>
              <a:spcAft>
                <a:spcPts val="300"/>
              </a:spcAft>
              <a:defRPr lang="en-GB" sz="1100" noProof="0" dirty="0"/>
            </a:lvl5pPr>
          </a:lstStyle>
          <a:p>
            <a:pPr lvl="0">
              <a:spcBef>
                <a:spcPts val="450"/>
              </a:spcBef>
              <a:spcAft>
                <a:spcPts val="450"/>
              </a:spcAft>
            </a:pPr>
            <a:r>
              <a:rPr lang="en-GB" noProof="0" dirty="0"/>
              <a:t>Click to edit Master text styles</a:t>
            </a:r>
          </a:p>
          <a:p>
            <a:pPr lvl="1">
              <a:spcBef>
                <a:spcPts val="450"/>
              </a:spcBef>
              <a:spcAft>
                <a:spcPts val="450"/>
              </a:spcAft>
            </a:pPr>
            <a:r>
              <a:rPr lang="en-GB" noProof="0" dirty="0"/>
              <a:t>Second level</a:t>
            </a:r>
          </a:p>
          <a:p>
            <a:pPr lvl="2">
              <a:spcBef>
                <a:spcPts val="450"/>
              </a:spcBef>
              <a:spcAft>
                <a:spcPts val="450"/>
              </a:spcAft>
              <a:buClr>
                <a:schemeClr val="accent5"/>
              </a:buClr>
            </a:pPr>
            <a:r>
              <a:rPr lang="en-GB" noProof="0" dirty="0"/>
              <a:t>Third level</a:t>
            </a:r>
          </a:p>
          <a:p>
            <a:pPr lvl="3">
              <a:spcBef>
                <a:spcPts val="450"/>
              </a:spcBef>
              <a:spcAft>
                <a:spcPts val="450"/>
              </a:spcAft>
              <a:buClr>
                <a:schemeClr val="accent3"/>
              </a:buClr>
            </a:pPr>
            <a:r>
              <a:rPr lang="en-GB" noProof="0" dirty="0"/>
              <a:t>Fourth level</a:t>
            </a:r>
          </a:p>
          <a:p>
            <a:pPr lvl="4">
              <a:spcBef>
                <a:spcPts val="450"/>
              </a:spcBef>
              <a:spcAft>
                <a:spcPts val="450"/>
              </a:spcAft>
            </a:pPr>
            <a:r>
              <a:rPr 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1490734"/>
      </p:ext>
    </p:extLst>
  </p:cSld>
  <p:clrMapOvr>
    <a:masterClrMapping/>
  </p:clrMapOvr>
  <p:transition xmlns:p14="http://schemas.microsoft.com/office/powerpoint/2010/main" spd="slow">
    <p:fade thruBlk="1"/>
  </p:transition>
  <p:extLst mod="1">
    <p:ext uri="{DCECCB84-F9BA-43D5-87BE-67443E8EF086}">
      <p15:sldGuideLst xmlns:p15="http://schemas.microsoft.com/office/powerpoint/2012/main" xmlns="">
        <p15:guide id="1" orient="horz" pos="2348" userDrawn="1">
          <p15:clr>
            <a:srgbClr val="FBAE40"/>
          </p15:clr>
        </p15:guide>
        <p15:guide id="2" pos="2160" userDrawn="1">
          <p15:clr>
            <a:srgbClr val="FBAE4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2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16800" y="4586295"/>
            <a:ext cx="8510400" cy="454579"/>
          </a:xfrm>
        </p:spPr>
        <p:txBody>
          <a:bodyPr r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rgbClr val="82786F"/>
                </a:solidFill>
              </a:defRPr>
            </a:lvl1pPr>
            <a:lvl2pPr marL="265100" indent="0">
              <a:buNone/>
              <a:defRPr sz="800"/>
            </a:lvl2pPr>
            <a:lvl3pPr marL="536548" indent="0">
              <a:buNone/>
              <a:defRPr sz="800"/>
            </a:lvl3pPr>
            <a:lvl4pPr marL="807998" indent="0">
              <a:buNone/>
              <a:defRPr sz="800"/>
            </a:lvl4pPr>
            <a:lvl5pPr marL="1073096" indent="0">
              <a:buNone/>
              <a:defRPr sz="8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915972569"/>
      </p:ext>
    </p:extLst>
  </p:cSld>
  <p:clrMapOvr>
    <a:masterClrMapping/>
  </p:clrMapOvr>
  <p:transition xmlns:p14="http://schemas.microsoft.com/office/powerpoint/2010/main"/>
  <p:extLst mod="1">
    <p:ext uri="{DCECCB84-F9BA-43D5-87BE-67443E8EF086}">
      <p15:sldGuideLst xmlns:p15="http://schemas.microsoft.com/office/powerpoint/2012/main" xmlns="">
        <p15:guide id="1" orient="horz" pos="2372" userDrawn="1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ormal_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5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2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5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121729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16804" y="4480560"/>
            <a:ext cx="8568439" cy="6096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rgbClr val="82786F"/>
                </a:solidFill>
              </a:defRPr>
            </a:lvl1pPr>
            <a:lvl2pPr marL="265106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rgbClr val="82786F"/>
                </a:solidFill>
              </a:defRPr>
            </a:lvl2pPr>
            <a:lvl3pPr marL="536561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rgbClr val="82786F"/>
                </a:solidFill>
              </a:defRPr>
            </a:lvl3pPr>
            <a:lvl4pPr marL="808018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rgbClr val="82786F"/>
                </a:solidFill>
              </a:defRPr>
            </a:lvl4pPr>
            <a:lvl5pPr marL="1073123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6796783"/>
      </p:ext>
    </p:extLst>
  </p:cSld>
  <p:clrMapOvr>
    <a:masterClrMapping/>
  </p:clrMapOvr>
  <p:transition xmlns:p14="http://schemas.microsoft.com/office/powerpoint/2010/main"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514822" y="105052"/>
            <a:ext cx="312378" cy="101600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685766">
              <a:defRPr/>
            </a:pPr>
            <a:fld id="{4B01E8EF-57E8-4F85-90EB-163CEE512F88}" type="slidenum">
              <a:rPr lang="en-GB" sz="1400" smtClean="0">
                <a:solidFill>
                  <a:srgbClr val="82786F"/>
                </a:solidFill>
              </a:rPr>
              <a:pPr defTabSz="685766">
                <a:defRPr/>
              </a:pPr>
              <a:t>‹nr.›</a:t>
            </a:fld>
            <a:endParaRPr lang="en-GB" sz="1400" dirty="0">
              <a:solidFill>
                <a:srgbClr val="82786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72959" y="103909"/>
            <a:ext cx="2900363" cy="101600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685766">
              <a:defRPr/>
            </a:pPr>
            <a:r>
              <a:rPr lang="en-GB" sz="1400" smtClean="0">
                <a:solidFill>
                  <a:srgbClr val="82786F"/>
                </a:solidFill>
              </a:rPr>
              <a:t>Presentation title</a:t>
            </a:r>
            <a:endParaRPr lang="en-GB" sz="1400" dirty="0">
              <a:solidFill>
                <a:srgbClr val="82786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187154" y="103909"/>
            <a:ext cx="1201738" cy="101600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685766">
              <a:defRPr/>
            </a:pPr>
            <a:r>
              <a:rPr lang="en-GB" sz="1400" smtClean="0">
                <a:solidFill>
                  <a:srgbClr val="82786F"/>
                </a:solidFill>
              </a:rPr>
              <a:t>Date</a:t>
            </a:r>
            <a:endParaRPr lang="en-GB" sz="1400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8493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55F9A-10B8-48A0-A670-4DAF4FCE3C5E}" type="datetimeFigureOut">
              <a:rPr lang="en-GB" smtClean="0"/>
              <a:t>22-12-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E52CB-72DF-4CEA-9D3E-F3F83B8EA34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41439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4" name="Content Placeholder 2"/>
          <p:cNvSpPr>
            <a:spLocks noGrp="1"/>
          </p:cNvSpPr>
          <p:nvPr>
            <p:ph idx="1"/>
          </p:nvPr>
        </p:nvSpPr>
        <p:spPr>
          <a:xfrm>
            <a:off x="316800" y="1312264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16800" y="2873522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26"/>
          </p:nvPr>
        </p:nvSpPr>
        <p:spPr/>
        <p:txBody>
          <a:bodyPr/>
          <a:lstStyle>
            <a:lvl1pPr>
              <a:defRPr/>
            </a:lvl1pPr>
          </a:lstStyle>
          <a:p>
            <a:fld id="{439AE221-D9E1-468B-84F2-568D8906A43A}" type="slidenum">
              <a:rPr lang="en-GB" altLang="en-US"/>
              <a:pPr/>
              <a:t>‹nr.›</a:t>
            </a:fld>
            <a:endParaRPr lang="en-GB" alt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2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3137381"/>
      </p:ext>
    </p:extLst>
  </p:cSld>
  <p:clrMapOvr>
    <a:masterClrMapping/>
  </p:clrMapOvr>
  <p:transition xmlns:p14="http://schemas.microsoft.com/office/powerpoint/2010/main"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6801" y="4305300"/>
            <a:ext cx="8509700" cy="689200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rgbClr val="82786F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017684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orient="horz" pos="1215" userDrawn="1">
          <p15:clr>
            <a:srgbClr val="FBAE40"/>
          </p15:clr>
        </p15:guide>
        <p15:guide id="2" pos="2160" userDrawn="1">
          <p15:clr>
            <a:srgbClr val="FBAE40"/>
          </p15:clr>
        </p15:guide>
        <p15:guide id="3" orient="horz" pos="2355" userDrawn="1">
          <p15:clr>
            <a:srgbClr val="FBAE4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84800" y="1312870"/>
            <a:ext cx="3542400" cy="1531543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83886" y="3025463"/>
            <a:ext cx="3543319" cy="68458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85030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316801" y="905930"/>
            <a:ext cx="8510400" cy="33009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t" anchorCtr="0">
            <a:normAutofit/>
          </a:bodyPr>
          <a:lstStyle>
            <a:lvl1pPr marL="0" indent="0" algn="l">
              <a:buFontTx/>
              <a:buNone/>
              <a:defRPr sz="1300" baseline="0">
                <a:solidFill>
                  <a:srgbClr val="009FDA"/>
                </a:solidFill>
              </a:defRPr>
            </a:lvl1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316804" y="4215600"/>
            <a:ext cx="8509700" cy="770400"/>
          </a:xfrm>
        </p:spPr>
        <p:txBody>
          <a:bodyPr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rgbClr val="82786F"/>
                </a:solidFill>
              </a:defRPr>
            </a:lvl1pPr>
            <a:lvl2pPr marL="265106" indent="0">
              <a:buNone/>
              <a:defRPr sz="800">
                <a:solidFill>
                  <a:srgbClr val="82786F"/>
                </a:solidFill>
              </a:defRPr>
            </a:lvl2pPr>
            <a:lvl3pPr>
              <a:defRPr sz="800">
                <a:solidFill>
                  <a:srgbClr val="82786F"/>
                </a:solidFill>
              </a:defRPr>
            </a:lvl3pPr>
            <a:lvl4pPr>
              <a:defRPr sz="800">
                <a:solidFill>
                  <a:srgbClr val="82786F"/>
                </a:solidFill>
              </a:defRPr>
            </a:lvl4pPr>
            <a:lvl5pPr>
              <a:defRPr sz="800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  <a:endParaRPr lang="en-GB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16800" y="171011"/>
            <a:ext cx="8510400" cy="717987"/>
          </a:xfrm>
        </p:spPr>
        <p:txBody>
          <a:bodyPr anchor="b" anchorCtr="0">
            <a:norm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79876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_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06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5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16800" y="4215600"/>
            <a:ext cx="8510400" cy="7704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rgbClr val="82786F"/>
                </a:solidFill>
              </a:defRPr>
            </a:lvl1pPr>
            <a:lvl2pPr marL="265106" indent="0">
              <a:spcBef>
                <a:spcPts val="0"/>
              </a:spcBef>
              <a:buNone/>
              <a:defRPr sz="800">
                <a:solidFill>
                  <a:srgbClr val="82786F"/>
                </a:solidFill>
              </a:defRPr>
            </a:lvl2pPr>
            <a:lvl3pPr marL="536561" indent="0">
              <a:spcBef>
                <a:spcPts val="0"/>
              </a:spcBef>
              <a:buNone/>
              <a:defRPr sz="800">
                <a:solidFill>
                  <a:srgbClr val="82786F"/>
                </a:solidFill>
              </a:defRPr>
            </a:lvl3pPr>
            <a:lvl4pPr marL="808018" indent="0">
              <a:spcBef>
                <a:spcPts val="0"/>
              </a:spcBef>
              <a:buNone/>
              <a:defRPr sz="800">
                <a:solidFill>
                  <a:srgbClr val="82786F"/>
                </a:solidFill>
              </a:defRPr>
            </a:lvl4pPr>
            <a:lvl5pPr marL="1073123" indent="0">
              <a:spcBef>
                <a:spcPts val="0"/>
              </a:spcBef>
              <a:buNone/>
              <a:defRPr sz="800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100851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8821" y="1317813"/>
            <a:ext cx="6692499" cy="2952563"/>
          </a:xfrm>
        </p:spPr>
        <p:txBody>
          <a:bodyPr tIns="57600" anchor="t"/>
          <a:lstStyle>
            <a:lvl1pPr>
              <a:lnSpc>
                <a:spcPct val="90000"/>
              </a:lnSpc>
              <a:defRPr sz="3200" spc="-15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22175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4730400" y="1312223"/>
            <a:ext cx="4096800" cy="29556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92414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15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6804" y="4213924"/>
            <a:ext cx="8509700" cy="770826"/>
          </a:xfrm>
        </p:spPr>
        <p:txBody>
          <a:bodyPr anchor="b"/>
          <a:lstStyle>
            <a:lvl1pPr marL="0" marR="0" indent="0" algn="l" defTabSz="91437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Verdana" pitchFamily="34" charset="0"/>
              <a:buNone/>
              <a:tabLst/>
              <a:defRPr sz="800" baseline="0">
                <a:solidFill>
                  <a:srgbClr val="82786F"/>
                </a:solidFill>
              </a:defRPr>
            </a:lvl1pPr>
          </a:lstStyle>
          <a:p>
            <a:r>
              <a:rPr lang="da-DK" dirty="0"/>
              <a:t>Footnotes</a:t>
            </a:r>
          </a:p>
          <a:p>
            <a:r>
              <a:rPr lang="da-DK" dirty="0"/>
              <a:t>Referenc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16800" y="1309530"/>
            <a:ext cx="8510400" cy="307381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21600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ts val="432"/>
              </a:spcBef>
              <a:spcAft>
                <a:spcPts val="300"/>
              </a:spcAft>
              <a:defRPr lang="en-US" sz="1800" noProof="0" dirty="0" smtClean="0"/>
            </a:lvl1pPr>
            <a:lvl2pPr>
              <a:lnSpc>
                <a:spcPct val="100000"/>
              </a:lnSpc>
              <a:spcBef>
                <a:spcPts val="432"/>
              </a:spcBef>
              <a:spcAft>
                <a:spcPts val="300"/>
              </a:spcAft>
              <a:defRPr lang="en-US" sz="1600" noProof="0" dirty="0" smtClean="0"/>
            </a:lvl2pPr>
            <a:lvl3pPr>
              <a:lnSpc>
                <a:spcPct val="100000"/>
              </a:lnSpc>
              <a:spcBef>
                <a:spcPts val="432"/>
              </a:spcBef>
              <a:spcAft>
                <a:spcPts val="300"/>
              </a:spcAft>
              <a:defRPr lang="en-US" sz="1400" noProof="0" dirty="0" smtClean="0"/>
            </a:lvl3pPr>
            <a:lvl4pPr>
              <a:lnSpc>
                <a:spcPct val="100000"/>
              </a:lnSpc>
              <a:spcBef>
                <a:spcPts val="432"/>
              </a:spcBef>
              <a:spcAft>
                <a:spcPts val="300"/>
              </a:spcAft>
              <a:defRPr lang="en-US" sz="1200" noProof="0" dirty="0" smtClean="0"/>
            </a:lvl4pPr>
            <a:lvl5pPr>
              <a:lnSpc>
                <a:spcPct val="100000"/>
              </a:lnSpc>
              <a:spcBef>
                <a:spcPts val="432"/>
              </a:spcBef>
              <a:spcAft>
                <a:spcPts val="300"/>
              </a:spcAft>
              <a:defRPr lang="en-GB" sz="1100" noProof="0" dirty="0"/>
            </a:lvl5pPr>
          </a:lstStyle>
          <a:p>
            <a:pPr lvl="0">
              <a:spcBef>
                <a:spcPts val="450"/>
              </a:spcBef>
              <a:spcAft>
                <a:spcPts val="450"/>
              </a:spcAft>
            </a:pPr>
            <a:r>
              <a:rPr lang="en-GB" noProof="0" dirty="0"/>
              <a:t>Click to edit Master text styles</a:t>
            </a:r>
          </a:p>
          <a:p>
            <a:pPr lvl="1">
              <a:spcBef>
                <a:spcPts val="450"/>
              </a:spcBef>
              <a:spcAft>
                <a:spcPts val="450"/>
              </a:spcAft>
            </a:pPr>
            <a:r>
              <a:rPr lang="en-GB" noProof="0" dirty="0"/>
              <a:t>Second level</a:t>
            </a:r>
          </a:p>
          <a:p>
            <a:pPr lvl="2">
              <a:spcBef>
                <a:spcPts val="450"/>
              </a:spcBef>
              <a:spcAft>
                <a:spcPts val="450"/>
              </a:spcAft>
              <a:buClr>
                <a:schemeClr val="accent5"/>
              </a:buClr>
            </a:pPr>
            <a:r>
              <a:rPr lang="en-GB" noProof="0" dirty="0"/>
              <a:t>Third level</a:t>
            </a:r>
          </a:p>
          <a:p>
            <a:pPr lvl="3">
              <a:spcBef>
                <a:spcPts val="450"/>
              </a:spcBef>
              <a:spcAft>
                <a:spcPts val="450"/>
              </a:spcAft>
              <a:buClr>
                <a:schemeClr val="accent3"/>
              </a:buClr>
            </a:pPr>
            <a:r>
              <a:rPr lang="en-GB" noProof="0" dirty="0"/>
              <a:t>Fourth level</a:t>
            </a:r>
          </a:p>
          <a:p>
            <a:pPr lvl="4">
              <a:spcBef>
                <a:spcPts val="450"/>
              </a:spcBef>
              <a:spcAft>
                <a:spcPts val="450"/>
              </a:spcAft>
            </a:pPr>
            <a:r>
              <a:rPr 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8719555"/>
      </p:ext>
    </p:extLst>
  </p:cSld>
  <p:clrMapOvr>
    <a:masterClrMapping/>
  </p:clrMapOvr>
  <p:transition xmlns:p14="http://schemas.microsoft.com/office/powerpoint/2010/main" spd="slow">
    <p:fade thruBlk="1"/>
  </p:transition>
  <p:extLst mod="1">
    <p:ext uri="{DCECCB84-F9BA-43D5-87BE-67443E8EF086}">
      <p15:sldGuideLst xmlns:p15="http://schemas.microsoft.com/office/powerpoint/2012/main" xmlns="">
        <p15:guide id="1" orient="horz" pos="2348" userDrawn="1">
          <p15:clr>
            <a:srgbClr val="FBAE40"/>
          </p15:clr>
        </p15:guide>
        <p15:guide id="2" pos="2160" userDrawn="1">
          <p15:clr>
            <a:srgbClr val="FBAE40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2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16800" y="4586295"/>
            <a:ext cx="8510400" cy="454579"/>
          </a:xfrm>
        </p:spPr>
        <p:txBody>
          <a:bodyPr r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rgbClr val="82786F"/>
                </a:solidFill>
              </a:defRPr>
            </a:lvl1pPr>
            <a:lvl2pPr marL="265100" indent="0">
              <a:buNone/>
              <a:defRPr sz="800"/>
            </a:lvl2pPr>
            <a:lvl3pPr marL="536548" indent="0">
              <a:buNone/>
              <a:defRPr sz="800"/>
            </a:lvl3pPr>
            <a:lvl4pPr marL="807998" indent="0">
              <a:buNone/>
              <a:defRPr sz="800"/>
            </a:lvl4pPr>
            <a:lvl5pPr marL="1073096" indent="0">
              <a:buNone/>
              <a:defRPr sz="8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307726188"/>
      </p:ext>
    </p:extLst>
  </p:cSld>
  <p:clrMapOvr>
    <a:masterClrMapping/>
  </p:clrMapOvr>
  <p:transition xmlns:p14="http://schemas.microsoft.com/office/powerpoint/2010/main"/>
  <p:extLst mod="1">
    <p:ext uri="{DCECCB84-F9BA-43D5-87BE-67443E8EF086}">
      <p15:sldGuideLst xmlns:p15="http://schemas.microsoft.com/office/powerpoint/2012/main" xmlns="">
        <p15:guide id="1" orient="horz" pos="2372" userDrawn="1">
          <p15:clr>
            <a:srgbClr val="FBAE40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ormal_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5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2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5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121729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16804" y="4480560"/>
            <a:ext cx="8568439" cy="6096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rgbClr val="82786F"/>
                </a:solidFill>
              </a:defRPr>
            </a:lvl1pPr>
            <a:lvl2pPr marL="265106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rgbClr val="82786F"/>
                </a:solidFill>
              </a:defRPr>
            </a:lvl2pPr>
            <a:lvl3pPr marL="536561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rgbClr val="82786F"/>
                </a:solidFill>
              </a:defRPr>
            </a:lvl3pPr>
            <a:lvl4pPr marL="808018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rgbClr val="82786F"/>
                </a:solidFill>
              </a:defRPr>
            </a:lvl4pPr>
            <a:lvl5pPr marL="1073123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9004968"/>
      </p:ext>
    </p:extLst>
  </p:cSld>
  <p:clrMapOvr>
    <a:masterClrMapping/>
  </p:clrMapOvr>
  <p:transition xmlns:p14="http://schemas.microsoft.com/office/powerpoint/2010/main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7" name="Content Placeholder 2"/>
          <p:cNvSpPr>
            <a:spLocks noGrp="1"/>
          </p:cNvSpPr>
          <p:nvPr>
            <p:ph idx="1"/>
          </p:nvPr>
        </p:nvSpPr>
        <p:spPr>
          <a:xfrm>
            <a:off x="316802" y="1312226"/>
            <a:ext cx="2623251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8" name="Content Placeholder 2"/>
          <p:cNvSpPr>
            <a:spLocks noGrp="1"/>
          </p:cNvSpPr>
          <p:nvPr>
            <p:ph idx="10"/>
          </p:nvPr>
        </p:nvSpPr>
        <p:spPr>
          <a:xfrm>
            <a:off x="3260375" y="1312226"/>
            <a:ext cx="2623251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9" name="Content Placeholder 2"/>
          <p:cNvSpPr>
            <a:spLocks noGrp="1"/>
          </p:cNvSpPr>
          <p:nvPr>
            <p:ph idx="11"/>
          </p:nvPr>
        </p:nvSpPr>
        <p:spPr>
          <a:xfrm>
            <a:off x="6203951" y="1312226"/>
            <a:ext cx="2623251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7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FE23B78-AC84-4FCF-A922-1EF69A39A86F}" type="slidenum">
              <a:rPr lang="en-GB" altLang="en-US"/>
              <a:pPr/>
              <a:t>‹nr.›</a:t>
            </a:fld>
            <a:endParaRPr lang="en-GB" alt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9" name="Rectangle 81"/>
          <p:cNvSpPr>
            <a:spLocks noGrp="1" noChangeArrowheads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5979973"/>
      </p:ext>
    </p:extLst>
  </p:cSld>
  <p:clrMapOvr>
    <a:masterClrMapping/>
  </p:clrMapOvr>
  <p:transition xmlns:p14="http://schemas.microsoft.com/office/powerpoint/2010/main"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514822" y="105052"/>
            <a:ext cx="312378" cy="101600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685766">
              <a:defRPr/>
            </a:pPr>
            <a:fld id="{4B01E8EF-57E8-4F85-90EB-163CEE512F88}" type="slidenum">
              <a:rPr lang="en-GB" sz="1400" smtClean="0">
                <a:solidFill>
                  <a:srgbClr val="82786F"/>
                </a:solidFill>
              </a:rPr>
              <a:pPr defTabSz="685766">
                <a:defRPr/>
              </a:pPr>
              <a:t>‹nr.›</a:t>
            </a:fld>
            <a:endParaRPr lang="en-GB" sz="1400" dirty="0">
              <a:solidFill>
                <a:srgbClr val="82786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72959" y="103909"/>
            <a:ext cx="2900363" cy="101600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685766">
              <a:defRPr/>
            </a:pPr>
            <a:r>
              <a:rPr lang="en-GB" sz="1400" smtClean="0">
                <a:solidFill>
                  <a:srgbClr val="82786F"/>
                </a:solidFill>
              </a:rPr>
              <a:t>Presentation title</a:t>
            </a:r>
            <a:endParaRPr lang="en-GB" sz="1400" dirty="0">
              <a:solidFill>
                <a:srgbClr val="82786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187154" y="103909"/>
            <a:ext cx="1201738" cy="101600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685766">
              <a:defRPr/>
            </a:pPr>
            <a:r>
              <a:rPr lang="en-GB" sz="1400" smtClean="0">
                <a:solidFill>
                  <a:srgbClr val="82786F"/>
                </a:solidFill>
              </a:rPr>
              <a:t>Date</a:t>
            </a:r>
            <a:endParaRPr lang="en-GB" sz="1400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790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6801" y="4305300"/>
            <a:ext cx="8509700" cy="689200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rgbClr val="82786F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693306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orient="horz" pos="1215" userDrawn="1">
          <p15:clr>
            <a:srgbClr val="FBAE40"/>
          </p15:clr>
        </p15:guide>
        <p15:guide id="2" pos="2160" userDrawn="1">
          <p15:clr>
            <a:srgbClr val="FBAE40"/>
          </p15:clr>
        </p15:guide>
        <p15:guide id="3" orient="horz" pos="2355" userDrawn="1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87809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84800" y="1312864"/>
            <a:ext cx="3542400" cy="1531543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83883" y="3025463"/>
            <a:ext cx="3543319" cy="68458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395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316800" y="385925"/>
            <a:ext cx="8510400" cy="12864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 anchorCtr="0">
            <a:noAutofit/>
          </a:bodyPr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GB" noProof="0" dirty="0" smtClean="0"/>
              <a:t>Insert </a:t>
            </a:r>
            <a:r>
              <a:rPr lang="en-GB" noProof="0" dirty="0" err="1" smtClean="0"/>
              <a:t>trompet</a:t>
            </a:r>
            <a:endParaRPr lang="en-GB" noProof="0" dirty="0" smtClean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9798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316800" y="906833"/>
            <a:ext cx="8510400" cy="19972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 anchorCtr="0"/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GB" noProof="0" dirty="0" smtClean="0"/>
              <a:t>Insert subtitl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515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8823" y="515421"/>
            <a:ext cx="6692499" cy="3754955"/>
          </a:xfrm>
        </p:spPr>
        <p:txBody>
          <a:bodyPr tIns="57600" anchor="t"/>
          <a:lstStyle>
            <a:lvl1pPr>
              <a:lnSpc>
                <a:spcPct val="90000"/>
              </a:lnSpc>
              <a:defRPr sz="6000" spc="-15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1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5236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4730400" y="1312223"/>
            <a:ext cx="4096800" cy="29556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1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665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4" name="Content Placeholder 2"/>
          <p:cNvSpPr>
            <a:spLocks noGrp="1"/>
          </p:cNvSpPr>
          <p:nvPr>
            <p:ph idx="1"/>
          </p:nvPr>
        </p:nvSpPr>
        <p:spPr>
          <a:xfrm>
            <a:off x="316800" y="1312224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16800" y="2873480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774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"/>
          </p:nvPr>
        </p:nvSpPr>
        <p:spPr>
          <a:xfrm>
            <a:off x="316824" y="1312226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/>
          </p:cNvSpPr>
          <p:nvPr>
            <p:ph idx="10"/>
          </p:nvPr>
        </p:nvSpPr>
        <p:spPr>
          <a:xfrm>
            <a:off x="2521879" y="1312226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1"/>
          </p:nvPr>
        </p:nvSpPr>
        <p:spPr>
          <a:xfrm>
            <a:off x="4726892" y="1312226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0" name="Content Placeholder 2"/>
          <p:cNvSpPr>
            <a:spLocks noGrp="1"/>
          </p:cNvSpPr>
          <p:nvPr>
            <p:ph idx="12"/>
          </p:nvPr>
        </p:nvSpPr>
        <p:spPr>
          <a:xfrm>
            <a:off x="6939005" y="1312226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Rectangle 23"/>
          <p:cNvSpPr>
            <a:spLocks noGrp="1" noChangeArrowheads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884F6075-F6D4-4CFC-BF7B-7A41572B44A1}" type="slidenum">
              <a:rPr lang="en-GB" altLang="en-US"/>
              <a:pPr/>
              <a:t>‹nr.›</a:t>
            </a:fld>
            <a:endParaRPr lang="en-GB" altLang="en-US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10" name="Rectangle 81"/>
          <p:cNvSpPr>
            <a:spLocks noGrp="1" noChangeArrowheads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9460123"/>
      </p:ext>
    </p:extLst>
  </p:cSld>
  <p:clrMapOvr>
    <a:masterClrMapping/>
  </p:clrMapOvr>
  <p:transition xmlns:p14="http://schemas.microsoft.com/office/powerpoint/2010/main"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7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262325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8" name="Content Placeholder 2"/>
          <p:cNvSpPr>
            <a:spLocks noGrp="1"/>
          </p:cNvSpPr>
          <p:nvPr>
            <p:ph idx="10"/>
          </p:nvPr>
        </p:nvSpPr>
        <p:spPr>
          <a:xfrm>
            <a:off x="3260375" y="1312223"/>
            <a:ext cx="262325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9" name="Content Placeholder 2"/>
          <p:cNvSpPr>
            <a:spLocks noGrp="1"/>
          </p:cNvSpPr>
          <p:nvPr>
            <p:ph idx="11"/>
          </p:nvPr>
        </p:nvSpPr>
        <p:spPr>
          <a:xfrm>
            <a:off x="6203950" y="1312223"/>
            <a:ext cx="262325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20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21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7289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/>
          </p:cNvSpPr>
          <p:nvPr>
            <p:ph idx="10"/>
          </p:nvPr>
        </p:nvSpPr>
        <p:spPr>
          <a:xfrm>
            <a:off x="2521839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1"/>
          </p:nvPr>
        </p:nvSpPr>
        <p:spPr>
          <a:xfrm>
            <a:off x="4726876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0" name="Content Placeholder 2"/>
          <p:cNvSpPr>
            <a:spLocks noGrp="1"/>
          </p:cNvSpPr>
          <p:nvPr>
            <p:ph idx="12"/>
          </p:nvPr>
        </p:nvSpPr>
        <p:spPr>
          <a:xfrm>
            <a:off x="6938965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5809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4730400" y="1312224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26"/>
          </p:nvPr>
        </p:nvSpPr>
        <p:spPr>
          <a:xfrm>
            <a:off x="316801" y="1312224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2" name="Content Placeholder 2"/>
          <p:cNvSpPr>
            <a:spLocks noGrp="1"/>
          </p:cNvSpPr>
          <p:nvPr>
            <p:ph idx="27"/>
          </p:nvPr>
        </p:nvSpPr>
        <p:spPr>
          <a:xfrm>
            <a:off x="4729512" y="2873481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315913" y="2873481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25305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>
          <a:xfrm>
            <a:off x="316800" y="1312224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4" name="Content Placeholder 2"/>
          <p:cNvSpPr>
            <a:spLocks noGrp="1"/>
          </p:cNvSpPr>
          <p:nvPr>
            <p:ph idx="10"/>
          </p:nvPr>
        </p:nvSpPr>
        <p:spPr>
          <a:xfrm>
            <a:off x="3260375" y="1312224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5" name="Content Placeholder 2"/>
          <p:cNvSpPr>
            <a:spLocks noGrp="1"/>
          </p:cNvSpPr>
          <p:nvPr>
            <p:ph idx="11"/>
          </p:nvPr>
        </p:nvSpPr>
        <p:spPr>
          <a:xfrm>
            <a:off x="6203950" y="1312224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2"/>
          </p:nvPr>
        </p:nvSpPr>
        <p:spPr>
          <a:xfrm>
            <a:off x="316800" y="2873481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/>
          </p:cNvSpPr>
          <p:nvPr>
            <p:ph idx="13"/>
          </p:nvPr>
        </p:nvSpPr>
        <p:spPr>
          <a:xfrm>
            <a:off x="3260375" y="2873481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4"/>
          </p:nvPr>
        </p:nvSpPr>
        <p:spPr>
          <a:xfrm>
            <a:off x="6203950" y="2873481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7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67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background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FFFFFF"/>
                </a:solidFill>
              </a:rPr>
              <a:t>Presentation titl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FFFFFF"/>
                </a:solidFill>
              </a:rPr>
              <a:t>Dat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463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op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2648932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8" name="Content Placeholder 2"/>
          <p:cNvSpPr>
            <a:spLocks noGrp="1"/>
          </p:cNvSpPr>
          <p:nvPr>
            <p:ph idx="25"/>
          </p:nvPr>
        </p:nvSpPr>
        <p:spPr>
          <a:xfrm>
            <a:off x="316800" y="2873480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FFFFFF"/>
                </a:solidFill>
              </a:rPr>
              <a:t>Presentation titl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FFFFFF"/>
                </a:solidFill>
              </a:rPr>
              <a:t>Dat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187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middle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1312225"/>
            <a:ext cx="9144000" cy="2955788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2946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566390" cy="5143500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873447" y="515421"/>
            <a:ext cx="3953755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1"/>
          </p:nvPr>
        </p:nvSpPr>
        <p:spPr>
          <a:xfrm>
            <a:off x="4873447" y="1312223"/>
            <a:ext cx="3953755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2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873445" y="103908"/>
            <a:ext cx="2199874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5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arge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316800" y="1312225"/>
            <a:ext cx="8510400" cy="2955788"/>
          </a:xfrm>
          <a:prstGeom prst="roundRect">
            <a:avLst>
              <a:gd name="adj" fmla="val 4683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0851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2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731411" y="1312225"/>
            <a:ext cx="4093768" cy="2955788"/>
          </a:xfrm>
          <a:prstGeom prst="roundRect">
            <a:avLst>
              <a:gd name="adj" fmla="val 3924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276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4730400" y="1312264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26"/>
          </p:nvPr>
        </p:nvSpPr>
        <p:spPr>
          <a:xfrm>
            <a:off x="316801" y="1312264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2" name="Content Placeholder 2"/>
          <p:cNvSpPr>
            <a:spLocks noGrp="1"/>
          </p:cNvSpPr>
          <p:nvPr>
            <p:ph idx="27"/>
          </p:nvPr>
        </p:nvSpPr>
        <p:spPr>
          <a:xfrm>
            <a:off x="4729512" y="2873523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315913" y="2873523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Rectangle 23"/>
          <p:cNvSpPr>
            <a:spLocks noGrp="1" noChangeArrowheads="1"/>
          </p:cNvSpPr>
          <p:nvPr>
            <p:ph type="sldNum" sz="quarter" idx="29"/>
          </p:nvPr>
        </p:nvSpPr>
        <p:spPr/>
        <p:txBody>
          <a:bodyPr/>
          <a:lstStyle>
            <a:lvl1pPr>
              <a:defRPr/>
            </a:lvl1pPr>
          </a:lstStyle>
          <a:p>
            <a:fld id="{144F1482-1964-418D-A693-8D6F14187063}" type="slidenum">
              <a:rPr lang="en-GB" altLang="en-US"/>
              <a:pPr/>
              <a:t>‹nr.›</a:t>
            </a:fld>
            <a:endParaRPr lang="en-GB" altLang="en-US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3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5318273"/>
      </p:ext>
    </p:extLst>
  </p:cSld>
  <p:clrMapOvr>
    <a:masterClrMapping/>
  </p:clrMapOvr>
  <p:transition xmlns:p14="http://schemas.microsoft.com/office/powerpoint/2010/main"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3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318822" y="1312223"/>
            <a:ext cx="5564631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202274" y="1312225"/>
            <a:ext cx="2624927" cy="2955788"/>
          </a:xfrm>
          <a:prstGeom prst="roundRect">
            <a:avLst>
              <a:gd name="adj" fmla="val 4084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1374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4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937200" y="1312225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8"/>
          </p:nvPr>
        </p:nvSpPr>
        <p:spPr>
          <a:xfrm>
            <a:off x="318821" y="1312223"/>
            <a:ext cx="6308887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213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/>
          <p:cNvSpPr>
            <a:spLocks noGrp="1"/>
          </p:cNvSpPr>
          <p:nvPr>
            <p:ph idx="18"/>
          </p:nvPr>
        </p:nvSpPr>
        <p:spPr>
          <a:xfrm>
            <a:off x="318821" y="1312223"/>
            <a:ext cx="4099651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937200" y="1312225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4726874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325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937200" y="1312225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4726874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31" name="Picture Placeholder 8"/>
          <p:cNvSpPr>
            <a:spLocks noGrp="1"/>
          </p:cNvSpPr>
          <p:nvPr>
            <p:ph type="pic" sz="quarter" idx="29"/>
          </p:nvPr>
        </p:nvSpPr>
        <p:spPr>
          <a:xfrm>
            <a:off x="2521837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32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316800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808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idx="23"/>
          </p:nvPr>
        </p:nvSpPr>
        <p:spPr>
          <a:xfrm>
            <a:off x="318821" y="1312223"/>
            <a:ext cx="2923653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13" name="Media Placeholder 8"/>
          <p:cNvSpPr>
            <a:spLocks noGrp="1"/>
          </p:cNvSpPr>
          <p:nvPr>
            <p:ph type="media" sz="quarter" idx="18" hasCustomPrompt="1"/>
          </p:nvPr>
        </p:nvSpPr>
        <p:spPr>
          <a:xfrm>
            <a:off x="3578125" y="1309928"/>
            <a:ext cx="5258820" cy="2958085"/>
          </a:xfr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Click to add media size 16/9</a:t>
            </a:r>
            <a:endParaRPr lang="en-GB" noProof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504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/>
          </p:cNvSpPr>
          <p:nvPr>
            <p:ph type="media" sz="quarter" idx="15" hasCustomPrompt="1"/>
          </p:nvPr>
        </p:nvSpPr>
        <p:spPr>
          <a:xfrm>
            <a:off x="4891539" y="1309928"/>
            <a:ext cx="3945406" cy="2958085"/>
          </a:xfr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Click to add media size 4/3</a:t>
            </a:r>
            <a:endParaRPr lang="en-GB" noProof="0"/>
          </a:p>
        </p:txBody>
      </p:sp>
      <p:sp>
        <p:nvSpPr>
          <p:cNvPr id="17" name="Content Placeholder 2"/>
          <p:cNvSpPr>
            <a:spLocks noGrp="1"/>
          </p:cNvSpPr>
          <p:nvPr>
            <p:ph idx="24"/>
          </p:nvPr>
        </p:nvSpPr>
        <p:spPr>
          <a:xfrm>
            <a:off x="318821" y="1312223"/>
            <a:ext cx="4251592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801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/>
          </p:cNvSpPr>
          <p:nvPr>
            <p:ph type="media" sz="quarter" idx="18" hasCustomPrompt="1"/>
          </p:nvPr>
        </p:nvSpPr>
        <p:spPr>
          <a:xfrm>
            <a:off x="0" y="0"/>
            <a:ext cx="9144000" cy="5143499"/>
          </a:xfr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Click to add media size 16:9</a:t>
            </a:r>
            <a:endParaRPr lang="en-GB" noProof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FFFFFF"/>
                </a:solidFill>
              </a:rPr>
              <a:t>Presentation titl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FFFFFF"/>
                </a:solidFill>
              </a:rPr>
              <a:t>Dat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222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0849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34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316800" y="309040"/>
            <a:ext cx="8510400" cy="3958973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defTabSz="1219200" fontAlgn="base">
              <a:spcBef>
                <a:spcPct val="50000"/>
              </a:spcBef>
              <a:spcAft>
                <a:spcPct val="0"/>
              </a:spcAft>
            </a:pPr>
            <a:endParaRPr lang="en-GB" sz="2400" b="1">
              <a:solidFill>
                <a:srgbClr val="001965"/>
              </a:solidFill>
            </a:endParaRPr>
          </a:p>
        </p:txBody>
      </p:sp>
      <p:sp>
        <p:nvSpPr>
          <p:cNvPr id="21" name="Title 6"/>
          <p:cNvSpPr txBox="1">
            <a:spLocks/>
          </p:cNvSpPr>
          <p:nvPr userDrawn="1"/>
        </p:nvSpPr>
        <p:spPr bwMode="auto">
          <a:xfrm>
            <a:off x="318821" y="577310"/>
            <a:ext cx="8518124" cy="391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7788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001965"/>
                </a:solidFill>
                <a:latin typeface="+mj-lt"/>
                <a:ea typeface="+mj-ea"/>
                <a:cs typeface="+mj-cs"/>
              </a:defRPr>
            </a:lvl1pPr>
            <a:lvl2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2pPr>
            <a:lvl3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3pPr>
            <a:lvl4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4pPr>
            <a:lvl5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5pPr>
            <a:lvl6pPr marL="329595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6pPr>
            <a:lvl7pPr marL="659191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7pPr>
            <a:lvl8pPr marL="988786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8pPr>
            <a:lvl9pPr marL="1318382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9pPr>
          </a:lstStyle>
          <a:p>
            <a:r>
              <a:rPr lang="en-GB" dirty="0" smtClean="0"/>
              <a:t>Title</a:t>
            </a:r>
            <a:endParaRPr lang="en-GB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2748809" y="2524537"/>
            <a:ext cx="36333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solidFill>
                  <a:srgbClr val="E64A0E"/>
                </a:solidFill>
              </a:rPr>
              <a:t>Keep all content in this area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318822" y="1312223"/>
            <a:ext cx="8518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>
              <a:solidFill>
                <a:srgbClr val="001965"/>
              </a:solidFill>
            </a:endParaRPr>
          </a:p>
        </p:txBody>
      </p:sp>
      <p:sp>
        <p:nvSpPr>
          <p:cNvPr id="30" name="Rectangle 29"/>
          <p:cNvSpPr/>
          <p:nvPr userDrawn="1"/>
        </p:nvSpPr>
        <p:spPr bwMode="auto">
          <a:xfrm>
            <a:off x="316801" y="1312223"/>
            <a:ext cx="8510401" cy="2955789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9875" indent="-269875" defTabSz="1219200" fontAlgn="base">
              <a:spcBef>
                <a:spcPct val="50000"/>
              </a:spcBef>
              <a:spcAft>
                <a:spcPct val="0"/>
              </a:spcAft>
              <a:buClr>
                <a:srgbClr val="009FDA"/>
              </a:buClr>
              <a:buFont typeface="Arial" pitchFamily="34" charset="0"/>
              <a:buChar char="•"/>
            </a:pPr>
            <a:r>
              <a:rPr lang="en-GB" dirty="0">
                <a:solidFill>
                  <a:srgbClr val="001965"/>
                </a:solidFill>
              </a:rPr>
              <a:t>Content area</a:t>
            </a:r>
          </a:p>
        </p:txBody>
      </p:sp>
      <p:sp>
        <p:nvSpPr>
          <p:cNvPr id="31" name="TextBox 30"/>
          <p:cNvSpPr txBox="1"/>
          <p:nvPr userDrawn="1"/>
        </p:nvSpPr>
        <p:spPr>
          <a:xfrm>
            <a:off x="316800" y="964460"/>
            <a:ext cx="45720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rgbClr val="E64A0E"/>
                </a:solidFill>
              </a:rPr>
              <a:t>Keep all titles, </a:t>
            </a:r>
            <a:r>
              <a:rPr lang="en-GB" sz="1200" dirty="0" err="1">
                <a:solidFill>
                  <a:srgbClr val="E64A0E"/>
                </a:solidFill>
              </a:rPr>
              <a:t>trompets</a:t>
            </a:r>
            <a:r>
              <a:rPr lang="en-GB" sz="1200" dirty="0">
                <a:solidFill>
                  <a:srgbClr val="E64A0E"/>
                </a:solidFill>
              </a:rPr>
              <a:t> and subtitles in this area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4919812" y="329741"/>
            <a:ext cx="39091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200">
                <a:solidFill>
                  <a:srgbClr val="E64A0E"/>
                </a:solidFill>
              </a:rPr>
              <a:t>Never move Footer, Date and No placeholders</a:t>
            </a:r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7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8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013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>
          <a:xfrm>
            <a:off x="316802" y="1312264"/>
            <a:ext cx="2623251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4" name="Content Placeholder 2"/>
          <p:cNvSpPr>
            <a:spLocks noGrp="1"/>
          </p:cNvSpPr>
          <p:nvPr>
            <p:ph idx="10"/>
          </p:nvPr>
        </p:nvSpPr>
        <p:spPr>
          <a:xfrm>
            <a:off x="3260375" y="1312264"/>
            <a:ext cx="2623251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5" name="Content Placeholder 2"/>
          <p:cNvSpPr>
            <a:spLocks noGrp="1"/>
          </p:cNvSpPr>
          <p:nvPr>
            <p:ph idx="11"/>
          </p:nvPr>
        </p:nvSpPr>
        <p:spPr>
          <a:xfrm>
            <a:off x="6203951" y="1312264"/>
            <a:ext cx="2623251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2"/>
          </p:nvPr>
        </p:nvSpPr>
        <p:spPr>
          <a:xfrm>
            <a:off x="316802" y="2873523"/>
            <a:ext cx="2623251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/>
          </p:cNvSpPr>
          <p:nvPr>
            <p:ph idx="13"/>
          </p:nvPr>
        </p:nvSpPr>
        <p:spPr>
          <a:xfrm>
            <a:off x="3260375" y="2873523"/>
            <a:ext cx="2623251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4"/>
          </p:nvPr>
        </p:nvSpPr>
        <p:spPr>
          <a:xfrm>
            <a:off x="6203951" y="2873523"/>
            <a:ext cx="2623251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0" name="Rectangle 23"/>
          <p:cNvSpPr>
            <a:spLocks noGrp="1" noChangeArrowheads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9D558E8C-C399-4A5C-83AF-48168DE815C8}" type="slidenum">
              <a:rPr lang="en-GB" altLang="en-US"/>
              <a:pPr/>
              <a:t>‹nr.›</a:t>
            </a:fld>
            <a:endParaRPr lang="en-GB" altLang="en-US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894871"/>
      </p:ext>
    </p:extLst>
  </p:cSld>
  <p:clrMapOvr>
    <a:masterClrMapping/>
  </p:clrMapOvr>
  <p:transition xmlns:p14="http://schemas.microsoft.com/office/powerpoint/2010/main"/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1800"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046474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23850" y="4748229"/>
            <a:ext cx="7353542" cy="107722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7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3766707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23850" y="4748229"/>
            <a:ext cx="7353542" cy="107722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7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2308359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0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15350808"/>
      </p:ext>
    </p:extLst>
  </p:cSld>
  <p:clrMapOvr>
    <a:masterClrMapping/>
  </p:clrMapOvr>
  <p:transition xmlns:p14="http://schemas.microsoft.com/office/powerpoint/2010/main"/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23850" y="4748229"/>
            <a:ext cx="7353542" cy="107722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7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394391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23850" y="4748229"/>
            <a:ext cx="7353542" cy="107722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7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67596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23850" y="4748229"/>
            <a:ext cx="7353542" cy="107722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7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3485353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23850" y="4748229"/>
            <a:ext cx="7353542" cy="107722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7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808802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316800" y="906832"/>
            <a:ext cx="8510400" cy="19972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 anchorCtr="0"/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23850" y="4748229"/>
            <a:ext cx="7353542" cy="107722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7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1774703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6800" y="311766"/>
            <a:ext cx="8510400" cy="3914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551695" y="4571133"/>
            <a:ext cx="2914650" cy="295275"/>
          </a:xfrm>
        </p:spPr>
        <p:txBody>
          <a:bodyPr anchor="b"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 dirty="0" smtClean="0"/>
              <a:t>Foo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3166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background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 algn="r" defTabSz="877997" eaLnBrk="1" hangingPunct="1">
              <a:spcBef>
                <a:spcPct val="0"/>
              </a:spcBef>
              <a:defRPr sz="600" b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4" name="Rectangle 81"/>
          <p:cNvSpPr>
            <a:spLocks noGrp="1" noChangeArrowheads="1"/>
          </p:cNvSpPr>
          <p:nvPr>
            <p:ph type="dt" sz="half" idx="16"/>
          </p:nvPr>
        </p:nvSpPr>
        <p:spPr/>
        <p:txBody>
          <a:bodyPr/>
          <a:lstStyle>
            <a:lvl1pPr algn="r" defTabSz="877997" eaLnBrk="1" hangingPunct="1">
              <a:spcBef>
                <a:spcPct val="0"/>
              </a:spcBef>
              <a:defRPr sz="600" b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  <p:sp>
        <p:nvSpPr>
          <p:cNvPr id="5" name="Slide Number Placeholder 23"/>
          <p:cNvSpPr>
            <a:spLocks noGrp="1" noChangeArrowheads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52E46733-672A-46D1-B2B1-C572DC88A706}" type="slidenum">
              <a:rPr lang="en-GB" altLang="en-US"/>
              <a:pPr/>
              <a:t>‹nr.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2863319701"/>
      </p:ext>
    </p:extLst>
  </p:cSld>
  <p:clrMapOvr>
    <a:masterClrMapping/>
  </p:clrMapOvr>
  <p:transition xmlns:p14="http://schemas.microsoft.com/office/powerpoint/2010/main"/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23850" y="4748229"/>
            <a:ext cx="7353542" cy="107722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7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4020639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097281"/>
            <a:ext cx="8510400" cy="3170732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0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6800" y="4343400"/>
            <a:ext cx="8509700" cy="641350"/>
          </a:xfrm>
        </p:spPr>
        <p:txBody>
          <a:bodyPr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Verdana" pitchFamily="34" charset="0"/>
              <a:buNone/>
              <a:tabLst/>
              <a:defRPr sz="800" baseline="0">
                <a:solidFill>
                  <a:srgbClr val="82786F"/>
                </a:solidFill>
              </a:defRPr>
            </a:lvl1pPr>
          </a:lstStyle>
          <a:p>
            <a:r>
              <a:rPr lang="da-DK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893754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3130" userDrawn="1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84800" y="1312863"/>
            <a:ext cx="3542400" cy="1531543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83881" y="3025462"/>
            <a:ext cx="3543319" cy="68458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6800" y="4260850"/>
            <a:ext cx="8509700" cy="723900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rgbClr val="82786F"/>
                </a:solidFill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829110789"/>
      </p:ext>
    </p:extLst>
  </p:cSld>
  <p:clrMapOvr>
    <a:masterClrMapping/>
  </p:clrMapOvr>
  <p:transition xmlns:p14="http://schemas.microsoft.com/office/powerpoint/2010/main"/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600200"/>
            <a:ext cx="7772400" cy="1354932"/>
          </a:xfrm>
        </p:spPr>
        <p:txBody>
          <a:bodyPr anchor="b"/>
          <a:lstStyle>
            <a:lvl1pPr algn="l">
              <a:defRPr sz="2800" b="1" cap="all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67436"/>
            <a:ext cx="7772400" cy="1125140"/>
          </a:xfrm>
        </p:spPr>
        <p:txBody>
          <a:bodyPr anchor="t">
            <a:normAutofit/>
          </a:bodyPr>
          <a:lstStyle>
            <a:lvl1pPr marL="0" indent="0">
              <a:buNone/>
              <a:defRPr sz="1400">
                <a:solidFill>
                  <a:srgbClr val="009FDA"/>
                </a:solidFill>
                <a:latin typeface="+mj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913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top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2648932"/>
          </a:xfr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18" name="Content Placeholder 2"/>
          <p:cNvSpPr>
            <a:spLocks noGrp="1"/>
          </p:cNvSpPr>
          <p:nvPr>
            <p:ph idx="25"/>
          </p:nvPr>
        </p:nvSpPr>
        <p:spPr>
          <a:xfrm>
            <a:off x="316800" y="2873522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26"/>
          </p:nvPr>
        </p:nvSpPr>
        <p:spPr/>
        <p:txBody>
          <a:bodyPr/>
          <a:lstStyle>
            <a:lvl1pPr algn="r" defTabSz="877997" eaLnBrk="1" hangingPunct="1">
              <a:spcBef>
                <a:spcPct val="0"/>
              </a:spcBef>
              <a:defRPr sz="600" b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27"/>
          </p:nvPr>
        </p:nvSpPr>
        <p:spPr/>
        <p:txBody>
          <a:bodyPr/>
          <a:lstStyle>
            <a:lvl1pPr algn="r" defTabSz="877997" eaLnBrk="1" hangingPunct="1">
              <a:spcBef>
                <a:spcPct val="0"/>
              </a:spcBef>
              <a:defRPr sz="600" b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  <p:sp>
        <p:nvSpPr>
          <p:cNvPr id="7" name="Slide Number Placeholder 23"/>
          <p:cNvSpPr>
            <a:spLocks noGrp="1" noChangeArrowheads="1"/>
          </p:cNvSpPr>
          <p:nvPr>
            <p:ph type="sldNum" sz="quarter" idx="2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DFB9B18-B108-4E90-8424-95385FB47A07}" type="slidenum">
              <a:rPr lang="en-GB" altLang="en-US"/>
              <a:pPr/>
              <a:t>‹nr.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500188840"/>
      </p:ext>
    </p:extLst>
  </p:cSld>
  <p:clrMapOvr>
    <a:masterClrMapping/>
  </p:clrMapOvr>
  <p:transition xmlns:p14="http://schemas.microsoft.com/office/powerpoint/2010/main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middle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1312225"/>
            <a:ext cx="9144000" cy="2955788"/>
          </a:xfr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9A7F217C-B17C-4790-B8EE-3ED334A9D657}" type="slidenum">
              <a:rPr lang="en-GB" altLang="en-US"/>
              <a:pPr/>
              <a:t>‹nr.›</a:t>
            </a:fld>
            <a:endParaRPr lang="en-GB" alt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5709879"/>
      </p:ext>
    </p:extLst>
  </p:cSld>
  <p:clrMapOvr>
    <a:masterClrMapping/>
  </p:clrMapOvr>
  <p:transition xmlns:p14="http://schemas.microsoft.com/office/powerpoint/2010/main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left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27" y="0"/>
            <a:ext cx="4566391" cy="5143500"/>
          </a:xfr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873486" y="515422"/>
            <a:ext cx="3953755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1"/>
          </p:nvPr>
        </p:nvSpPr>
        <p:spPr>
          <a:xfrm>
            <a:off x="4873486" y="1312226"/>
            <a:ext cx="3953755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2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5"/>
          </p:nvPr>
        </p:nvSpPr>
        <p:spPr>
          <a:xfrm>
            <a:off x="4873625" y="103189"/>
            <a:ext cx="2200275" cy="101600"/>
          </a:xfrm>
        </p:spPr>
        <p:txBody>
          <a:bodyPr/>
          <a:lstStyle>
            <a:lvl1pPr algn="r" defTabSz="877997" eaLnBrk="1" hangingPunct="1">
              <a:spcBef>
                <a:spcPct val="0"/>
              </a:spcBef>
              <a:defRPr sz="600" b="0">
                <a:solidFill>
                  <a:srgbClr val="82786F"/>
                </a:solidFill>
              </a:defRPr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6"/>
          </p:nvPr>
        </p:nvSpPr>
        <p:spPr/>
        <p:txBody>
          <a:bodyPr/>
          <a:lstStyle>
            <a:lvl1pPr algn="r" defTabSz="877997" eaLnBrk="1" hangingPunct="1">
              <a:spcBef>
                <a:spcPct val="0"/>
              </a:spcBef>
              <a:defRPr sz="600" b="0">
                <a:solidFill>
                  <a:srgbClr val="82786F"/>
                </a:solidFill>
              </a:defRPr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  <p:sp>
        <p:nvSpPr>
          <p:cNvPr id="8" name="Slide Number Placeholder 23"/>
          <p:cNvSpPr>
            <a:spLocks noGrp="1" noChangeArrowheads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1906FD1F-FCCA-4648-B700-EC211C37E3F6}" type="slidenum">
              <a:rPr lang="en-GB" altLang="en-US"/>
              <a:pPr/>
              <a:t>‹nr.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2009786592"/>
      </p:ext>
    </p:extLst>
  </p:cSld>
  <p:clrMapOvr>
    <a:masterClrMapping/>
  </p:clrMapOvr>
  <p:transition xmlns:p14="http://schemas.microsoft.com/office/powerpoint/2010/main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large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316800" y="1312225"/>
            <a:ext cx="8510400" cy="2955788"/>
          </a:xfrm>
          <a:prstGeom prst="roundRect">
            <a:avLst>
              <a:gd name="adj" fmla="val 4683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6EEE154F-699F-4F93-BF5F-0291E779D9C6}" type="slidenum">
              <a:rPr lang="en-GB" altLang="en-US"/>
              <a:pPr/>
              <a:t>‹nr.›</a:t>
            </a:fld>
            <a:endParaRPr lang="en-GB" alt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299242"/>
      </p:ext>
    </p:extLst>
  </p:cSld>
  <p:clrMapOvr>
    <a:masterClrMapping/>
  </p:clrMapOvr>
  <p:transition xmlns:p14="http://schemas.microsoft.com/office/powerpoint/2010/main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55F9A-10B8-48A0-A670-4DAF4FCE3C5E}" type="datetimeFigureOut">
              <a:rPr lang="en-GB" smtClean="0"/>
              <a:t>22-12-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E52CB-72DF-4CEA-9D3E-F3F83B8EA34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49305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1/2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731411" y="1312225"/>
            <a:ext cx="4093768" cy="2955788"/>
          </a:xfrm>
          <a:prstGeom prst="roundRect">
            <a:avLst>
              <a:gd name="adj" fmla="val 3924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Content Placeholder 2"/>
          <p:cNvSpPr>
            <a:spLocks noGrp="1"/>
          </p:cNvSpPr>
          <p:nvPr>
            <p:ph idx="1"/>
          </p:nvPr>
        </p:nvSpPr>
        <p:spPr>
          <a:xfrm>
            <a:off x="316801" y="1312226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B66F4D01-8704-4D14-9546-5DA7643814E8}" type="slidenum">
              <a:rPr lang="en-GB" altLang="en-US"/>
              <a:pPr/>
              <a:t>‹nr.›</a:t>
            </a:fld>
            <a:endParaRPr lang="en-GB" alt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3211426"/>
      </p:ext>
    </p:extLst>
  </p:cSld>
  <p:clrMapOvr>
    <a:masterClrMapping/>
  </p:clrMapOvr>
  <p:transition xmlns:p14="http://schemas.microsoft.com/office/powerpoint/2010/main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1/3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318824" y="1312226"/>
            <a:ext cx="5564631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202315" y="1312225"/>
            <a:ext cx="2624927" cy="2955788"/>
          </a:xfrm>
          <a:prstGeom prst="roundRect">
            <a:avLst>
              <a:gd name="adj" fmla="val 4084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7" name="Rectangle 23"/>
          <p:cNvSpPr>
            <a:spLocks noGrp="1" noChangeArrowheads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EA1CAD0B-A75D-440E-899F-97C330E1486E}" type="slidenum">
              <a:rPr lang="en-GB" altLang="en-US"/>
              <a:pPr/>
              <a:t>‹nr.›</a:t>
            </a:fld>
            <a:endParaRPr lang="en-GB" alt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9" name="Rectangle 81"/>
          <p:cNvSpPr>
            <a:spLocks noGrp="1" noChangeArrowheads="1"/>
          </p:cNvSpPr>
          <p:nvPr>
            <p:ph type="dt" sz="half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6607528"/>
      </p:ext>
    </p:extLst>
  </p:cSld>
  <p:clrMapOvr>
    <a:masterClrMapping/>
  </p:clrMapOvr>
  <p:transition xmlns:p14="http://schemas.microsoft.com/office/powerpoint/2010/main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1/4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937200" y="1312225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8"/>
          </p:nvPr>
        </p:nvSpPr>
        <p:spPr>
          <a:xfrm>
            <a:off x="318843" y="1312226"/>
            <a:ext cx="6308887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28"/>
          </p:nvPr>
        </p:nvSpPr>
        <p:spPr/>
        <p:txBody>
          <a:bodyPr/>
          <a:lstStyle>
            <a:lvl1pPr>
              <a:defRPr/>
            </a:lvl1pPr>
          </a:lstStyle>
          <a:p>
            <a:fld id="{70500EE3-83FB-456E-9CF5-1EB9D533E3E2}" type="slidenum">
              <a:rPr lang="en-GB" altLang="en-US"/>
              <a:pPr/>
              <a:t>‹nr.›</a:t>
            </a:fld>
            <a:endParaRPr lang="en-GB" alt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2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3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2548798"/>
      </p:ext>
    </p:extLst>
  </p:cSld>
  <p:clrMapOvr>
    <a:masterClrMapping/>
  </p:clrMapOvr>
  <p:transition xmlns:p14="http://schemas.microsoft.com/office/powerpoint/2010/main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ntent Placeholder 2"/>
          <p:cNvSpPr>
            <a:spLocks noGrp="1"/>
          </p:cNvSpPr>
          <p:nvPr>
            <p:ph idx="18"/>
          </p:nvPr>
        </p:nvSpPr>
        <p:spPr>
          <a:xfrm>
            <a:off x="318846" y="1312226"/>
            <a:ext cx="4099651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937200" y="1312225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4726875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7" name="Rectangle 23"/>
          <p:cNvSpPr>
            <a:spLocks noGrp="1" noChangeArrowheads="1"/>
          </p:cNvSpPr>
          <p:nvPr>
            <p:ph type="sldNum" sz="quarter" idx="29"/>
          </p:nvPr>
        </p:nvSpPr>
        <p:spPr/>
        <p:txBody>
          <a:bodyPr/>
          <a:lstStyle>
            <a:lvl1pPr>
              <a:defRPr/>
            </a:lvl1pPr>
          </a:lstStyle>
          <a:p>
            <a:fld id="{5D2CAFFE-DD05-4614-AB95-2C74DE021827}" type="slidenum">
              <a:rPr lang="en-GB" altLang="en-US"/>
              <a:pPr/>
              <a:t>‹nr.›</a:t>
            </a:fld>
            <a:endParaRPr lang="en-GB" alt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9" name="Rectangle 81"/>
          <p:cNvSpPr>
            <a:spLocks noGrp="1" noChangeArrowheads="1"/>
          </p:cNvSpPr>
          <p:nvPr>
            <p:ph type="dt" sz="half" idx="3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0132842"/>
      </p:ext>
    </p:extLst>
  </p:cSld>
  <p:clrMapOvr>
    <a:masterClrMapping/>
  </p:clrMapOvr>
  <p:transition xmlns:p14="http://schemas.microsoft.com/office/powerpoint/2010/main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937200" y="1312225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4726875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31" name="Picture Placeholder 8"/>
          <p:cNvSpPr>
            <a:spLocks noGrp="1"/>
          </p:cNvSpPr>
          <p:nvPr>
            <p:ph type="pic" sz="quarter" idx="29"/>
          </p:nvPr>
        </p:nvSpPr>
        <p:spPr>
          <a:xfrm>
            <a:off x="2521837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32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316800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8" name="Rectangle 23"/>
          <p:cNvSpPr>
            <a:spLocks noGrp="1" noChangeArrowheads="1"/>
          </p:cNvSpPr>
          <p:nvPr>
            <p:ph type="sldNum" sz="quarter" idx="31"/>
          </p:nvPr>
        </p:nvSpPr>
        <p:spPr/>
        <p:txBody>
          <a:bodyPr/>
          <a:lstStyle>
            <a:lvl1pPr>
              <a:defRPr/>
            </a:lvl1pPr>
          </a:lstStyle>
          <a:p>
            <a:fld id="{9A2D4683-967B-4541-87FC-9EDB06C9BAC6}" type="slidenum">
              <a:rPr lang="en-GB" altLang="en-US"/>
              <a:pPr/>
              <a:t>‹nr.›</a:t>
            </a:fld>
            <a:endParaRPr lang="en-GB" altLang="en-US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10" name="Rectangle 81"/>
          <p:cNvSpPr>
            <a:spLocks noGrp="1" noChangeArrowheads="1"/>
          </p:cNvSpPr>
          <p:nvPr>
            <p:ph type="dt" sz="half" idx="3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7111076"/>
      </p:ext>
    </p:extLst>
  </p:cSld>
  <p:clrMapOvr>
    <a:masterClrMapping/>
  </p:clrMapOvr>
  <p:transition xmlns:p14="http://schemas.microsoft.com/office/powerpoint/2010/main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ontent Placeholder 2"/>
          <p:cNvSpPr>
            <a:spLocks noGrp="1"/>
          </p:cNvSpPr>
          <p:nvPr>
            <p:ph idx="23"/>
          </p:nvPr>
        </p:nvSpPr>
        <p:spPr>
          <a:xfrm>
            <a:off x="318824" y="1312226"/>
            <a:ext cx="2923653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13" name="Media Placeholder 8"/>
          <p:cNvSpPr>
            <a:spLocks noGrp="1"/>
          </p:cNvSpPr>
          <p:nvPr>
            <p:ph type="media" sz="quarter" idx="18"/>
          </p:nvPr>
        </p:nvSpPr>
        <p:spPr>
          <a:xfrm>
            <a:off x="3578126" y="1309928"/>
            <a:ext cx="5258820" cy="2958085"/>
          </a:xfrm>
          <a:solidFill>
            <a:schemeClr val="accent6"/>
          </a:solidFill>
          <a:effectLst/>
        </p:spPr>
        <p:txBody>
          <a:bodyPr rtlCol="0" anchor="ctr">
            <a:norm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GB" noProof="0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24"/>
          </p:nvPr>
        </p:nvSpPr>
        <p:spPr/>
        <p:txBody>
          <a:bodyPr/>
          <a:lstStyle>
            <a:lvl1pPr>
              <a:defRPr/>
            </a:lvl1pPr>
          </a:lstStyle>
          <a:p>
            <a:fld id="{9DBA6CFA-6A9C-4B3E-AE7C-1C4B4E10D783}" type="slidenum">
              <a:rPr lang="en-GB" altLang="en-US"/>
              <a:pPr/>
              <a:t>‹nr.›</a:t>
            </a:fld>
            <a:endParaRPr lang="en-GB" alt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1890854"/>
      </p:ext>
    </p:extLst>
  </p:cSld>
  <p:clrMapOvr>
    <a:masterClrMapping/>
  </p:clrMapOvr>
  <p:transition xmlns:p14="http://schemas.microsoft.com/office/powerpoint/2010/main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edia Placeholder 8"/>
          <p:cNvSpPr>
            <a:spLocks noGrp="1"/>
          </p:cNvSpPr>
          <p:nvPr>
            <p:ph type="media" sz="quarter" idx="15"/>
          </p:nvPr>
        </p:nvSpPr>
        <p:spPr>
          <a:xfrm>
            <a:off x="4891573" y="1309928"/>
            <a:ext cx="3945407" cy="2958085"/>
          </a:xfrm>
          <a:solidFill>
            <a:schemeClr val="accent6"/>
          </a:solidFill>
          <a:effectLst/>
        </p:spPr>
        <p:txBody>
          <a:bodyPr rtlCol="0" anchor="ctr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GB" noProof="0" dirty="0"/>
          </a:p>
        </p:txBody>
      </p:sp>
      <p:sp>
        <p:nvSpPr>
          <p:cNvPr id="17" name="Content Placeholder 2"/>
          <p:cNvSpPr>
            <a:spLocks noGrp="1"/>
          </p:cNvSpPr>
          <p:nvPr>
            <p:ph idx="24"/>
          </p:nvPr>
        </p:nvSpPr>
        <p:spPr>
          <a:xfrm>
            <a:off x="318822" y="1312226"/>
            <a:ext cx="4251592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25"/>
          </p:nvPr>
        </p:nvSpPr>
        <p:spPr/>
        <p:txBody>
          <a:bodyPr/>
          <a:lstStyle>
            <a:lvl1pPr>
              <a:defRPr/>
            </a:lvl1pPr>
          </a:lstStyle>
          <a:p>
            <a:fld id="{D4B944DA-82FB-4A93-A965-89D92155F6E9}" type="slidenum">
              <a:rPr lang="en-GB" altLang="en-US"/>
              <a:pPr/>
              <a:t>‹nr.›</a:t>
            </a:fld>
            <a:endParaRPr lang="en-GB" alt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7231995"/>
      </p:ext>
    </p:extLst>
  </p:cSld>
  <p:clrMapOvr>
    <a:masterClrMapping/>
  </p:clrMapOvr>
  <p:transition xmlns:p14="http://schemas.microsoft.com/office/powerpoint/2010/main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/>
          </p:cNvSpPr>
          <p:nvPr>
            <p:ph type="media" sz="quarter" idx="18"/>
          </p:nvPr>
        </p:nvSpPr>
        <p:spPr>
          <a:xfrm>
            <a:off x="0" y="18"/>
            <a:ext cx="9144000" cy="5143499"/>
          </a:xfrm>
          <a:solidFill>
            <a:schemeClr val="accent6"/>
          </a:solidFill>
          <a:effectLst/>
        </p:spPr>
        <p:txBody>
          <a:bodyPr rtlCol="0" anchor="ctr">
            <a:norm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GB" noProof="0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9"/>
          </p:nvPr>
        </p:nvSpPr>
        <p:spPr/>
        <p:txBody>
          <a:bodyPr/>
          <a:lstStyle>
            <a:lvl1pPr algn="r" defTabSz="877997" eaLnBrk="1" hangingPunct="1">
              <a:spcBef>
                <a:spcPct val="0"/>
              </a:spcBef>
              <a:defRPr sz="600" b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4" name="Rectangle 81"/>
          <p:cNvSpPr>
            <a:spLocks noGrp="1" noChangeArrowheads="1"/>
          </p:cNvSpPr>
          <p:nvPr>
            <p:ph type="dt" sz="half" idx="20"/>
          </p:nvPr>
        </p:nvSpPr>
        <p:spPr/>
        <p:txBody>
          <a:bodyPr/>
          <a:lstStyle>
            <a:lvl1pPr algn="r" defTabSz="877997" eaLnBrk="1" hangingPunct="1">
              <a:spcBef>
                <a:spcPct val="0"/>
              </a:spcBef>
              <a:defRPr sz="600" b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  <p:sp>
        <p:nvSpPr>
          <p:cNvPr id="5" name="Slide Number Placeholder 23"/>
          <p:cNvSpPr>
            <a:spLocks noGrp="1" noChangeArrowheads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ED190DDB-D9C4-4E87-804B-6E6452642DFA}" type="slidenum">
              <a:rPr lang="en-GB" altLang="en-US"/>
              <a:pPr/>
              <a:t>‹nr.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1063986169"/>
      </p:ext>
    </p:extLst>
  </p:cSld>
  <p:clrMapOvr>
    <a:masterClrMapping/>
  </p:clrMapOvr>
  <p:transition xmlns:p14="http://schemas.microsoft.com/office/powerpoint/2010/main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rgin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auto">
          <a:xfrm>
            <a:off x="317502" y="309595"/>
            <a:ext cx="8509000" cy="3959225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71939" tIns="71939" rIns="71939" bIns="71939" anchor="ctr"/>
          <a:lstStyle/>
          <a:p>
            <a:pPr algn="ctr" defTabSz="1217939"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2400" b="1" dirty="0">
              <a:solidFill>
                <a:srgbClr val="001965"/>
              </a:solidFill>
              <a:cs typeface="Arial" charset="0"/>
            </a:endParaRPr>
          </a:p>
        </p:txBody>
      </p:sp>
      <p:sp>
        <p:nvSpPr>
          <p:cNvPr id="4" name="Title 6"/>
          <p:cNvSpPr txBox="1">
            <a:spLocks/>
          </p:cNvSpPr>
          <p:nvPr userDrawn="1"/>
        </p:nvSpPr>
        <p:spPr bwMode="auto">
          <a:xfrm>
            <a:off x="319116" y="577850"/>
            <a:ext cx="8518525" cy="390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 defTabSz="87788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001965"/>
                </a:solidFill>
                <a:latin typeface="+mj-lt"/>
                <a:ea typeface="+mj-ea"/>
                <a:cs typeface="+mj-cs"/>
              </a:defRPr>
            </a:lvl1pPr>
            <a:lvl2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2pPr>
            <a:lvl3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3pPr>
            <a:lvl4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4pPr>
            <a:lvl5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5pPr>
            <a:lvl6pPr marL="329595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6pPr>
            <a:lvl7pPr marL="659191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7pPr>
            <a:lvl8pPr marL="988786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8pPr>
            <a:lvl9pPr marL="1318382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9pPr>
          </a:lstStyle>
          <a:p>
            <a:pPr>
              <a:defRPr/>
            </a:pPr>
            <a:r>
              <a:rPr lang="en-GB" dirty="0" smtClean="0"/>
              <a:t>Title</a:t>
            </a:r>
            <a:endParaRPr lang="en-GB" dirty="0"/>
          </a:p>
        </p:txBody>
      </p:sp>
      <p:sp>
        <p:nvSpPr>
          <p:cNvPr id="5" name="TextBox 11"/>
          <p:cNvSpPr txBox="1">
            <a:spLocks noChangeArrowheads="1"/>
          </p:cNvSpPr>
          <p:nvPr userDrawn="1"/>
        </p:nvSpPr>
        <p:spPr bwMode="auto">
          <a:xfrm>
            <a:off x="2749551" y="2524127"/>
            <a:ext cx="36322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58" tIns="45679" rIns="91358" bIns="45679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defTabSz="9134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E64A0E"/>
                </a:solidFill>
                <a:cs typeface="Arial" charset="0"/>
              </a:rPr>
              <a:t>Keep all content in this area</a:t>
            </a:r>
          </a:p>
        </p:txBody>
      </p:sp>
      <p:sp>
        <p:nvSpPr>
          <p:cNvPr id="6" name="TextBox 16"/>
          <p:cNvSpPr txBox="1">
            <a:spLocks noChangeArrowheads="1"/>
          </p:cNvSpPr>
          <p:nvPr userDrawn="1"/>
        </p:nvSpPr>
        <p:spPr bwMode="auto">
          <a:xfrm>
            <a:off x="319116" y="1312863"/>
            <a:ext cx="851852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58" tIns="45679" rIns="91358" bIns="45679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91347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1965"/>
              </a:solidFill>
              <a:cs typeface="Arial" charset="0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317502" y="1312899"/>
            <a:ext cx="8509000" cy="2955925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/>
          <a:lstStyle/>
          <a:p>
            <a:pPr marL="269621" indent="-269621" defTabSz="1217939" fontAlgn="base">
              <a:spcBef>
                <a:spcPct val="50000"/>
              </a:spcBef>
              <a:spcAft>
                <a:spcPct val="0"/>
              </a:spcAft>
              <a:buClr>
                <a:srgbClr val="009FDA"/>
              </a:buClr>
              <a:buFont typeface="Arial" pitchFamily="34" charset="0"/>
              <a:buChar char="•"/>
              <a:defRPr/>
            </a:pPr>
            <a:r>
              <a:rPr lang="en-GB" dirty="0">
                <a:solidFill>
                  <a:srgbClr val="001965"/>
                </a:solidFill>
                <a:cs typeface="Arial" charset="0"/>
              </a:rPr>
              <a:t>Content area</a:t>
            </a:r>
          </a:p>
        </p:txBody>
      </p:sp>
      <p:sp>
        <p:nvSpPr>
          <p:cNvPr id="8" name="TextBox 18"/>
          <p:cNvSpPr txBox="1">
            <a:spLocks noChangeArrowheads="1"/>
          </p:cNvSpPr>
          <p:nvPr userDrawn="1"/>
        </p:nvSpPr>
        <p:spPr bwMode="auto">
          <a:xfrm>
            <a:off x="317500" y="965201"/>
            <a:ext cx="45720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58" tIns="45679" rIns="91358" bIns="45679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9134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E64A0E"/>
                </a:solidFill>
                <a:cs typeface="Arial" charset="0"/>
              </a:rPr>
              <a:t>Keep all titles, trompets and subtitles in this area</a:t>
            </a:r>
          </a:p>
        </p:txBody>
      </p:sp>
      <p:sp>
        <p:nvSpPr>
          <p:cNvPr id="9" name="TextBox 19"/>
          <p:cNvSpPr txBox="1">
            <a:spLocks noChangeArrowheads="1"/>
          </p:cNvSpPr>
          <p:nvPr userDrawn="1"/>
        </p:nvSpPr>
        <p:spPr bwMode="auto">
          <a:xfrm>
            <a:off x="4919664" y="330200"/>
            <a:ext cx="391001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58" tIns="45679" rIns="91358" bIns="45679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 defTabSz="9134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E64A0E"/>
                </a:solidFill>
                <a:cs typeface="Arial" charset="0"/>
              </a:rPr>
              <a:t>Never move Footer, Date and No placeholders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algn="r" defTabSz="877997" eaLnBrk="1" hangingPunct="1">
              <a:spcBef>
                <a:spcPct val="0"/>
              </a:spcBef>
              <a:defRPr sz="600" b="0">
                <a:solidFill>
                  <a:srgbClr val="82786F"/>
                </a:solidFill>
              </a:defRPr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11" name="Rectangle 81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 algn="r" defTabSz="877997" eaLnBrk="1" hangingPunct="1">
              <a:spcBef>
                <a:spcPct val="0"/>
              </a:spcBef>
              <a:defRPr sz="600" b="0">
                <a:solidFill>
                  <a:srgbClr val="82786F"/>
                </a:solidFill>
              </a:defRPr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  <p:sp>
        <p:nvSpPr>
          <p:cNvPr id="12" name="Slide Number Placeholder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79DC0B7-8DD5-4000-91C8-FBF654306933}" type="slidenum">
              <a:rPr lang="en-GB" altLang="en-US"/>
              <a:pPr/>
              <a:t>‹nr.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2064044156"/>
      </p:ext>
    </p:extLst>
  </p:cSld>
  <p:clrMapOvr>
    <a:masterClrMapping/>
  </p:clrMapOvr>
  <p:transition xmlns:p14="http://schemas.microsoft.com/office/powerpoint/2010/main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320088" y="104776"/>
            <a:ext cx="506412" cy="101600"/>
          </a:xfrm>
        </p:spPr>
        <p:txBody>
          <a:bodyPr/>
          <a:lstStyle>
            <a:lvl1pPr>
              <a:defRPr/>
            </a:lvl1pPr>
          </a:lstStyle>
          <a:p>
            <a:r>
              <a:rPr lang="en-GB" altLang="en-US" dirty="0"/>
              <a:t>Slide no </a:t>
            </a:r>
            <a:fld id="{E2A0A5B4-501D-482C-9B56-A09252E1CCFB}" type="slidenum">
              <a:rPr lang="en-GB" altLang="en-US"/>
              <a:pPr/>
              <a:t>‹nr.›</a:t>
            </a:fld>
            <a:endParaRPr lang="en-GB" alt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2"/>
          </p:nvPr>
        </p:nvSpPr>
        <p:spPr>
          <a:xfrm>
            <a:off x="7240629" y="103189"/>
            <a:ext cx="998537" cy="101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04258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55F9A-10B8-48A0-A670-4DAF4FCE3C5E}" type="datetimeFigureOut">
              <a:rPr lang="en-GB" smtClean="0"/>
              <a:t>22-12-17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E52CB-72DF-4CEA-9D3E-F3F83B8EA34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47001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7200" y="1200151"/>
            <a:ext cx="8229600" cy="3394472"/>
          </a:xfrm>
        </p:spPr>
        <p:txBody>
          <a:bodyPr/>
          <a:lstStyle/>
          <a:p>
            <a:pPr lvl="0"/>
            <a:endParaRPr lang="en-GB" noProof="0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684754"/>
            <a:ext cx="2133600" cy="357187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684754"/>
            <a:ext cx="2895600" cy="357187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684754"/>
            <a:ext cx="2133600" cy="357187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CBE1D5F8-E869-4639-B942-9154B03379EE}" type="slidenum">
              <a:rPr lang="en-GB" altLang="en-US"/>
              <a:pPr/>
              <a:t>‹nr.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14729090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109427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01724282"/>
      </p:ext>
    </p:extLst>
  </p:cSld>
  <p:clrMapOvr>
    <a:masterClrMapping/>
  </p:clrMapOvr>
  <p:transition xmlns:p14="http://schemas.microsoft.com/office/powerpoint/2010/main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17502" y="515939"/>
            <a:ext cx="8509000" cy="390525"/>
          </a:xfrm>
        </p:spPr>
        <p:txBody>
          <a:bodyPr anchor="b"/>
          <a:lstStyle>
            <a:lvl1pPr>
              <a:defRPr sz="21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2" y="4618476"/>
            <a:ext cx="8509000" cy="40778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GB" dirty="0"/>
              <a:t>Footnot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8618987" y="4618436"/>
            <a:ext cx="525015" cy="525015"/>
            <a:chOff x="11591210" y="6257142"/>
            <a:chExt cx="600790" cy="600790"/>
          </a:xfrm>
        </p:grpSpPr>
        <p:sp>
          <p:nvSpPr>
            <p:cNvPr id="4" name="Freeform 3"/>
            <p:cNvSpPr/>
            <p:nvPr userDrawn="1"/>
          </p:nvSpPr>
          <p:spPr>
            <a:xfrm>
              <a:off x="11591210" y="6257142"/>
              <a:ext cx="600790" cy="600790"/>
            </a:xfrm>
            <a:custGeom>
              <a:avLst/>
              <a:gdLst>
                <a:gd name="connsiteX0" fmla="*/ 540000 w 540000"/>
                <a:gd name="connsiteY0" fmla="*/ 0 h 540000"/>
                <a:gd name="connsiteX1" fmla="*/ 540000 w 540000"/>
                <a:gd name="connsiteY1" fmla="*/ 540000 h 540000"/>
                <a:gd name="connsiteX2" fmla="*/ 0 w 540000"/>
                <a:gd name="connsiteY2" fmla="*/ 540000 h 540000"/>
                <a:gd name="connsiteX3" fmla="*/ 540000 w 540000"/>
                <a:gd name="connsiteY3" fmla="*/ 0 h 5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0000" h="540000">
                  <a:moveTo>
                    <a:pt x="540000" y="0"/>
                  </a:moveTo>
                  <a:lnTo>
                    <a:pt x="540000" y="540000"/>
                  </a:lnTo>
                  <a:lnTo>
                    <a:pt x="0" y="540000"/>
                  </a:lnTo>
                  <a:cubicBezTo>
                    <a:pt x="0" y="241766"/>
                    <a:pt x="241766" y="0"/>
                    <a:pt x="54000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127000" dist="38100" dir="13800000">
                <a:srgbClr val="ADA8A5">
                  <a:alpha val="16000"/>
                </a:srgbClr>
              </a:innerShdw>
            </a:effectLst>
          </p:spPr>
          <p:txBody>
            <a:bodyPr rtlCol="0" anchor="ctr"/>
            <a:lstStyle/>
            <a:p>
              <a:pPr algn="ctr" defTabSz="913478"/>
              <a:endParaRPr lang="en-GB" sz="1400">
                <a:solidFill>
                  <a:srgbClr val="001965"/>
                </a:solidFill>
              </a:endParaRPr>
            </a:p>
          </p:txBody>
        </p:sp>
        <p:sp>
          <p:nvSpPr>
            <p:cNvPr id="7" name="Rounded Rectangle 6"/>
            <p:cNvSpPr/>
            <p:nvPr userDrawn="1"/>
          </p:nvSpPr>
          <p:spPr>
            <a:xfrm>
              <a:off x="11825181" y="6492239"/>
              <a:ext cx="281017" cy="281017"/>
            </a:xfrm>
            <a:prstGeom prst="roundRect">
              <a:avLst/>
            </a:prstGeom>
            <a:gradFill>
              <a:gsLst>
                <a:gs pos="0">
                  <a:srgbClr val="72B5CC"/>
                </a:gs>
                <a:gs pos="100000">
                  <a:srgbClr val="007C92"/>
                </a:gs>
              </a:gsLst>
              <a:lin ang="2700000" scaled="0"/>
            </a:gradFill>
            <a:ln w="9525">
              <a:noFill/>
            </a:ln>
            <a:effectLst>
              <a:outerShdw blurRad="38100" dist="38100" dir="5400000" algn="tl" rotWithShape="0">
                <a:prstClr val="black">
                  <a:alpha val="1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478"/>
              <a:endParaRPr lang="en-GB" sz="140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7543881"/>
      </p:ext>
    </p:extLst>
  </p:cSld>
  <p:clrMapOvr>
    <a:masterClrMapping/>
  </p:clrMapOvr>
  <p:transition xmlns:p14="http://schemas.microsoft.com/office/powerpoint/2010/main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55F9A-10B8-48A0-A670-4DAF4FCE3C5E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2-12-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E52CB-72DF-4CEA-9D3E-F3F83B8EA345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31531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55F9A-10B8-48A0-A670-4DAF4FCE3C5E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2-12-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E52CB-72DF-4CEA-9D3E-F3F83B8EA345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176358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55F9A-10B8-48A0-A670-4DAF4FCE3C5E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2-12-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E52CB-72DF-4CEA-9D3E-F3F83B8EA345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176694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55F9A-10B8-48A0-A670-4DAF4FCE3C5E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2-12-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E52CB-72DF-4CEA-9D3E-F3F83B8EA345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6026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55F9A-10B8-48A0-A670-4DAF4FCE3C5E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2-12-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E52CB-72DF-4CEA-9D3E-F3F83B8EA345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4453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55F9A-10B8-48A0-A670-4DAF4FCE3C5E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2-12-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E52CB-72DF-4CEA-9D3E-F3F83B8EA345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93436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55F9A-10B8-48A0-A670-4DAF4FCE3C5E}" type="datetimeFigureOut">
              <a:rPr lang="en-GB" smtClean="0"/>
              <a:t>22-12-17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E52CB-72DF-4CEA-9D3E-F3F83B8EA34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5880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55F9A-10B8-48A0-A670-4DAF4FCE3C5E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2-12-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E52CB-72DF-4CEA-9D3E-F3F83B8EA345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02513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55F9A-10B8-48A0-A670-4DAF4FCE3C5E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2-12-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E52CB-72DF-4CEA-9D3E-F3F83B8EA345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75616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55F9A-10B8-48A0-A670-4DAF4FCE3C5E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2-12-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E52CB-72DF-4CEA-9D3E-F3F83B8EA345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640855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55F9A-10B8-48A0-A670-4DAF4FCE3C5E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2-12-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E52CB-72DF-4CEA-9D3E-F3F83B8EA345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707432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55F9A-10B8-48A0-A670-4DAF4FCE3C5E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2-12-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E52CB-72DF-4CEA-9D3E-F3F83B8EA345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3840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84800" y="1312917"/>
            <a:ext cx="3542400" cy="1531543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83936" y="3025464"/>
            <a:ext cx="3543319" cy="68458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581583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001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Novo Nordisk Wetenschappelijke Adviesraad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82786F"/>
                </a:solidFill>
              </a:rPr>
              <a:t>2 december 2015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667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862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316800" y="385925"/>
            <a:ext cx="8510400" cy="12864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999" anchor="ctr" anchorCtr="0">
            <a:noAutofit/>
          </a:bodyPr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GB" noProof="0" dirty="0" smtClean="0"/>
              <a:t>Insert </a:t>
            </a:r>
            <a:r>
              <a:rPr lang="en-GB" noProof="0" dirty="0" err="1" smtClean="0"/>
              <a:t>trompet</a:t>
            </a:r>
            <a:endParaRPr lang="en-GB" noProof="0" dirty="0" smtClean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02302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316800" y="906834"/>
            <a:ext cx="8510400" cy="19972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999" anchor="ctr" anchorCtr="0"/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GB" noProof="0" dirty="0" smtClean="0"/>
              <a:t>Insert subtitl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17236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8821" y="515461"/>
            <a:ext cx="6692499" cy="3754955"/>
          </a:xfrm>
        </p:spPr>
        <p:txBody>
          <a:bodyPr tIns="57518" anchor="t"/>
          <a:lstStyle>
            <a:lvl1pPr>
              <a:lnSpc>
                <a:spcPct val="90000"/>
              </a:lnSpc>
              <a:defRPr sz="6000" spc="-15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001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Novo Nordisk Wetenschappelijke Adviesraad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82786F"/>
                </a:solidFill>
              </a:rPr>
              <a:t>2 december 2015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1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667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454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55F9A-10B8-48A0-A670-4DAF4FCE3C5E}" type="datetimeFigureOut">
              <a:rPr lang="en-GB" smtClean="0"/>
              <a:t>22-12-17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E52CB-72DF-4CEA-9D3E-F3F83B8EA34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107042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4730400" y="1312223"/>
            <a:ext cx="4096800" cy="29556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001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Novo Nordisk Wetenschappelijke Adviesraad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1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82786F"/>
                </a:solidFill>
              </a:rPr>
              <a:t>2 december 2015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667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173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4" name="Content Placeholder 2"/>
          <p:cNvSpPr>
            <a:spLocks noGrp="1"/>
          </p:cNvSpPr>
          <p:nvPr>
            <p:ph idx="1"/>
          </p:nvPr>
        </p:nvSpPr>
        <p:spPr>
          <a:xfrm>
            <a:off x="316800" y="1312278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16800" y="2873530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001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Novo Nordisk Wetenschappelijke Adviesraad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82786F"/>
                </a:solidFill>
              </a:rPr>
              <a:t>2 december 2015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667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0583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7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262325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8" name="Content Placeholder 2"/>
          <p:cNvSpPr>
            <a:spLocks noGrp="1"/>
          </p:cNvSpPr>
          <p:nvPr>
            <p:ph idx="10"/>
          </p:nvPr>
        </p:nvSpPr>
        <p:spPr>
          <a:xfrm>
            <a:off x="3260377" y="1312223"/>
            <a:ext cx="262325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9" name="Content Placeholder 2"/>
          <p:cNvSpPr>
            <a:spLocks noGrp="1"/>
          </p:cNvSpPr>
          <p:nvPr>
            <p:ph idx="11"/>
          </p:nvPr>
        </p:nvSpPr>
        <p:spPr>
          <a:xfrm>
            <a:off x="6203950" y="1312223"/>
            <a:ext cx="262325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001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Novo Nordisk Wetenschappelijke Adviesraad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20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82786F"/>
                </a:solidFill>
              </a:rPr>
              <a:t>2 december 2015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21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667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4106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"/>
          </p:nvPr>
        </p:nvSpPr>
        <p:spPr>
          <a:xfrm>
            <a:off x="316830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/>
          </p:cNvSpPr>
          <p:nvPr>
            <p:ph idx="10"/>
          </p:nvPr>
        </p:nvSpPr>
        <p:spPr>
          <a:xfrm>
            <a:off x="2521881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1"/>
          </p:nvPr>
        </p:nvSpPr>
        <p:spPr>
          <a:xfrm>
            <a:off x="4726892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0" name="Content Placeholder 2"/>
          <p:cNvSpPr>
            <a:spLocks noGrp="1"/>
          </p:cNvSpPr>
          <p:nvPr>
            <p:ph idx="12"/>
          </p:nvPr>
        </p:nvSpPr>
        <p:spPr>
          <a:xfrm>
            <a:off x="6939018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001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Novo Nordisk Wetenschappelijke Adviesraad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82786F"/>
                </a:solidFill>
              </a:rPr>
              <a:t>2 december 2015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667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08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001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Novo Nordisk Wetenschappelijke Adviesraad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82786F"/>
                </a:solidFill>
              </a:rPr>
              <a:t>2 december 2015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667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4730400" y="1312278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26"/>
          </p:nvPr>
        </p:nvSpPr>
        <p:spPr>
          <a:xfrm>
            <a:off x="316801" y="1312278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2" name="Content Placeholder 2"/>
          <p:cNvSpPr>
            <a:spLocks noGrp="1"/>
          </p:cNvSpPr>
          <p:nvPr>
            <p:ph idx="27"/>
          </p:nvPr>
        </p:nvSpPr>
        <p:spPr>
          <a:xfrm>
            <a:off x="4729512" y="2873530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315913" y="2873530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24208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>
          <a:xfrm>
            <a:off x="316801" y="1312278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4" name="Content Placeholder 2"/>
          <p:cNvSpPr>
            <a:spLocks noGrp="1"/>
          </p:cNvSpPr>
          <p:nvPr>
            <p:ph idx="10"/>
          </p:nvPr>
        </p:nvSpPr>
        <p:spPr>
          <a:xfrm>
            <a:off x="3260377" y="1312278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5" name="Content Placeholder 2"/>
          <p:cNvSpPr>
            <a:spLocks noGrp="1"/>
          </p:cNvSpPr>
          <p:nvPr>
            <p:ph idx="11"/>
          </p:nvPr>
        </p:nvSpPr>
        <p:spPr>
          <a:xfrm>
            <a:off x="6203950" y="1312278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2"/>
          </p:nvPr>
        </p:nvSpPr>
        <p:spPr>
          <a:xfrm>
            <a:off x="316801" y="2873530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/>
          </p:cNvSpPr>
          <p:nvPr>
            <p:ph idx="13"/>
          </p:nvPr>
        </p:nvSpPr>
        <p:spPr>
          <a:xfrm>
            <a:off x="3260377" y="2873530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4"/>
          </p:nvPr>
        </p:nvSpPr>
        <p:spPr>
          <a:xfrm>
            <a:off x="6203950" y="2873530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001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Novo Nordisk Wetenschappelijke Adviesraad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82786F"/>
                </a:solidFill>
              </a:rPr>
              <a:t>2 december 2015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7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667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207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background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001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FFFFFF"/>
                </a:solidFill>
              </a:rPr>
              <a:t>Novo Nordisk Wetenschappelijke Adviesraad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2 december 2015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6678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391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op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2648932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8" name="Content Placeholder 2"/>
          <p:cNvSpPr>
            <a:spLocks noGrp="1"/>
          </p:cNvSpPr>
          <p:nvPr>
            <p:ph idx="25"/>
          </p:nvPr>
        </p:nvSpPr>
        <p:spPr>
          <a:xfrm>
            <a:off x="316800" y="2873530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001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FFFFFF"/>
                </a:solidFill>
              </a:rPr>
              <a:t>Novo Nordisk Wetenschappelijke Adviesraad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2 december 2015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6678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435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middle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1312225"/>
            <a:ext cx="9144000" cy="2955788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001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Novo Nordisk Wetenschappelijke Adviesraad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82786F"/>
                </a:solidFill>
              </a:rPr>
              <a:t>2 december 2015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667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414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566390" cy="5143500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873500" y="515422"/>
            <a:ext cx="3953755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1"/>
          </p:nvPr>
        </p:nvSpPr>
        <p:spPr>
          <a:xfrm>
            <a:off x="4873500" y="1312223"/>
            <a:ext cx="3953755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2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873446" y="103909"/>
            <a:ext cx="2199874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Novo Nordisk Wetenschappelijke Adviesraad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82786F"/>
                </a:solidFill>
              </a:rPr>
              <a:t>2 december 2015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667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4274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55F9A-10B8-48A0-A670-4DAF4FCE3C5E}" type="datetimeFigureOut">
              <a:rPr lang="en-GB" smtClean="0"/>
              <a:t>22-12-17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E52CB-72DF-4CEA-9D3E-F3F83B8EA34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688626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arge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316800" y="1312225"/>
            <a:ext cx="8510400" cy="2955788"/>
          </a:xfrm>
          <a:prstGeom prst="roundRect">
            <a:avLst>
              <a:gd name="adj" fmla="val 4683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001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Novo Nordisk Wetenschappelijke Adviesraad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82786F"/>
                </a:solidFill>
              </a:rPr>
              <a:t>2 december 2015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667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52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2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731411" y="1312225"/>
            <a:ext cx="4093768" cy="2955788"/>
          </a:xfrm>
          <a:prstGeom prst="roundRect">
            <a:avLst>
              <a:gd name="adj" fmla="val 3924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6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001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Novo Nordisk Wetenschappelijke Adviesraad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82786F"/>
                </a:solidFill>
              </a:rPr>
              <a:t>2 december 2015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667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28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3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318821" y="1312223"/>
            <a:ext cx="5564631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202318" y="1312225"/>
            <a:ext cx="2624927" cy="2955788"/>
          </a:xfrm>
          <a:prstGeom prst="roundRect">
            <a:avLst>
              <a:gd name="adj" fmla="val 4084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001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Novo Nordisk Wetenschappelijke Adviesraad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82786F"/>
                </a:solidFill>
              </a:rPr>
              <a:t>2 december 2015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667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735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4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937200" y="1312225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8"/>
          </p:nvPr>
        </p:nvSpPr>
        <p:spPr>
          <a:xfrm>
            <a:off x="318855" y="1312223"/>
            <a:ext cx="6308887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001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Novo Nordisk Wetenschappelijke Adviesraad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82786F"/>
                </a:solidFill>
              </a:rPr>
              <a:t>2 december 2015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667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5744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/>
          <p:cNvSpPr>
            <a:spLocks noGrp="1"/>
          </p:cNvSpPr>
          <p:nvPr>
            <p:ph idx="18"/>
          </p:nvPr>
        </p:nvSpPr>
        <p:spPr>
          <a:xfrm>
            <a:off x="318848" y="1312223"/>
            <a:ext cx="4099651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937200" y="1312225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4726874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001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Novo Nordisk Wetenschappelijke Adviesraad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82786F"/>
                </a:solidFill>
              </a:rPr>
              <a:t>2 december 2015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667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704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6937200" y="1312225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4726874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31" name="Picture Placeholder 8"/>
          <p:cNvSpPr>
            <a:spLocks noGrp="1"/>
          </p:cNvSpPr>
          <p:nvPr>
            <p:ph type="pic" sz="quarter" idx="29"/>
          </p:nvPr>
        </p:nvSpPr>
        <p:spPr>
          <a:xfrm>
            <a:off x="2521837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32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316800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001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Novo Nordisk Wetenschappelijke Adviesraad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82786F"/>
                </a:solidFill>
              </a:rPr>
              <a:t>2 december 2015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667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734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idx="23"/>
          </p:nvPr>
        </p:nvSpPr>
        <p:spPr>
          <a:xfrm>
            <a:off x="318821" y="1312223"/>
            <a:ext cx="2923653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13" name="Media Placeholder 8"/>
          <p:cNvSpPr>
            <a:spLocks noGrp="1"/>
          </p:cNvSpPr>
          <p:nvPr>
            <p:ph type="media" sz="quarter" idx="18" hasCustomPrompt="1"/>
          </p:nvPr>
        </p:nvSpPr>
        <p:spPr>
          <a:xfrm>
            <a:off x="3578125" y="1309928"/>
            <a:ext cx="5258820" cy="2958085"/>
          </a:xfr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Click to add media size 16/9</a:t>
            </a:r>
            <a:endParaRPr lang="en-GB" noProof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001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Novo Nordisk Wetenschappelijke Adviesraad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82786F"/>
                </a:solidFill>
              </a:rPr>
              <a:t>2 december 2015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667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553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/>
          </p:cNvSpPr>
          <p:nvPr>
            <p:ph type="media" sz="quarter" idx="15" hasCustomPrompt="1"/>
          </p:nvPr>
        </p:nvSpPr>
        <p:spPr>
          <a:xfrm>
            <a:off x="4891539" y="1309928"/>
            <a:ext cx="3945406" cy="2958085"/>
          </a:xfr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Click to add media size 4/3</a:t>
            </a:r>
            <a:endParaRPr lang="en-GB" noProof="0"/>
          </a:p>
        </p:txBody>
      </p:sp>
      <p:sp>
        <p:nvSpPr>
          <p:cNvPr id="17" name="Content Placeholder 2"/>
          <p:cNvSpPr>
            <a:spLocks noGrp="1"/>
          </p:cNvSpPr>
          <p:nvPr>
            <p:ph idx="24"/>
          </p:nvPr>
        </p:nvSpPr>
        <p:spPr>
          <a:xfrm>
            <a:off x="318822" y="1312223"/>
            <a:ext cx="4251592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001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Novo Nordisk Wetenschappelijke Adviesraad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82786F"/>
                </a:solidFill>
              </a:rPr>
              <a:t>2 december 2015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667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3068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/>
          </p:cNvSpPr>
          <p:nvPr>
            <p:ph type="media" sz="quarter" idx="18" hasCustomPrompt="1"/>
          </p:nvPr>
        </p:nvSpPr>
        <p:spPr>
          <a:xfrm>
            <a:off x="0" y="18"/>
            <a:ext cx="9144000" cy="5143499"/>
          </a:xfr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Click to add media size 16:9</a:t>
            </a:r>
            <a:endParaRPr lang="en-GB" noProof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001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FFFFFF"/>
                </a:solidFill>
              </a:rPr>
              <a:t>Novo Nordisk Wetenschappelijke Adviesraad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2 december 2015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6678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4020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316800" y="309079"/>
            <a:ext cx="8510400" cy="3958973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71918" tIns="71918" rIns="71918" bIns="71918" numCol="1" rtlCol="0" anchor="ctr" anchorCtr="0" compatLnSpc="1">
            <a:prstTxWarp prst="textNoShape">
              <a:avLst/>
            </a:prstTxWarp>
          </a:bodyPr>
          <a:lstStyle/>
          <a:p>
            <a:pPr algn="ctr" defTabSz="1217549" fontAlgn="base">
              <a:spcBef>
                <a:spcPct val="50000"/>
              </a:spcBef>
              <a:spcAft>
                <a:spcPct val="0"/>
              </a:spcAft>
            </a:pPr>
            <a:endParaRPr lang="en-GB" sz="2400" b="1">
              <a:solidFill>
                <a:srgbClr val="001965"/>
              </a:solidFill>
            </a:endParaRPr>
          </a:p>
        </p:txBody>
      </p:sp>
      <p:sp>
        <p:nvSpPr>
          <p:cNvPr id="21" name="Title 6"/>
          <p:cNvSpPr txBox="1">
            <a:spLocks/>
          </p:cNvSpPr>
          <p:nvPr userDrawn="1"/>
        </p:nvSpPr>
        <p:spPr bwMode="auto">
          <a:xfrm>
            <a:off x="318823" y="577310"/>
            <a:ext cx="8518124" cy="391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7788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001965"/>
                </a:solidFill>
                <a:latin typeface="+mj-lt"/>
                <a:ea typeface="+mj-ea"/>
                <a:cs typeface="+mj-cs"/>
              </a:defRPr>
            </a:lvl1pPr>
            <a:lvl2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2pPr>
            <a:lvl3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3pPr>
            <a:lvl4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4pPr>
            <a:lvl5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5pPr>
            <a:lvl6pPr marL="329595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6pPr>
            <a:lvl7pPr marL="659191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7pPr>
            <a:lvl8pPr marL="988786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8pPr>
            <a:lvl9pPr marL="1318382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9pPr>
          </a:lstStyle>
          <a:p>
            <a:r>
              <a:rPr lang="en-GB" dirty="0" smtClean="0"/>
              <a:t>Title</a:t>
            </a:r>
            <a:endParaRPr lang="en-GB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2748811" y="2524538"/>
            <a:ext cx="3633374" cy="276999"/>
          </a:xfrm>
          <a:prstGeom prst="rect">
            <a:avLst/>
          </a:prstGeom>
          <a:noFill/>
        </p:spPr>
        <p:txBody>
          <a:bodyPr wrap="square" lIns="91330" tIns="45665" rIns="91330" bIns="45665" rtlCol="0">
            <a:spAutoFit/>
          </a:bodyPr>
          <a:lstStyle/>
          <a:p>
            <a:pPr algn="ctr" defTabSz="913163"/>
            <a:r>
              <a:rPr lang="en-GB" sz="1200" dirty="0">
                <a:solidFill>
                  <a:srgbClr val="E64A0E"/>
                </a:solidFill>
              </a:rPr>
              <a:t>Keep all content in this area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318821" y="1312225"/>
            <a:ext cx="8518125" cy="369332"/>
          </a:xfrm>
          <a:prstGeom prst="rect">
            <a:avLst/>
          </a:prstGeom>
          <a:noFill/>
        </p:spPr>
        <p:txBody>
          <a:bodyPr wrap="square" lIns="91330" tIns="45665" rIns="91330" bIns="45665" rtlCol="0">
            <a:spAutoFit/>
          </a:bodyPr>
          <a:lstStyle/>
          <a:p>
            <a:pPr defTabSz="913163"/>
            <a:endParaRPr lang="en-GB">
              <a:solidFill>
                <a:srgbClr val="001965"/>
              </a:solidFill>
            </a:endParaRPr>
          </a:p>
        </p:txBody>
      </p:sp>
      <p:sp>
        <p:nvSpPr>
          <p:cNvPr id="30" name="Rectangle 29"/>
          <p:cNvSpPr/>
          <p:nvPr userDrawn="1"/>
        </p:nvSpPr>
        <p:spPr bwMode="auto">
          <a:xfrm>
            <a:off x="316833" y="1312223"/>
            <a:ext cx="8510401" cy="2955789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9543" indent="-269543" defTabSz="1217549" fontAlgn="base">
              <a:spcBef>
                <a:spcPct val="50000"/>
              </a:spcBef>
              <a:spcAft>
                <a:spcPct val="0"/>
              </a:spcAft>
              <a:buClr>
                <a:srgbClr val="009FDA"/>
              </a:buClr>
              <a:buFont typeface="Arial" pitchFamily="34" charset="0"/>
              <a:buChar char="•"/>
            </a:pPr>
            <a:r>
              <a:rPr lang="en-GB" dirty="0">
                <a:solidFill>
                  <a:srgbClr val="001965"/>
                </a:solidFill>
              </a:rPr>
              <a:t>Content area</a:t>
            </a:r>
          </a:p>
        </p:txBody>
      </p:sp>
      <p:sp>
        <p:nvSpPr>
          <p:cNvPr id="31" name="TextBox 30"/>
          <p:cNvSpPr txBox="1"/>
          <p:nvPr userDrawn="1"/>
        </p:nvSpPr>
        <p:spPr>
          <a:xfrm>
            <a:off x="316801" y="964460"/>
            <a:ext cx="4572008" cy="276999"/>
          </a:xfrm>
          <a:prstGeom prst="rect">
            <a:avLst/>
          </a:prstGeom>
          <a:noFill/>
        </p:spPr>
        <p:txBody>
          <a:bodyPr wrap="square" lIns="91330" tIns="45665" rIns="91330" bIns="45665" rtlCol="0">
            <a:spAutoFit/>
          </a:bodyPr>
          <a:lstStyle/>
          <a:p>
            <a:pPr defTabSz="913163"/>
            <a:r>
              <a:rPr lang="en-GB" sz="1200" dirty="0">
                <a:solidFill>
                  <a:srgbClr val="E64A0E"/>
                </a:solidFill>
              </a:rPr>
              <a:t>Keep all titles, </a:t>
            </a:r>
            <a:r>
              <a:rPr lang="en-GB" sz="1200" dirty="0" err="1">
                <a:solidFill>
                  <a:srgbClr val="E64A0E"/>
                </a:solidFill>
              </a:rPr>
              <a:t>trompets</a:t>
            </a:r>
            <a:r>
              <a:rPr lang="en-GB" sz="1200" dirty="0">
                <a:solidFill>
                  <a:srgbClr val="E64A0E"/>
                </a:solidFill>
              </a:rPr>
              <a:t> and subtitles in this area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4919814" y="329741"/>
            <a:ext cx="3909190" cy="276999"/>
          </a:xfrm>
          <a:prstGeom prst="rect">
            <a:avLst/>
          </a:prstGeom>
          <a:noFill/>
        </p:spPr>
        <p:txBody>
          <a:bodyPr wrap="square" lIns="91330" tIns="45665" rIns="91330" bIns="45665" rtlCol="0">
            <a:spAutoFit/>
          </a:bodyPr>
          <a:lstStyle/>
          <a:p>
            <a:pPr algn="r" defTabSz="913163"/>
            <a:r>
              <a:rPr lang="en-GB" sz="1200">
                <a:solidFill>
                  <a:srgbClr val="E64A0E"/>
                </a:solidFill>
              </a:rPr>
              <a:t>Never move Footer, Date and No placeholders</a:t>
            </a:r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001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Novo Nordisk Wetenschappelijke Adviesraad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7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1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82786F"/>
                </a:solidFill>
              </a:rPr>
              <a:t>2 december 2015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8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667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859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55F9A-10B8-48A0-A670-4DAF4FCE3C5E}" type="datetimeFigureOut">
              <a:rPr lang="en-GB" smtClean="0"/>
              <a:t>22-12-17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E52CB-72DF-4CEA-9D3E-F3F83B8EA34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998470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87363" y="4854586"/>
            <a:ext cx="7023780" cy="19639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 dirty="0" smtClean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5297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001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33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33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6700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72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514822" y="105052"/>
            <a:ext cx="312378" cy="101600"/>
          </a:xfrm>
          <a:prstGeom prst="rect">
            <a:avLst/>
          </a:prstGeom>
          <a:ln/>
        </p:spPr>
        <p:txBody>
          <a:bodyPr lIns="91332" tIns="45666" rIns="91332" bIns="45666"/>
          <a:lstStyle>
            <a:lvl1pPr>
              <a:defRPr/>
            </a:lvl1pPr>
          </a:lstStyle>
          <a:p>
            <a:pPr defTabSz="913163">
              <a:defRPr/>
            </a:pPr>
            <a:fld id="{CBE9FAB3-31B1-409E-92E4-4C0885D0CD84}" type="slidenum">
              <a:rPr lang="en-GB" smtClean="0">
                <a:solidFill>
                  <a:srgbClr val="001965"/>
                </a:solidFill>
              </a:rPr>
              <a:pPr defTabSz="913163">
                <a:defRPr/>
              </a:pPr>
              <a:t>‹nr.›</a:t>
            </a:fld>
            <a:endParaRPr lang="en-GB" dirty="0">
              <a:solidFill>
                <a:srgbClr val="001965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73001" y="103909"/>
            <a:ext cx="2900363" cy="101600"/>
          </a:xfrm>
          <a:prstGeom prst="rect">
            <a:avLst/>
          </a:prstGeom>
          <a:ln/>
        </p:spPr>
        <p:txBody>
          <a:bodyPr lIns="91332" tIns="45666" rIns="91332" bIns="45666"/>
          <a:lstStyle>
            <a:lvl1pPr>
              <a:defRPr/>
            </a:lvl1pPr>
          </a:lstStyle>
          <a:p>
            <a:pPr defTabSz="913163">
              <a:defRPr/>
            </a:pPr>
            <a:r>
              <a:rPr lang="en-GB" smtClean="0">
                <a:solidFill>
                  <a:srgbClr val="001965"/>
                </a:solidFill>
              </a:rPr>
              <a:t>Clinical trial design and results template</a:t>
            </a:r>
            <a:endParaRPr lang="en-GB" dirty="0">
              <a:solidFill>
                <a:srgbClr val="001965"/>
              </a:solidFill>
            </a:endParaRP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>
          <a:xfrm>
            <a:off x="7187154" y="103909"/>
            <a:ext cx="1201738" cy="101600"/>
          </a:xfrm>
          <a:prstGeom prst="rect">
            <a:avLst/>
          </a:prstGeom>
          <a:ln/>
        </p:spPr>
        <p:txBody>
          <a:bodyPr lIns="91332" tIns="45666" rIns="91332" bIns="45666"/>
          <a:lstStyle>
            <a:lvl1pPr>
              <a:defRPr/>
            </a:lvl1pPr>
          </a:lstStyle>
          <a:p>
            <a:pPr defTabSz="913163">
              <a:defRPr/>
            </a:pPr>
            <a:r>
              <a:rPr lang="en-US" smtClean="0">
                <a:solidFill>
                  <a:srgbClr val="001965"/>
                </a:solidFill>
              </a:rPr>
              <a:t>Date</a:t>
            </a:r>
            <a:endParaRPr lang="en-GB" dirty="0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817269"/>
      </p:ext>
    </p:extLst>
  </p:cSld>
  <p:clrMapOvr>
    <a:masterClrMapping/>
  </p:clrMapOvr>
  <p:transition xmlns:p14="http://schemas.microsoft.com/office/powerpoint/2010/main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514822" y="105052"/>
            <a:ext cx="312378" cy="101600"/>
          </a:xfrm>
          <a:prstGeom prst="rect">
            <a:avLst/>
          </a:prstGeom>
          <a:ln/>
        </p:spPr>
        <p:txBody>
          <a:bodyPr lIns="91332" tIns="45666" rIns="91332" bIns="45666"/>
          <a:lstStyle>
            <a:lvl1pPr>
              <a:defRPr/>
            </a:lvl1pPr>
          </a:lstStyle>
          <a:p>
            <a:pPr defTabSz="913163">
              <a:defRPr/>
            </a:pPr>
            <a:fld id="{CBE9FAB3-31B1-409E-92E4-4C0885D0CD84}" type="slidenum">
              <a:rPr lang="en-GB" smtClean="0">
                <a:solidFill>
                  <a:srgbClr val="001965"/>
                </a:solidFill>
              </a:rPr>
              <a:pPr defTabSz="913163">
                <a:defRPr/>
              </a:pPr>
              <a:t>‹nr.›</a:t>
            </a:fld>
            <a:endParaRPr lang="en-GB" dirty="0">
              <a:solidFill>
                <a:srgbClr val="001965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73001" y="103909"/>
            <a:ext cx="2900363" cy="101600"/>
          </a:xfrm>
          <a:prstGeom prst="rect">
            <a:avLst/>
          </a:prstGeom>
          <a:ln/>
        </p:spPr>
        <p:txBody>
          <a:bodyPr lIns="91332" tIns="45666" rIns="91332" bIns="45666"/>
          <a:lstStyle>
            <a:lvl1pPr>
              <a:defRPr/>
            </a:lvl1pPr>
          </a:lstStyle>
          <a:p>
            <a:pPr defTabSz="913163">
              <a:defRPr/>
            </a:pPr>
            <a:r>
              <a:rPr lang="en-GB" smtClean="0">
                <a:solidFill>
                  <a:srgbClr val="001965"/>
                </a:solidFill>
              </a:rPr>
              <a:t>Clinical trial design and results template</a:t>
            </a:r>
            <a:endParaRPr lang="en-GB" dirty="0">
              <a:solidFill>
                <a:srgbClr val="001965"/>
              </a:solidFill>
            </a:endParaRP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>
          <a:xfrm>
            <a:off x="7187154" y="103909"/>
            <a:ext cx="1201738" cy="101600"/>
          </a:xfrm>
          <a:prstGeom prst="rect">
            <a:avLst/>
          </a:prstGeom>
          <a:ln/>
        </p:spPr>
        <p:txBody>
          <a:bodyPr lIns="91332" tIns="45666" rIns="91332" bIns="45666"/>
          <a:lstStyle>
            <a:lvl1pPr>
              <a:defRPr/>
            </a:lvl1pPr>
          </a:lstStyle>
          <a:p>
            <a:pPr defTabSz="913163">
              <a:defRPr/>
            </a:pPr>
            <a:r>
              <a:rPr lang="en-US" smtClean="0">
                <a:solidFill>
                  <a:srgbClr val="001965"/>
                </a:solidFill>
              </a:rPr>
              <a:t>Date</a:t>
            </a:r>
            <a:endParaRPr lang="en-GB" dirty="0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2070187"/>
      </p:ext>
    </p:extLst>
  </p:cSld>
  <p:clrMapOvr>
    <a:masterClrMapping/>
  </p:clrMapOvr>
  <p:transition xmlns:p14="http://schemas.microsoft.com/office/powerpoint/2010/main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65152" y="1014034"/>
            <a:ext cx="3959251" cy="321588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8058" y="1014034"/>
            <a:ext cx="3960819" cy="321588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7776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84800" y="1312875"/>
            <a:ext cx="3542400" cy="1531543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83893" y="3025464"/>
            <a:ext cx="3543319" cy="68458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15543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54913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316800" y="385925"/>
            <a:ext cx="8510400" cy="12864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3500" anchor="ctr" anchorCtr="0">
            <a:noAutofit/>
          </a:bodyPr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GB" noProof="0" dirty="0" smtClean="0"/>
              <a:t>Insert </a:t>
            </a:r>
            <a:r>
              <a:rPr lang="en-GB" noProof="0" dirty="0" err="1" smtClean="0"/>
              <a:t>trompet</a:t>
            </a:r>
            <a:endParaRPr lang="en-GB" noProof="0" dirty="0" smtClean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68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2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374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316800" y="906834"/>
            <a:ext cx="8510400" cy="19972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3500" anchor="ctr" anchorCtr="0"/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GB" noProof="0" dirty="0" smtClean="0"/>
              <a:t>Insert subtitl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68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2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105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8821" y="515430"/>
            <a:ext cx="6692499" cy="3754955"/>
          </a:xfrm>
        </p:spPr>
        <p:txBody>
          <a:bodyPr tIns="43189" anchor="t"/>
          <a:lstStyle>
            <a:lvl1pPr>
              <a:lnSpc>
                <a:spcPct val="90000"/>
              </a:lnSpc>
              <a:defRPr sz="6000" spc="-15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68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1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2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2233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55F9A-10B8-48A0-A670-4DAF4FCE3C5E}" type="datetimeFigureOut">
              <a:rPr lang="en-GB" smtClean="0"/>
              <a:t>22-12-17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E52CB-72DF-4CEA-9D3E-F3F83B8EA34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826369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4730400" y="1312223"/>
            <a:ext cx="4096800" cy="29556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68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1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2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9807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4" name="Content Placeholder 2"/>
          <p:cNvSpPr>
            <a:spLocks noGrp="1"/>
          </p:cNvSpPr>
          <p:nvPr>
            <p:ph idx="1"/>
          </p:nvPr>
        </p:nvSpPr>
        <p:spPr>
          <a:xfrm>
            <a:off x="316800" y="1312224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16800" y="2873491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68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2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8850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7" name="Content Placeholder 2"/>
          <p:cNvSpPr>
            <a:spLocks noGrp="1"/>
          </p:cNvSpPr>
          <p:nvPr>
            <p:ph idx="1"/>
          </p:nvPr>
        </p:nvSpPr>
        <p:spPr>
          <a:xfrm>
            <a:off x="316801" y="1312223"/>
            <a:ext cx="262325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8" name="Content Placeholder 2"/>
          <p:cNvSpPr>
            <a:spLocks noGrp="1"/>
          </p:cNvSpPr>
          <p:nvPr>
            <p:ph idx="10"/>
          </p:nvPr>
        </p:nvSpPr>
        <p:spPr>
          <a:xfrm>
            <a:off x="3260377" y="1312223"/>
            <a:ext cx="262325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9" name="Content Placeholder 2"/>
          <p:cNvSpPr>
            <a:spLocks noGrp="1"/>
          </p:cNvSpPr>
          <p:nvPr>
            <p:ph idx="11"/>
          </p:nvPr>
        </p:nvSpPr>
        <p:spPr>
          <a:xfrm>
            <a:off x="6203950" y="1312223"/>
            <a:ext cx="262325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68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20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21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2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2170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"/>
          </p:nvPr>
        </p:nvSpPr>
        <p:spPr>
          <a:xfrm>
            <a:off x="316808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/>
          </p:cNvSpPr>
          <p:nvPr>
            <p:ph idx="10"/>
          </p:nvPr>
        </p:nvSpPr>
        <p:spPr>
          <a:xfrm>
            <a:off x="2521841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1"/>
          </p:nvPr>
        </p:nvSpPr>
        <p:spPr>
          <a:xfrm>
            <a:off x="4726886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0" name="Content Placeholder 2"/>
          <p:cNvSpPr>
            <a:spLocks noGrp="1"/>
          </p:cNvSpPr>
          <p:nvPr>
            <p:ph idx="12"/>
          </p:nvPr>
        </p:nvSpPr>
        <p:spPr>
          <a:xfrm>
            <a:off x="6938975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68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2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646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68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9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2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4730400" y="1312224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26"/>
          </p:nvPr>
        </p:nvSpPr>
        <p:spPr>
          <a:xfrm>
            <a:off x="316801" y="1312224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2" name="Content Placeholder 2"/>
          <p:cNvSpPr>
            <a:spLocks noGrp="1"/>
          </p:cNvSpPr>
          <p:nvPr>
            <p:ph idx="27"/>
          </p:nvPr>
        </p:nvSpPr>
        <p:spPr>
          <a:xfrm>
            <a:off x="4729512" y="2873492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315913" y="2873492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77818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>
          <a:xfrm>
            <a:off x="316801" y="1312224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4" name="Content Placeholder 2"/>
          <p:cNvSpPr>
            <a:spLocks noGrp="1"/>
          </p:cNvSpPr>
          <p:nvPr>
            <p:ph idx="10"/>
          </p:nvPr>
        </p:nvSpPr>
        <p:spPr>
          <a:xfrm>
            <a:off x="3260377" y="1312224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5" name="Content Placeholder 2"/>
          <p:cNvSpPr>
            <a:spLocks noGrp="1"/>
          </p:cNvSpPr>
          <p:nvPr>
            <p:ph idx="11"/>
          </p:nvPr>
        </p:nvSpPr>
        <p:spPr>
          <a:xfrm>
            <a:off x="6203950" y="1312224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2"/>
          </p:nvPr>
        </p:nvSpPr>
        <p:spPr>
          <a:xfrm>
            <a:off x="316801" y="2873492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/>
          </p:cNvSpPr>
          <p:nvPr>
            <p:ph idx="13"/>
          </p:nvPr>
        </p:nvSpPr>
        <p:spPr>
          <a:xfrm>
            <a:off x="3260377" y="2873492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4"/>
          </p:nvPr>
        </p:nvSpPr>
        <p:spPr>
          <a:xfrm>
            <a:off x="6203950" y="2873492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1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68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7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2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864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background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68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FFFFFF"/>
                </a:solidFill>
              </a:rPr>
              <a:t>Presentation titl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FFFFFF"/>
                </a:solidFill>
              </a:rPr>
              <a:t>Dat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24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373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op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2648932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18" name="Content Placeholder 2"/>
          <p:cNvSpPr>
            <a:spLocks noGrp="1"/>
          </p:cNvSpPr>
          <p:nvPr>
            <p:ph idx="25"/>
          </p:nvPr>
        </p:nvSpPr>
        <p:spPr>
          <a:xfrm>
            <a:off x="316800" y="2873491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68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FFFFFF"/>
                </a:solidFill>
              </a:rPr>
              <a:t>Presentation titl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FFFFFF"/>
                </a:solidFill>
              </a:rPr>
              <a:t>Date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24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651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middle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1312225"/>
            <a:ext cx="9144000" cy="2955788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68" y="103909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2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4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2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792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566390" cy="5143500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873457" y="515422"/>
            <a:ext cx="3953755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1"/>
          </p:nvPr>
        </p:nvSpPr>
        <p:spPr>
          <a:xfrm>
            <a:off x="4873457" y="1312223"/>
            <a:ext cx="3953755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2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873446" y="103909"/>
            <a:ext cx="2199874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4" y="103909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57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2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24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5503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10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11.xml"/><Relationship Id="rId12" Type="http://schemas.openxmlformats.org/officeDocument/2006/relationships/slideLayout" Target="../slideLayouts/slideLayout212.xml"/><Relationship Id="rId13" Type="http://schemas.openxmlformats.org/officeDocument/2006/relationships/theme" Target="../theme/theme10.xml"/><Relationship Id="rId1" Type="http://schemas.openxmlformats.org/officeDocument/2006/relationships/slideLayout" Target="../slideLayouts/slideLayout201.xml"/><Relationship Id="rId2" Type="http://schemas.openxmlformats.org/officeDocument/2006/relationships/slideLayout" Target="../slideLayouts/slideLayout202.xml"/><Relationship Id="rId3" Type="http://schemas.openxmlformats.org/officeDocument/2006/relationships/slideLayout" Target="../slideLayouts/slideLayout203.xml"/><Relationship Id="rId4" Type="http://schemas.openxmlformats.org/officeDocument/2006/relationships/slideLayout" Target="../slideLayouts/slideLayout204.xml"/><Relationship Id="rId5" Type="http://schemas.openxmlformats.org/officeDocument/2006/relationships/slideLayout" Target="../slideLayouts/slideLayout205.xml"/><Relationship Id="rId6" Type="http://schemas.openxmlformats.org/officeDocument/2006/relationships/slideLayout" Target="../slideLayouts/slideLayout206.xml"/><Relationship Id="rId7" Type="http://schemas.openxmlformats.org/officeDocument/2006/relationships/slideLayout" Target="../slideLayouts/slideLayout207.xml"/><Relationship Id="rId8" Type="http://schemas.openxmlformats.org/officeDocument/2006/relationships/slideLayout" Target="../slideLayouts/slideLayout208.xml"/><Relationship Id="rId9" Type="http://schemas.openxmlformats.org/officeDocument/2006/relationships/slideLayout" Target="../slideLayouts/slideLayout209.xml"/><Relationship Id="rId10" Type="http://schemas.openxmlformats.org/officeDocument/2006/relationships/slideLayout" Target="../slideLayouts/slideLayout210.xml"/></Relationships>
</file>

<file path=ppt/slideMasters/_rels/slideMaster11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232.xml"/><Relationship Id="rId21" Type="http://schemas.openxmlformats.org/officeDocument/2006/relationships/slideLayout" Target="../slideLayouts/slideLayout233.xml"/><Relationship Id="rId22" Type="http://schemas.openxmlformats.org/officeDocument/2006/relationships/slideLayout" Target="../slideLayouts/slideLayout234.xml"/><Relationship Id="rId23" Type="http://schemas.openxmlformats.org/officeDocument/2006/relationships/slideLayout" Target="../slideLayouts/slideLayout235.xml"/><Relationship Id="rId24" Type="http://schemas.openxmlformats.org/officeDocument/2006/relationships/slideLayout" Target="../slideLayouts/slideLayout236.xml"/><Relationship Id="rId25" Type="http://schemas.openxmlformats.org/officeDocument/2006/relationships/slideLayout" Target="../slideLayouts/slideLayout237.xml"/><Relationship Id="rId26" Type="http://schemas.openxmlformats.org/officeDocument/2006/relationships/slideLayout" Target="../slideLayouts/slideLayout238.xml"/><Relationship Id="rId27" Type="http://schemas.openxmlformats.org/officeDocument/2006/relationships/slideLayout" Target="../slideLayouts/slideLayout239.xml"/><Relationship Id="rId28" Type="http://schemas.openxmlformats.org/officeDocument/2006/relationships/slideLayout" Target="../slideLayouts/slideLayout240.xml"/><Relationship Id="rId29" Type="http://schemas.openxmlformats.org/officeDocument/2006/relationships/slideLayout" Target="../slideLayouts/slideLayout241.xml"/><Relationship Id="rId1" Type="http://schemas.openxmlformats.org/officeDocument/2006/relationships/slideLayout" Target="../slideLayouts/slideLayout213.xml"/><Relationship Id="rId2" Type="http://schemas.openxmlformats.org/officeDocument/2006/relationships/slideLayout" Target="../slideLayouts/slideLayout214.xml"/><Relationship Id="rId3" Type="http://schemas.openxmlformats.org/officeDocument/2006/relationships/slideLayout" Target="../slideLayouts/slideLayout215.xml"/><Relationship Id="rId4" Type="http://schemas.openxmlformats.org/officeDocument/2006/relationships/slideLayout" Target="../slideLayouts/slideLayout216.xml"/><Relationship Id="rId5" Type="http://schemas.openxmlformats.org/officeDocument/2006/relationships/slideLayout" Target="../slideLayouts/slideLayout217.xml"/><Relationship Id="rId30" Type="http://schemas.openxmlformats.org/officeDocument/2006/relationships/slideLayout" Target="../slideLayouts/slideLayout242.xml"/><Relationship Id="rId31" Type="http://schemas.openxmlformats.org/officeDocument/2006/relationships/slideLayout" Target="../slideLayouts/slideLayout243.xml"/><Relationship Id="rId32" Type="http://schemas.openxmlformats.org/officeDocument/2006/relationships/slideLayout" Target="../slideLayouts/slideLayout244.xml"/><Relationship Id="rId9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18.xml"/><Relationship Id="rId7" Type="http://schemas.openxmlformats.org/officeDocument/2006/relationships/slideLayout" Target="../slideLayouts/slideLayout219.xml"/><Relationship Id="rId8" Type="http://schemas.openxmlformats.org/officeDocument/2006/relationships/slideLayout" Target="../slideLayouts/slideLayout220.xml"/><Relationship Id="rId33" Type="http://schemas.openxmlformats.org/officeDocument/2006/relationships/slideLayout" Target="../slideLayouts/slideLayout245.xml"/><Relationship Id="rId34" Type="http://schemas.openxmlformats.org/officeDocument/2006/relationships/slideLayout" Target="../slideLayouts/slideLayout246.xml"/><Relationship Id="rId35" Type="http://schemas.openxmlformats.org/officeDocument/2006/relationships/slideLayout" Target="../slideLayouts/slideLayout247.xml"/><Relationship Id="rId36" Type="http://schemas.openxmlformats.org/officeDocument/2006/relationships/slideLayout" Target="../slideLayouts/slideLayout248.xml"/><Relationship Id="rId10" Type="http://schemas.openxmlformats.org/officeDocument/2006/relationships/slideLayout" Target="../slideLayouts/slideLayout222.xml"/><Relationship Id="rId11" Type="http://schemas.openxmlformats.org/officeDocument/2006/relationships/slideLayout" Target="../slideLayouts/slideLayout223.xml"/><Relationship Id="rId12" Type="http://schemas.openxmlformats.org/officeDocument/2006/relationships/slideLayout" Target="../slideLayouts/slideLayout224.xml"/><Relationship Id="rId13" Type="http://schemas.openxmlformats.org/officeDocument/2006/relationships/slideLayout" Target="../slideLayouts/slideLayout225.xml"/><Relationship Id="rId14" Type="http://schemas.openxmlformats.org/officeDocument/2006/relationships/slideLayout" Target="../slideLayouts/slideLayout226.xml"/><Relationship Id="rId15" Type="http://schemas.openxmlformats.org/officeDocument/2006/relationships/slideLayout" Target="../slideLayouts/slideLayout227.xml"/><Relationship Id="rId16" Type="http://schemas.openxmlformats.org/officeDocument/2006/relationships/slideLayout" Target="../slideLayouts/slideLayout228.xml"/><Relationship Id="rId17" Type="http://schemas.openxmlformats.org/officeDocument/2006/relationships/slideLayout" Target="../slideLayouts/slideLayout229.xml"/><Relationship Id="rId18" Type="http://schemas.openxmlformats.org/officeDocument/2006/relationships/slideLayout" Target="../slideLayouts/slideLayout230.xml"/><Relationship Id="rId19" Type="http://schemas.openxmlformats.org/officeDocument/2006/relationships/slideLayout" Target="../slideLayouts/slideLayout231.xml"/><Relationship Id="rId37" Type="http://schemas.openxmlformats.org/officeDocument/2006/relationships/slideLayout" Target="../slideLayouts/slideLayout249.xml"/><Relationship Id="rId38" Type="http://schemas.openxmlformats.org/officeDocument/2006/relationships/slideLayout" Target="../slideLayouts/slideLayout250.xml"/><Relationship Id="rId39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3.xml"/><Relationship Id="rId4" Type="http://schemas.openxmlformats.org/officeDocument/2006/relationships/theme" Target="../theme/theme12.xml"/><Relationship Id="rId5" Type="http://schemas.openxmlformats.org/officeDocument/2006/relationships/vmlDrawing" Target="../drawings/vmlDrawing42.vml"/><Relationship Id="rId6" Type="http://schemas.openxmlformats.org/officeDocument/2006/relationships/tags" Target="../tags/tag44.xml"/><Relationship Id="rId7" Type="http://schemas.openxmlformats.org/officeDocument/2006/relationships/oleObject" Target="../embeddings/oleObject44.bin"/><Relationship Id="rId8" Type="http://schemas.openxmlformats.org/officeDocument/2006/relationships/image" Target="../media/image1.emf"/><Relationship Id="rId1" Type="http://schemas.openxmlformats.org/officeDocument/2006/relationships/slideLayout" Target="../slideLayouts/slideLayout251.xml"/><Relationship Id="rId2" Type="http://schemas.openxmlformats.org/officeDocument/2006/relationships/slideLayout" Target="../slideLayouts/slideLayout252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39.xml"/><Relationship Id="rId27" Type="http://schemas.openxmlformats.org/officeDocument/2006/relationships/slideLayout" Target="../slideLayouts/slideLayout40.xml"/><Relationship Id="rId28" Type="http://schemas.openxmlformats.org/officeDocument/2006/relationships/slideLayout" Target="../slideLayouts/slideLayout41.xml"/><Relationship Id="rId29" Type="http://schemas.openxmlformats.org/officeDocument/2006/relationships/slideLayout" Target="../slideLayouts/slideLayout42.xml"/><Relationship Id="rId1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8.xml"/><Relationship Id="rId30" Type="http://schemas.openxmlformats.org/officeDocument/2006/relationships/slideLayout" Target="../slideLayouts/slideLayout43.xml"/><Relationship Id="rId31" Type="http://schemas.openxmlformats.org/officeDocument/2006/relationships/theme" Target="../theme/theme2.xml"/><Relationship Id="rId32" Type="http://schemas.openxmlformats.org/officeDocument/2006/relationships/vmlDrawing" Target="../drawings/vmlDrawing1.vml"/><Relationship Id="rId9" Type="http://schemas.openxmlformats.org/officeDocument/2006/relationships/slideLayout" Target="../slideLayouts/slideLayout22.xml"/><Relationship Id="rId6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0.xml"/><Relationship Id="rId8" Type="http://schemas.openxmlformats.org/officeDocument/2006/relationships/slideLayout" Target="../slideLayouts/slideLayout21.xml"/><Relationship Id="rId33" Type="http://schemas.openxmlformats.org/officeDocument/2006/relationships/tags" Target="../tags/tag1.xml"/><Relationship Id="rId34" Type="http://schemas.openxmlformats.org/officeDocument/2006/relationships/oleObject" Target="../embeddings/oleObject1.bin"/><Relationship Id="rId35" Type="http://schemas.openxmlformats.org/officeDocument/2006/relationships/image" Target="../media/image1.emf"/><Relationship Id="rId10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4.xml"/><Relationship Id="rId12" Type="http://schemas.openxmlformats.org/officeDocument/2006/relationships/theme" Target="../theme/theme3.xml"/><Relationship Id="rId1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8.xml"/><Relationship Id="rId6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0.xml"/><Relationship Id="rId8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3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74.xml"/><Relationship Id="rId21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78.xml"/><Relationship Id="rId25" Type="http://schemas.openxmlformats.org/officeDocument/2006/relationships/slideLayout" Target="../slideLayouts/slideLayout79.xml"/><Relationship Id="rId26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2.xml"/><Relationship Id="rId29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84.xml"/><Relationship Id="rId31" Type="http://schemas.openxmlformats.org/officeDocument/2006/relationships/theme" Target="../theme/theme4.xml"/><Relationship Id="rId10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73.xml"/><Relationship Id="rId1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1.xml"/><Relationship Id="rId8" Type="http://schemas.openxmlformats.org/officeDocument/2006/relationships/slideLayout" Target="../slideLayouts/slideLayout62.xml"/></Relationships>
</file>

<file path=ppt/slideMasters/_rels/slideMaster5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104.xml"/><Relationship Id="rId21" Type="http://schemas.openxmlformats.org/officeDocument/2006/relationships/slideLayout" Target="../slideLayouts/slideLayout105.xml"/><Relationship Id="rId22" Type="http://schemas.openxmlformats.org/officeDocument/2006/relationships/slideLayout" Target="../slideLayouts/slideLayout106.xml"/><Relationship Id="rId23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08.xml"/><Relationship Id="rId25" Type="http://schemas.openxmlformats.org/officeDocument/2006/relationships/slideLayout" Target="../slideLayouts/slideLayout109.xml"/><Relationship Id="rId26" Type="http://schemas.openxmlformats.org/officeDocument/2006/relationships/slideLayout" Target="../slideLayouts/slideLayout110.xml"/><Relationship Id="rId27" Type="http://schemas.openxmlformats.org/officeDocument/2006/relationships/slideLayout" Target="../slideLayouts/slideLayout111.xml"/><Relationship Id="rId28" Type="http://schemas.openxmlformats.org/officeDocument/2006/relationships/slideLayout" Target="../slideLayouts/slideLayout112.xml"/><Relationship Id="rId29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85.xml"/><Relationship Id="rId2" Type="http://schemas.openxmlformats.org/officeDocument/2006/relationships/slideLayout" Target="../slideLayouts/slideLayout86.xml"/><Relationship Id="rId3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9.xml"/><Relationship Id="rId30" Type="http://schemas.openxmlformats.org/officeDocument/2006/relationships/slideLayout" Target="../slideLayouts/slideLayout114.xml"/><Relationship Id="rId31" Type="http://schemas.openxmlformats.org/officeDocument/2006/relationships/slideLayout" Target="../slideLayouts/slideLayout115.xml"/><Relationship Id="rId32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1.xml"/><Relationship Id="rId8" Type="http://schemas.openxmlformats.org/officeDocument/2006/relationships/slideLayout" Target="../slideLayouts/slideLayout92.xml"/><Relationship Id="rId33" Type="http://schemas.openxmlformats.org/officeDocument/2006/relationships/slideLayout" Target="../slideLayouts/slideLayout117.xml"/><Relationship Id="rId34" Type="http://schemas.openxmlformats.org/officeDocument/2006/relationships/slideLayout" Target="../slideLayouts/slideLayout118.xml"/><Relationship Id="rId35" Type="http://schemas.openxmlformats.org/officeDocument/2006/relationships/slideLayout" Target="../slideLayouts/slideLayout119.xml"/><Relationship Id="rId36" Type="http://schemas.openxmlformats.org/officeDocument/2006/relationships/slideLayout" Target="../slideLayouts/slideLayout120.xml"/><Relationship Id="rId10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96.xml"/><Relationship Id="rId13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98.xml"/><Relationship Id="rId15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00.xml"/><Relationship Id="rId17" Type="http://schemas.openxmlformats.org/officeDocument/2006/relationships/slideLayout" Target="../slideLayouts/slideLayout101.xml"/><Relationship Id="rId18" Type="http://schemas.openxmlformats.org/officeDocument/2006/relationships/slideLayout" Target="../slideLayouts/slideLayout102.xml"/><Relationship Id="rId19" Type="http://schemas.openxmlformats.org/officeDocument/2006/relationships/slideLayout" Target="../slideLayouts/slideLayout103.xml"/><Relationship Id="rId37" Type="http://schemas.openxmlformats.org/officeDocument/2006/relationships/slideLayout" Target="../slideLayouts/slideLayout121.xml"/><Relationship Id="rId38" Type="http://schemas.openxmlformats.org/officeDocument/2006/relationships/slideLayout" Target="../slideLayouts/slideLayout122.xml"/><Relationship Id="rId39" Type="http://schemas.openxmlformats.org/officeDocument/2006/relationships/slideLayout" Target="../slideLayouts/slideLayout123.xml"/><Relationship Id="rId40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32.xml"/><Relationship Id="rId20" Type="http://schemas.openxmlformats.org/officeDocument/2006/relationships/theme" Target="../theme/theme6.xml"/><Relationship Id="rId21" Type="http://schemas.openxmlformats.org/officeDocument/2006/relationships/vmlDrawing" Target="../drawings/vmlDrawing35.vml"/><Relationship Id="rId22" Type="http://schemas.openxmlformats.org/officeDocument/2006/relationships/tags" Target="../tags/tag35.xml"/><Relationship Id="rId23" Type="http://schemas.openxmlformats.org/officeDocument/2006/relationships/oleObject" Target="../embeddings/oleObject35.bin"/><Relationship Id="rId24" Type="http://schemas.openxmlformats.org/officeDocument/2006/relationships/image" Target="../media/image1.emf"/><Relationship Id="rId10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36.xml"/><Relationship Id="rId14" Type="http://schemas.openxmlformats.org/officeDocument/2006/relationships/slideLayout" Target="../slideLayouts/slideLayout137.xml"/><Relationship Id="rId15" Type="http://schemas.openxmlformats.org/officeDocument/2006/relationships/slideLayout" Target="../slideLayouts/slideLayout138.xml"/><Relationship Id="rId16" Type="http://schemas.openxmlformats.org/officeDocument/2006/relationships/slideLayout" Target="../slideLayouts/slideLayout139.xml"/><Relationship Id="rId17" Type="http://schemas.openxmlformats.org/officeDocument/2006/relationships/slideLayout" Target="../slideLayouts/slideLayout140.xml"/><Relationship Id="rId18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125.xml"/><Relationship Id="rId3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30.xml"/><Relationship Id="rId8" Type="http://schemas.openxmlformats.org/officeDocument/2006/relationships/slideLayout" Target="../slideLayouts/slideLayout131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51.xml"/><Relationship Id="rId20" Type="http://schemas.openxmlformats.org/officeDocument/2006/relationships/theme" Target="../theme/theme7.xml"/><Relationship Id="rId21" Type="http://schemas.openxmlformats.org/officeDocument/2006/relationships/vmlDrawing" Target="../drawings/vmlDrawing36.vml"/><Relationship Id="rId22" Type="http://schemas.openxmlformats.org/officeDocument/2006/relationships/tags" Target="../tags/tag36.xml"/><Relationship Id="rId23" Type="http://schemas.openxmlformats.org/officeDocument/2006/relationships/oleObject" Target="../embeddings/oleObject36.bin"/><Relationship Id="rId24" Type="http://schemas.openxmlformats.org/officeDocument/2006/relationships/image" Target="../media/image1.emf"/><Relationship Id="rId10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54.xml"/><Relationship Id="rId13" Type="http://schemas.openxmlformats.org/officeDocument/2006/relationships/slideLayout" Target="../slideLayouts/slideLayout155.xml"/><Relationship Id="rId14" Type="http://schemas.openxmlformats.org/officeDocument/2006/relationships/slideLayout" Target="../slideLayouts/slideLayout156.xml"/><Relationship Id="rId15" Type="http://schemas.openxmlformats.org/officeDocument/2006/relationships/slideLayout" Target="../slideLayouts/slideLayout157.xml"/><Relationship Id="rId16" Type="http://schemas.openxmlformats.org/officeDocument/2006/relationships/slideLayout" Target="../slideLayouts/slideLayout158.xml"/><Relationship Id="rId17" Type="http://schemas.openxmlformats.org/officeDocument/2006/relationships/slideLayout" Target="../slideLayouts/slideLayout159.xml"/><Relationship Id="rId18" Type="http://schemas.openxmlformats.org/officeDocument/2006/relationships/slideLayout" Target="../slideLayouts/slideLayout160.xml"/><Relationship Id="rId19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43.xml"/><Relationship Id="rId2" Type="http://schemas.openxmlformats.org/officeDocument/2006/relationships/slideLayout" Target="../slideLayouts/slideLayout144.xml"/><Relationship Id="rId3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49.xml"/><Relationship Id="rId8" Type="http://schemas.openxmlformats.org/officeDocument/2006/relationships/slideLayout" Target="../slideLayouts/slideLayout150.xml"/></Relationships>
</file>

<file path=ppt/slideMasters/_rels/slideMaster8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181.xml"/><Relationship Id="rId21" Type="http://schemas.openxmlformats.org/officeDocument/2006/relationships/slideLayout" Target="../slideLayouts/slideLayout182.xml"/><Relationship Id="rId22" Type="http://schemas.openxmlformats.org/officeDocument/2006/relationships/slideLayout" Target="../slideLayouts/slideLayout183.xml"/><Relationship Id="rId23" Type="http://schemas.openxmlformats.org/officeDocument/2006/relationships/slideLayout" Target="../slideLayouts/slideLayout184.xml"/><Relationship Id="rId24" Type="http://schemas.openxmlformats.org/officeDocument/2006/relationships/slideLayout" Target="../slideLayouts/slideLayout185.xml"/><Relationship Id="rId25" Type="http://schemas.openxmlformats.org/officeDocument/2006/relationships/slideLayout" Target="../slideLayouts/slideLayout186.xml"/><Relationship Id="rId26" Type="http://schemas.openxmlformats.org/officeDocument/2006/relationships/slideLayout" Target="../slideLayouts/slideLayout187.xml"/><Relationship Id="rId27" Type="http://schemas.openxmlformats.org/officeDocument/2006/relationships/slideLayout" Target="../slideLayouts/slideLayout188.xml"/><Relationship Id="rId28" Type="http://schemas.openxmlformats.org/officeDocument/2006/relationships/slideLayout" Target="../slideLayouts/slideLayout189.xml"/><Relationship Id="rId29" Type="http://schemas.openxmlformats.org/officeDocument/2006/relationships/theme" Target="../theme/theme8.xml"/><Relationship Id="rId1" Type="http://schemas.openxmlformats.org/officeDocument/2006/relationships/slideLayout" Target="../slideLayouts/slideLayout162.xml"/><Relationship Id="rId2" Type="http://schemas.openxmlformats.org/officeDocument/2006/relationships/slideLayout" Target="../slideLayouts/slideLayout163.xml"/><Relationship Id="rId3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66.xml"/><Relationship Id="rId30" Type="http://schemas.openxmlformats.org/officeDocument/2006/relationships/vmlDrawing" Target="../drawings/vmlDrawing37.vml"/><Relationship Id="rId31" Type="http://schemas.openxmlformats.org/officeDocument/2006/relationships/tags" Target="../tags/tag37.xml"/><Relationship Id="rId32" Type="http://schemas.openxmlformats.org/officeDocument/2006/relationships/oleObject" Target="../embeddings/oleObject37.bin"/><Relationship Id="rId9" Type="http://schemas.openxmlformats.org/officeDocument/2006/relationships/slideLayout" Target="../slideLayouts/slideLayout170.xml"/><Relationship Id="rId6" Type="http://schemas.openxmlformats.org/officeDocument/2006/relationships/slideLayout" Target="../slideLayouts/slideLayout167.xml"/><Relationship Id="rId7" Type="http://schemas.openxmlformats.org/officeDocument/2006/relationships/slideLayout" Target="../slideLayouts/slideLayout168.xml"/><Relationship Id="rId8" Type="http://schemas.openxmlformats.org/officeDocument/2006/relationships/slideLayout" Target="../slideLayouts/slideLayout169.xml"/><Relationship Id="rId33" Type="http://schemas.openxmlformats.org/officeDocument/2006/relationships/image" Target="../media/image1.emf"/><Relationship Id="rId10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2.xml"/><Relationship Id="rId12" Type="http://schemas.openxmlformats.org/officeDocument/2006/relationships/slideLayout" Target="../slideLayouts/slideLayout173.xml"/><Relationship Id="rId13" Type="http://schemas.openxmlformats.org/officeDocument/2006/relationships/slideLayout" Target="../slideLayouts/slideLayout174.xml"/><Relationship Id="rId14" Type="http://schemas.openxmlformats.org/officeDocument/2006/relationships/slideLayout" Target="../slideLayouts/slideLayout175.xml"/><Relationship Id="rId15" Type="http://schemas.openxmlformats.org/officeDocument/2006/relationships/slideLayout" Target="../slideLayouts/slideLayout176.xml"/><Relationship Id="rId16" Type="http://schemas.openxmlformats.org/officeDocument/2006/relationships/slideLayout" Target="../slideLayouts/slideLayout177.xml"/><Relationship Id="rId17" Type="http://schemas.openxmlformats.org/officeDocument/2006/relationships/slideLayout" Target="../slideLayouts/slideLayout178.xml"/><Relationship Id="rId18" Type="http://schemas.openxmlformats.org/officeDocument/2006/relationships/slideLayout" Target="../slideLayouts/slideLayout179.xml"/><Relationship Id="rId19" Type="http://schemas.openxmlformats.org/officeDocument/2006/relationships/slideLayout" Target="../slideLayouts/slideLayout180.xml"/></Relationships>
</file>

<file path=ppt/slideMasters/_rels/slideMaster9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00.xml"/><Relationship Id="rId12" Type="http://schemas.openxmlformats.org/officeDocument/2006/relationships/theme" Target="../theme/theme9.xml"/><Relationship Id="rId1" Type="http://schemas.openxmlformats.org/officeDocument/2006/relationships/slideLayout" Target="../slideLayouts/slideLayout190.xml"/><Relationship Id="rId2" Type="http://schemas.openxmlformats.org/officeDocument/2006/relationships/slideLayout" Target="../slideLayouts/slideLayout191.xml"/><Relationship Id="rId3" Type="http://schemas.openxmlformats.org/officeDocument/2006/relationships/slideLayout" Target="../slideLayouts/slideLayout192.xml"/><Relationship Id="rId4" Type="http://schemas.openxmlformats.org/officeDocument/2006/relationships/slideLayout" Target="../slideLayouts/slideLayout193.xml"/><Relationship Id="rId5" Type="http://schemas.openxmlformats.org/officeDocument/2006/relationships/slideLayout" Target="../slideLayouts/slideLayout194.xml"/><Relationship Id="rId6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96.xml"/><Relationship Id="rId8" Type="http://schemas.openxmlformats.org/officeDocument/2006/relationships/slideLayout" Target="../slideLayouts/slideLayout197.xml"/><Relationship Id="rId9" Type="http://schemas.openxmlformats.org/officeDocument/2006/relationships/slideLayout" Target="../slideLayouts/slideLayout198.xml"/><Relationship Id="rId10" Type="http://schemas.openxmlformats.org/officeDocument/2006/relationships/slideLayout" Target="../slideLayouts/slideLayout1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455F9A-10B8-48A0-A670-4DAF4FCE3C5E}" type="datetimeFigureOut">
              <a:rPr lang="en-GB" smtClean="0"/>
              <a:t>22-12-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BE52CB-72DF-4CEA-9D3E-F3F83B8EA34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9277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4509" r:id="rId12"/>
    <p:sldLayoutId id="214748451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6800" y="1312223"/>
            <a:ext cx="8510400" cy="2955790"/>
          </a:xfrm>
          <a:prstGeom prst="rect">
            <a:avLst/>
          </a:prstGeom>
        </p:spPr>
        <p:txBody>
          <a:bodyPr vert="horz" lIns="0" tIns="0" rIns="21600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02315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6" r:id="rId1"/>
    <p:sldLayoutId id="2147484358" r:id="rId2"/>
    <p:sldLayoutId id="2147484359" r:id="rId3"/>
    <p:sldLayoutId id="2147484360" r:id="rId4"/>
    <p:sldLayoutId id="2147484361" r:id="rId5"/>
    <p:sldLayoutId id="2147484362" r:id="rId6"/>
    <p:sldLayoutId id="2147484363" r:id="rId7"/>
    <p:sldLayoutId id="2147484364" r:id="rId8"/>
    <p:sldLayoutId id="2147484365" r:id="rId9"/>
    <p:sldLayoutId id="2147484366" r:id="rId10"/>
    <p:sldLayoutId id="2147484367" r:id="rId11"/>
    <p:sldLayoutId id="2147484368" r:id="rId12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/>
  <p:txStyles>
    <p:titleStyle>
      <a:lvl1pPr algn="l" defTabSz="914378" rtl="0" eaLnBrk="1" latinLnBrk="0" hangingPunct="1"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65106" indent="-265106" algn="l" defTabSz="914378" rtl="0" eaLnBrk="1" latinLnBrk="0" hangingPunct="1">
        <a:spcBef>
          <a:spcPct val="20000"/>
        </a:spcBef>
        <a:buClr>
          <a:schemeClr val="accent1"/>
        </a:buClr>
        <a:buFont typeface="Verdana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536561" indent="-271457" algn="l" defTabSz="914378" rtl="0" eaLnBrk="1" latinLnBrk="0" hangingPunct="1">
        <a:spcBef>
          <a:spcPct val="20000"/>
        </a:spcBef>
        <a:buClr>
          <a:schemeClr val="tx2"/>
        </a:buClr>
        <a:buFont typeface="Verdana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808018" indent="-271457" algn="l" defTabSz="914378" rtl="0" eaLnBrk="1" latinLnBrk="0" hangingPunct="1">
        <a:spcBef>
          <a:spcPct val="20000"/>
        </a:spcBef>
        <a:buClr>
          <a:schemeClr val="accent5"/>
        </a:buClr>
        <a:buFont typeface="Verdana" pitchFamily="34" charset="0"/>
        <a:buChar char="•"/>
        <a:defRPr sz="1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985814" indent="-177796" algn="l" defTabSz="914378" rtl="0" eaLnBrk="1" latinLnBrk="0" hangingPunct="1">
        <a:spcBef>
          <a:spcPct val="20000"/>
        </a:spcBef>
        <a:buClr>
          <a:schemeClr val="accent3"/>
        </a:buClr>
        <a:buFont typeface="Verdana" pitchFamily="34" charset="0"/>
        <a:buChar char="•"/>
        <a:defRPr sz="12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1257269" indent="-184145" algn="l" defTabSz="914378" rtl="0" eaLnBrk="1" latinLnBrk="0" hangingPunct="1">
        <a:spcBef>
          <a:spcPct val="20000"/>
        </a:spcBef>
        <a:buClr>
          <a:srgbClr val="001423"/>
        </a:buClr>
        <a:buFont typeface="Verdana" pitchFamily="34" charset="0"/>
        <a:buChar char="•"/>
        <a:defRPr sz="11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392" userDrawn="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4822" y="105051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6800" y="1312223"/>
            <a:ext cx="8510400" cy="2955790"/>
          </a:xfrm>
          <a:prstGeom prst="rect">
            <a:avLst/>
          </a:prstGeom>
        </p:spPr>
        <p:txBody>
          <a:bodyPr vert="horz" lIns="0" tIns="0" rIns="216000" bIns="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2957" y="103908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82786F"/>
                </a:solidFill>
              </a:rPr>
              <a:t>Presentation title</a:t>
            </a: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7153" y="103908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smtClean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5794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4" r:id="rId1"/>
    <p:sldLayoutId id="2147484425" r:id="rId2"/>
    <p:sldLayoutId id="2147484426" r:id="rId3"/>
    <p:sldLayoutId id="2147484427" r:id="rId4"/>
    <p:sldLayoutId id="2147484428" r:id="rId5"/>
    <p:sldLayoutId id="2147484429" r:id="rId6"/>
    <p:sldLayoutId id="2147484430" r:id="rId7"/>
    <p:sldLayoutId id="2147484431" r:id="rId8"/>
    <p:sldLayoutId id="2147484432" r:id="rId9"/>
    <p:sldLayoutId id="2147484433" r:id="rId10"/>
    <p:sldLayoutId id="2147484434" r:id="rId11"/>
    <p:sldLayoutId id="2147484435" r:id="rId12"/>
    <p:sldLayoutId id="2147484436" r:id="rId13"/>
    <p:sldLayoutId id="2147484437" r:id="rId14"/>
    <p:sldLayoutId id="2147484438" r:id="rId15"/>
    <p:sldLayoutId id="2147484439" r:id="rId16"/>
    <p:sldLayoutId id="2147484440" r:id="rId17"/>
    <p:sldLayoutId id="2147484441" r:id="rId18"/>
    <p:sldLayoutId id="2147484442" r:id="rId19"/>
    <p:sldLayoutId id="2147484443" r:id="rId20"/>
    <p:sldLayoutId id="2147484444" r:id="rId21"/>
    <p:sldLayoutId id="2147484445" r:id="rId22"/>
    <p:sldLayoutId id="2147484446" r:id="rId23"/>
    <p:sldLayoutId id="2147484447" r:id="rId24"/>
    <p:sldLayoutId id="2147484448" r:id="rId25"/>
    <p:sldLayoutId id="2147484449" r:id="rId26"/>
    <p:sldLayoutId id="2147484450" r:id="rId27"/>
    <p:sldLayoutId id="2147484451" r:id="rId28"/>
    <p:sldLayoutId id="2147484452" r:id="rId29"/>
    <p:sldLayoutId id="2147484453" r:id="rId30"/>
    <p:sldLayoutId id="2147484454" r:id="rId31"/>
    <p:sldLayoutId id="2147484455" r:id="rId32"/>
    <p:sldLayoutId id="2147484456" r:id="rId33"/>
    <p:sldLayoutId id="2147484457" r:id="rId34"/>
    <p:sldLayoutId id="2147484458" r:id="rId35"/>
    <p:sldLayoutId id="2147484459" r:id="rId36"/>
    <p:sldLayoutId id="2147484460" r:id="rId37"/>
    <p:sldLayoutId id="2147484461" r:id="rId38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spcBef>
          <a:spcPct val="20000"/>
        </a:spcBef>
        <a:buClr>
          <a:schemeClr val="accent1"/>
        </a:buClr>
        <a:buFont typeface="Verdana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536575" indent="-271463" algn="l" defTabSz="914400" rtl="0" eaLnBrk="1" latinLnBrk="0" hangingPunct="1">
        <a:spcBef>
          <a:spcPct val="20000"/>
        </a:spcBef>
        <a:buClr>
          <a:schemeClr val="tx2"/>
        </a:buClr>
        <a:buFont typeface="Verdana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808038" indent="-271463" algn="l" defTabSz="914400" rtl="0" eaLnBrk="1" latinLnBrk="0" hangingPunct="1">
        <a:spcBef>
          <a:spcPct val="20000"/>
        </a:spcBef>
        <a:buClr>
          <a:schemeClr val="accent5"/>
        </a:buClr>
        <a:buFont typeface="Verdana" pitchFamily="34" charset="0"/>
        <a:buChar char="•"/>
        <a:defRPr sz="1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spcBef>
          <a:spcPct val="20000"/>
        </a:spcBef>
        <a:buClr>
          <a:schemeClr val="accent3"/>
        </a:buClr>
        <a:buFont typeface="Verdana" pitchFamily="34" charset="0"/>
        <a:buChar char="•"/>
        <a:defRPr sz="12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1257300" indent="-184150" algn="l" defTabSz="914400" rtl="0" eaLnBrk="1" latinLnBrk="0" hangingPunct="1">
        <a:spcBef>
          <a:spcPct val="20000"/>
        </a:spcBef>
        <a:buClr>
          <a:srgbClr val="001423"/>
        </a:buClr>
        <a:buFont typeface="Verdana" pitchFamily="34" charset="0"/>
        <a:buChar char="•"/>
        <a:defRPr sz="11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7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17500" y="1312863"/>
            <a:ext cx="8509000" cy="295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216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317500" y="515938"/>
            <a:ext cx="85090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4132046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5" r:id="rId1"/>
    <p:sldLayoutId id="2147484506" r:id="rId2"/>
    <p:sldLayoutId id="2147484507" r:id="rId3"/>
  </p:sldLayoutIdLst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9pPr>
    </p:titleStyle>
    <p:bodyStyle>
      <a:lvl1pPr marL="265113" indent="-265113" algn="l" rtl="0" fontAlgn="base">
        <a:spcBef>
          <a:spcPct val="20000"/>
        </a:spcBef>
        <a:spcAft>
          <a:spcPts val="300"/>
        </a:spcAft>
        <a:buClr>
          <a:schemeClr val="accent1"/>
        </a:buClr>
        <a:buFont typeface="Verdana" pitchFamily="34" charset="0"/>
        <a:buChar char="•"/>
        <a:defRPr kern="1200">
          <a:solidFill>
            <a:schemeClr val="accent2"/>
          </a:solidFill>
          <a:latin typeface="+mn-lt"/>
          <a:ea typeface="+mn-ea"/>
          <a:cs typeface="+mn-cs"/>
        </a:defRPr>
      </a:lvl1pPr>
      <a:lvl2pPr marL="536575" indent="-271463" algn="l" rtl="0" fontAlgn="base">
        <a:spcBef>
          <a:spcPct val="20000"/>
        </a:spcBef>
        <a:spcAft>
          <a:spcPts val="300"/>
        </a:spcAft>
        <a:buClr>
          <a:schemeClr val="tx2"/>
        </a:buClr>
        <a:buFont typeface="Verdana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808038" indent="-271463" algn="l" rtl="0" fontAlgn="base">
        <a:spcBef>
          <a:spcPct val="20000"/>
        </a:spcBef>
        <a:spcAft>
          <a:spcPts val="300"/>
        </a:spcAft>
        <a:buClr>
          <a:srgbClr val="E64A0E"/>
        </a:buClr>
        <a:buFont typeface="Verdana" pitchFamily="34" charset="0"/>
        <a:buChar char="•"/>
        <a:defRPr sz="1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985838" indent="-177800" algn="l" rtl="0" fontAlgn="base">
        <a:spcBef>
          <a:spcPct val="20000"/>
        </a:spcBef>
        <a:spcAft>
          <a:spcPts val="300"/>
        </a:spcAft>
        <a:buClr>
          <a:srgbClr val="82786F"/>
        </a:buClr>
        <a:buFont typeface="Verdana" pitchFamily="34" charset="0"/>
        <a:buChar char="•"/>
        <a:defRPr sz="12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1257300" indent="-184150" algn="l" rtl="0" fontAlgn="base">
        <a:spcBef>
          <a:spcPct val="20000"/>
        </a:spcBef>
        <a:spcAft>
          <a:spcPts val="300"/>
        </a:spcAft>
        <a:buClr>
          <a:srgbClr val="001423"/>
        </a:buClr>
        <a:buFont typeface="Verdana" pitchFamily="34" charset="0"/>
        <a:buChar char="•"/>
        <a:defRPr sz="11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3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2" name="think-cell Slide" r:id="rId34" imgW="360" imgH="360" progId="TCLayout.ActiveDocument.1">
                  <p:embed/>
                </p:oleObj>
              </mc:Choice>
              <mc:Fallback>
                <p:oleObj name="think-cell Slide" r:id="rId3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5351" y="104776"/>
            <a:ext cx="311150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5398">
              <a:defRPr sz="600">
                <a:solidFill>
                  <a:srgbClr val="82786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3AB327F-C316-4F74-952E-B467875A52A6}" type="slidenum">
              <a:rPr lang="en-GB" altLang="en-US"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GB" altLang="en-US" dirty="0">
              <a:cs typeface="Arial" panose="020B0604020202020204" pitchFamily="34" charset="0"/>
            </a:endParaRP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17502" y="1312899"/>
            <a:ext cx="8509000" cy="295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215756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GB" altLang="en-US" smtClean="0"/>
          </a:p>
        </p:txBody>
      </p:sp>
      <p:sp>
        <p:nvSpPr>
          <p:cNvPr id="1029" name="Title Placeholder 1"/>
          <p:cNvSpPr>
            <a:spLocks noGrp="1"/>
          </p:cNvSpPr>
          <p:nvPr>
            <p:ph type="title"/>
          </p:nvPr>
        </p:nvSpPr>
        <p:spPr bwMode="auto">
          <a:xfrm>
            <a:off x="317502" y="515939"/>
            <a:ext cx="85090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540" y="103189"/>
            <a:ext cx="2900362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997" eaLnBrk="1" fontAlgn="auto" hangingPunct="1">
              <a:spcBef>
                <a:spcPct val="0"/>
              </a:spcBef>
              <a:spcAft>
                <a:spcPts val="0"/>
              </a:spcAft>
              <a:defRPr sz="600" b="0">
                <a:solidFill>
                  <a:srgbClr val="82786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 dirty="0"/>
              <a:t>Clinical trial design and results template</a:t>
            </a: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6613" y="103189"/>
            <a:ext cx="1201737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997" eaLnBrk="1" fontAlgn="auto" hangingPunct="1">
              <a:spcBef>
                <a:spcPct val="0"/>
              </a:spcBef>
              <a:spcAft>
                <a:spcPts val="0"/>
              </a:spcAft>
              <a:defRPr sz="600" b="0">
                <a:solidFill>
                  <a:srgbClr val="82786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1769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7" r:id="rId22"/>
    <p:sldLayoutId id="2147483718" r:id="rId23"/>
    <p:sldLayoutId id="2147483719" r:id="rId24"/>
    <p:sldLayoutId id="2147483720" r:id="rId25"/>
    <p:sldLayoutId id="2147483721" r:id="rId26"/>
    <p:sldLayoutId id="2147483722" r:id="rId27"/>
    <p:sldLayoutId id="2147483723" r:id="rId28"/>
    <p:sldLayoutId id="2147483724" r:id="rId29"/>
    <p:sldLayoutId id="2147483725" r:id="rId30"/>
  </p:sldLayoutIdLst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5pPr>
      <a:lvl6pPr marL="456698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6pPr>
      <a:lvl7pPr marL="913454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7pPr>
      <a:lvl8pPr marL="1370172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8pPr>
      <a:lvl9pPr marL="1826909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9pPr>
    </p:titleStyle>
    <p:bodyStyle>
      <a:lvl1pPr marL="263279" indent="-263279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Verdana" panose="020B0604030504040204" pitchFamily="34" charset="0"/>
        <a:buChar char="•"/>
        <a:defRPr kern="1200">
          <a:solidFill>
            <a:schemeClr val="accent2"/>
          </a:solidFill>
          <a:latin typeface="+mn-lt"/>
          <a:ea typeface="+mn-ea"/>
          <a:cs typeface="+mn-cs"/>
        </a:defRPr>
      </a:lvl1pPr>
      <a:lvl2pPr marL="534455" indent="-269627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Verdana" panose="020B0604030504040204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805630" indent="-269627" algn="l" rtl="0" eaLnBrk="0" fontAlgn="base" hangingPunct="0">
        <a:spcBef>
          <a:spcPct val="20000"/>
        </a:spcBef>
        <a:spcAft>
          <a:spcPct val="0"/>
        </a:spcAft>
        <a:buClr>
          <a:srgbClr val="E64A0E"/>
        </a:buClr>
        <a:buFont typeface="Verdana" panose="020B0604030504040204" pitchFamily="34" charset="0"/>
        <a:buChar char="•"/>
        <a:defRPr sz="1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983266" indent="-176029" algn="l" rtl="0" eaLnBrk="0" fontAlgn="base" hangingPunct="0">
        <a:spcBef>
          <a:spcPct val="20000"/>
        </a:spcBef>
        <a:spcAft>
          <a:spcPct val="0"/>
        </a:spcAft>
        <a:buClr>
          <a:srgbClr val="82786F"/>
        </a:buClr>
        <a:buFont typeface="Verdana" panose="020B0604030504040204" pitchFamily="34" charset="0"/>
        <a:buChar char="•"/>
        <a:defRPr sz="12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1254431" indent="-182378" algn="l" rtl="0" eaLnBrk="0" fontAlgn="base" hangingPunct="0">
        <a:spcBef>
          <a:spcPct val="20000"/>
        </a:spcBef>
        <a:spcAft>
          <a:spcPct val="0"/>
        </a:spcAft>
        <a:buClr>
          <a:srgbClr val="001423"/>
        </a:buClr>
        <a:buFont typeface="Verdana" panose="020B0604030504040204" pitchFamily="34" charset="0"/>
        <a:buChar char="•"/>
        <a:defRPr sz="11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1954" indent="-228348" algn="l" defTabSz="9134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692" indent="-228348" algn="l" defTabSz="9134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408" indent="-228348" algn="l" defTabSz="9134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2126" indent="-228348" algn="l" defTabSz="9134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98" algn="l" defTabSz="913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454" algn="l" defTabSz="913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172" algn="l" defTabSz="913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909" algn="l" defTabSz="913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606" algn="l" defTabSz="913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304" algn="l" defTabSz="913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040" algn="l" defTabSz="913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764" algn="l" defTabSz="913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455F9A-10B8-48A0-A670-4DAF4FCE3C5E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2-12-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BE52CB-72DF-4CEA-9D3E-F3F83B8EA345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7162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6800" y="1312224"/>
            <a:ext cx="8510400" cy="2955790"/>
          </a:xfrm>
          <a:prstGeom prst="rect">
            <a:avLst/>
          </a:prstGeom>
        </p:spPr>
        <p:txBody>
          <a:bodyPr vert="horz" lIns="0" tIns="0" rIns="215672" bIns="0" rtlCol="0">
            <a:norm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71105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  <p:sldLayoutId id="2147483841" r:id="rId13"/>
    <p:sldLayoutId id="2147483842" r:id="rId14"/>
    <p:sldLayoutId id="2147483843" r:id="rId15"/>
    <p:sldLayoutId id="2147483844" r:id="rId16"/>
    <p:sldLayoutId id="2147483845" r:id="rId17"/>
    <p:sldLayoutId id="2147483846" r:id="rId18"/>
    <p:sldLayoutId id="2147483847" r:id="rId19"/>
    <p:sldLayoutId id="2147483848" r:id="rId20"/>
    <p:sldLayoutId id="2147483849" r:id="rId21"/>
    <p:sldLayoutId id="2147483850" r:id="rId22"/>
    <p:sldLayoutId id="2147483851" r:id="rId23"/>
    <p:sldLayoutId id="2147483852" r:id="rId24"/>
    <p:sldLayoutId id="2147483853" r:id="rId25"/>
    <p:sldLayoutId id="2147483854" r:id="rId26"/>
    <p:sldLayoutId id="2147483855" r:id="rId27"/>
    <p:sldLayoutId id="2147483856" r:id="rId28"/>
    <p:sldLayoutId id="2147483857" r:id="rId29"/>
    <p:sldLayoutId id="2147483859" r:id="rId30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  <p:hf sldNum="0" hdr="0"/>
  <p:txStyles>
    <p:titleStyle>
      <a:lvl1pPr algn="l" defTabSz="913163" rtl="0" eaLnBrk="1" latinLnBrk="0" hangingPunct="1"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64782" indent="-264782" algn="l" defTabSz="913163" rtl="0" eaLnBrk="1" latinLnBrk="0" hangingPunct="1">
        <a:spcBef>
          <a:spcPct val="20000"/>
        </a:spcBef>
        <a:buClr>
          <a:schemeClr val="accent1"/>
        </a:buClr>
        <a:buFont typeface="Verdana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535832" indent="-271133" algn="l" defTabSz="913163" rtl="0" eaLnBrk="1" latinLnBrk="0" hangingPunct="1">
        <a:spcBef>
          <a:spcPct val="20000"/>
        </a:spcBef>
        <a:buClr>
          <a:schemeClr val="tx2"/>
        </a:buClr>
        <a:buFont typeface="Verdana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806938" indent="-271133" algn="l" defTabSz="913163" rtl="0" eaLnBrk="1" latinLnBrk="0" hangingPunct="1">
        <a:spcBef>
          <a:spcPct val="20000"/>
        </a:spcBef>
        <a:buClr>
          <a:schemeClr val="accent5"/>
        </a:buClr>
        <a:buFont typeface="Verdana" pitchFamily="34" charset="0"/>
        <a:buChar char="•"/>
        <a:defRPr sz="1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984518" indent="-177553" algn="l" defTabSz="913163" rtl="0" eaLnBrk="1" latinLnBrk="0" hangingPunct="1">
        <a:spcBef>
          <a:spcPct val="20000"/>
        </a:spcBef>
        <a:buClr>
          <a:schemeClr val="accent3"/>
        </a:buClr>
        <a:buFont typeface="Verdana" pitchFamily="34" charset="0"/>
        <a:buChar char="•"/>
        <a:defRPr sz="12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1255568" indent="-183902" algn="l" defTabSz="913163" rtl="0" eaLnBrk="1" latinLnBrk="0" hangingPunct="1">
        <a:spcBef>
          <a:spcPct val="20000"/>
        </a:spcBef>
        <a:buClr>
          <a:srgbClr val="001423"/>
        </a:buClr>
        <a:buFont typeface="Verdana" pitchFamily="34" charset="0"/>
        <a:buChar char="•"/>
        <a:defRPr sz="11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1135" indent="-228270" algn="l" defTabSz="9131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7730" indent="-228270" algn="l" defTabSz="9131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4298" indent="-228270" algn="l" defTabSz="9131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0865" indent="-228270" algn="l" defTabSz="9131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1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42" algn="l" defTabSz="9131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163" algn="l" defTabSz="9131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730" algn="l" defTabSz="9131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324" algn="l" defTabSz="9131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865" algn="l" defTabSz="9131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407" algn="l" defTabSz="9131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000" algn="l" defTabSz="9131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581" algn="l" defTabSz="9131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6800" y="1312224"/>
            <a:ext cx="8510400" cy="2955790"/>
          </a:xfrm>
          <a:prstGeom prst="rect">
            <a:avLst/>
          </a:prstGeom>
        </p:spPr>
        <p:txBody>
          <a:bodyPr vert="horz" lIns="0" tIns="0" rIns="161956" bIns="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84953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  <p:sldLayoutId id="2147483873" r:id="rId13"/>
    <p:sldLayoutId id="2147483874" r:id="rId14"/>
    <p:sldLayoutId id="2147483875" r:id="rId15"/>
    <p:sldLayoutId id="2147483876" r:id="rId16"/>
    <p:sldLayoutId id="2147483877" r:id="rId17"/>
    <p:sldLayoutId id="2147483878" r:id="rId18"/>
    <p:sldLayoutId id="2147483879" r:id="rId19"/>
    <p:sldLayoutId id="2147483880" r:id="rId20"/>
    <p:sldLayoutId id="2147483881" r:id="rId21"/>
    <p:sldLayoutId id="2147483882" r:id="rId22"/>
    <p:sldLayoutId id="2147483883" r:id="rId23"/>
    <p:sldLayoutId id="2147483884" r:id="rId24"/>
    <p:sldLayoutId id="2147483885" r:id="rId25"/>
    <p:sldLayoutId id="2147483886" r:id="rId26"/>
    <p:sldLayoutId id="2147483887" r:id="rId27"/>
    <p:sldLayoutId id="2147483890" r:id="rId28"/>
    <p:sldLayoutId id="2147483891" r:id="rId29"/>
    <p:sldLayoutId id="2147483892" r:id="rId30"/>
    <p:sldLayoutId id="2147483893" r:id="rId31"/>
    <p:sldLayoutId id="2147483894" r:id="rId32"/>
    <p:sldLayoutId id="2147483895" r:id="rId33"/>
    <p:sldLayoutId id="2147483896" r:id="rId34"/>
    <p:sldLayoutId id="2147483897" r:id="rId35"/>
    <p:sldLayoutId id="2147483898" r:id="rId36"/>
    <p:sldLayoutId id="2147483899" r:id="rId37"/>
    <p:sldLayoutId id="2147483900" r:id="rId38"/>
    <p:sldLayoutId id="2147483901" r:id="rId39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defTabSz="914130" rtl="0" eaLnBrk="1" latinLnBrk="0" hangingPunct="1"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65040" indent="-265040" algn="l" defTabSz="914130" rtl="0" eaLnBrk="1" latinLnBrk="0" hangingPunct="1">
        <a:spcBef>
          <a:spcPct val="20000"/>
        </a:spcBef>
        <a:buClr>
          <a:schemeClr val="accent1"/>
        </a:buClr>
        <a:buFont typeface="Verdana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536413" indent="-271391" algn="l" defTabSz="914130" rtl="0" eaLnBrk="1" latinLnBrk="0" hangingPunct="1">
        <a:spcBef>
          <a:spcPct val="20000"/>
        </a:spcBef>
        <a:buClr>
          <a:schemeClr val="tx2"/>
        </a:buClr>
        <a:buFont typeface="Verdana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807798" indent="-271391" algn="l" defTabSz="914130" rtl="0" eaLnBrk="1" latinLnBrk="0" hangingPunct="1">
        <a:spcBef>
          <a:spcPct val="20000"/>
        </a:spcBef>
        <a:buClr>
          <a:schemeClr val="accent5"/>
        </a:buClr>
        <a:buFont typeface="Verdana" pitchFamily="34" charset="0"/>
        <a:buChar char="•"/>
        <a:defRPr sz="1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985550" indent="-177746" algn="l" defTabSz="914130" rtl="0" eaLnBrk="1" latinLnBrk="0" hangingPunct="1">
        <a:spcBef>
          <a:spcPct val="20000"/>
        </a:spcBef>
        <a:buClr>
          <a:schemeClr val="accent3"/>
        </a:buClr>
        <a:buFont typeface="Verdana" pitchFamily="34" charset="0"/>
        <a:buChar char="•"/>
        <a:defRPr sz="12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1256923" indent="-184096" algn="l" defTabSz="914130" rtl="0" eaLnBrk="1" latinLnBrk="0" hangingPunct="1">
        <a:spcBef>
          <a:spcPct val="20000"/>
        </a:spcBef>
        <a:buClr>
          <a:srgbClr val="001423"/>
        </a:buClr>
        <a:buFont typeface="Verdana" pitchFamily="34" charset="0"/>
        <a:buChar char="•"/>
        <a:defRPr sz="11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3844" indent="-228528" algn="l" defTabSz="9141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12" indent="-228528" algn="l" defTabSz="9141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4" indent="-228528" algn="l" defTabSz="9141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6" indent="-228528" algn="l" defTabSz="9141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30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92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9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6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4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34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5351" y="104776"/>
            <a:ext cx="311150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646" eaLnBrk="1" fontAlgn="auto" hangingPunct="1">
              <a:spcBef>
                <a:spcPts val="0"/>
              </a:spcBef>
              <a:spcAft>
                <a:spcPts val="0"/>
              </a:spcAft>
              <a:defRPr sz="600" b="0" smtClean="0">
                <a:solidFill>
                  <a:srgbClr val="82786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1398BE7-5B78-41C6-B602-72434BBFCFD2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17502" y="1312874"/>
            <a:ext cx="8509000" cy="295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215936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317502" y="515938"/>
            <a:ext cx="85090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540" y="103189"/>
            <a:ext cx="2900362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r" defTabSz="878679" eaLnBrk="1" fontAlgn="auto" hangingPunct="1">
              <a:spcBef>
                <a:spcPct val="0"/>
              </a:spcBef>
              <a:spcAft>
                <a:spcPts val="0"/>
              </a:spcAft>
              <a:buNone/>
              <a:defRPr sz="600" b="0" dirty="0" smtClean="0">
                <a:solidFill>
                  <a:srgbClr val="82786F"/>
                </a:solidFill>
                <a:latin typeface="+mn-lt"/>
                <a:cs typeface="+mn-cs"/>
              </a:defRPr>
            </a:lvl1pPr>
          </a:lstStyle>
          <a:p>
            <a:r>
              <a:rPr lang="en-GB"/>
              <a:t>Marso </a:t>
            </a:r>
            <a:r>
              <a:rPr lang="en-GB" i="1"/>
              <a:t>et al. NEJM</a:t>
            </a:r>
            <a:r>
              <a:rPr lang="en-GB"/>
              <a:t> [in press]</a:t>
            </a:r>
            <a:endParaRPr lang="en-GB" i="1"/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6613" y="103189"/>
            <a:ext cx="1201737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679" eaLnBrk="1" fontAlgn="auto" hangingPunct="1">
              <a:spcBef>
                <a:spcPct val="0"/>
              </a:spcBef>
              <a:spcAft>
                <a:spcPts val="0"/>
              </a:spcAft>
              <a:defRPr sz="600" b="0" smtClean="0">
                <a:solidFill>
                  <a:srgbClr val="82786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6963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3" r:id="rId3"/>
    <p:sldLayoutId id="2147483944" r:id="rId4"/>
    <p:sldLayoutId id="2147483945" r:id="rId5"/>
    <p:sldLayoutId id="2147483946" r:id="rId6"/>
    <p:sldLayoutId id="2147483947" r:id="rId7"/>
    <p:sldLayoutId id="2147483948" r:id="rId8"/>
    <p:sldLayoutId id="2147483949" r:id="rId9"/>
    <p:sldLayoutId id="2147483950" r:id="rId10"/>
    <p:sldLayoutId id="2147483951" r:id="rId11"/>
    <p:sldLayoutId id="2147483952" r:id="rId12"/>
    <p:sldLayoutId id="2147483953" r:id="rId13"/>
    <p:sldLayoutId id="2147483954" r:id="rId14"/>
    <p:sldLayoutId id="2147483955" r:id="rId15"/>
    <p:sldLayoutId id="2147483956" r:id="rId16"/>
    <p:sldLayoutId id="2147483957" r:id="rId17"/>
    <p:sldLayoutId id="2147483958" r:id="rId18"/>
    <p:sldLayoutId id="2147483959" r:id="rId19"/>
  </p:sldLayoutIdLst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5pPr>
      <a:lvl6pPr marL="45707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6pPr>
      <a:lvl7pPr marL="914153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7pPr>
      <a:lvl8pPr marL="1371226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8pPr>
      <a:lvl9pPr marL="1828304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9pPr>
    </p:titleStyle>
    <p:bodyStyle>
      <a:lvl1pPr marL="265046" indent="-265046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kern="1200">
          <a:solidFill>
            <a:schemeClr val="accent2"/>
          </a:solidFill>
          <a:latin typeface="+mn-lt"/>
          <a:ea typeface="+mn-ea"/>
          <a:cs typeface="+mn-cs"/>
        </a:defRPr>
      </a:lvl1pPr>
      <a:lvl2pPr marL="536426" indent="-271397" algn="l" rtl="0" fontAlgn="base">
        <a:spcBef>
          <a:spcPct val="2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807818" indent="-271397" algn="l" rtl="0" fontAlgn="base">
        <a:spcBef>
          <a:spcPct val="20000"/>
        </a:spcBef>
        <a:spcAft>
          <a:spcPct val="0"/>
        </a:spcAft>
        <a:buClr>
          <a:srgbClr val="E64A0E"/>
        </a:buClr>
        <a:buFont typeface="Verdana" pitchFamily="34" charset="0"/>
        <a:buChar char="•"/>
        <a:defRPr sz="1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985574" indent="-177751" algn="l" rtl="0" fontAlgn="base">
        <a:spcBef>
          <a:spcPct val="20000"/>
        </a:spcBef>
        <a:spcAft>
          <a:spcPct val="0"/>
        </a:spcAft>
        <a:buClr>
          <a:srgbClr val="82786F"/>
        </a:buClr>
        <a:buFont typeface="Verdana" pitchFamily="34" charset="0"/>
        <a:buChar char="•"/>
        <a:defRPr sz="12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1256954" indent="-184100" algn="l" rtl="0" fontAlgn="base">
        <a:spcBef>
          <a:spcPct val="20000"/>
        </a:spcBef>
        <a:spcAft>
          <a:spcPct val="0"/>
        </a:spcAft>
        <a:buClr>
          <a:srgbClr val="001423"/>
        </a:buClr>
        <a:buFont typeface="Verdana" pitchFamily="34" charset="0"/>
        <a:buChar char="•"/>
        <a:defRPr sz="11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3907" indent="-228534" algn="l" defTabSz="9141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86" indent="-228534" algn="l" defTabSz="9141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060" indent="-228534" algn="l" defTabSz="9141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133" indent="-228534" algn="l" defTabSz="9141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70" algn="l" defTabSz="9141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53" algn="l" defTabSz="9141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26" algn="l" defTabSz="9141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04" algn="l" defTabSz="9141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73" algn="l" defTabSz="9141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443" algn="l" defTabSz="9141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20" algn="l" defTabSz="9141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94" algn="l" defTabSz="9141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58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5351" y="104776"/>
            <a:ext cx="311150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778" eaLnBrk="1" fontAlgn="auto" hangingPunct="1">
              <a:spcBef>
                <a:spcPts val="0"/>
              </a:spcBef>
              <a:spcAft>
                <a:spcPts val="0"/>
              </a:spcAft>
              <a:defRPr sz="600" b="0" smtClean="0">
                <a:solidFill>
                  <a:srgbClr val="82786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1398BE7-5B78-41C6-B602-72434BBFCFD2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17502" y="1312868"/>
            <a:ext cx="8509000" cy="295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215972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317502" y="515938"/>
            <a:ext cx="85090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540" y="103189"/>
            <a:ext cx="2900362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r" defTabSz="878811" eaLnBrk="1" fontAlgn="auto" hangingPunct="1">
              <a:spcBef>
                <a:spcPct val="0"/>
              </a:spcBef>
              <a:spcAft>
                <a:spcPts val="0"/>
              </a:spcAft>
              <a:buNone/>
              <a:defRPr sz="600" b="0" dirty="0" smtClean="0">
                <a:solidFill>
                  <a:srgbClr val="82786F"/>
                </a:solidFill>
                <a:latin typeface="+mn-lt"/>
                <a:cs typeface="+mn-cs"/>
              </a:defRPr>
            </a:lvl1pPr>
          </a:lstStyle>
          <a:p>
            <a:r>
              <a:rPr lang="en-GB"/>
              <a:t>Marso </a:t>
            </a:r>
            <a:r>
              <a:rPr lang="en-GB" i="1"/>
              <a:t>et al. NEJM</a:t>
            </a:r>
            <a:r>
              <a:rPr lang="en-GB"/>
              <a:t> [in press]</a:t>
            </a:r>
            <a:endParaRPr lang="en-GB" i="1"/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6613" y="103189"/>
            <a:ext cx="1201737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811" eaLnBrk="1" fontAlgn="auto" hangingPunct="1">
              <a:spcBef>
                <a:spcPct val="0"/>
              </a:spcBef>
              <a:spcAft>
                <a:spcPts val="0"/>
              </a:spcAft>
              <a:defRPr sz="600" b="0" smtClean="0">
                <a:solidFill>
                  <a:srgbClr val="82786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0805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64" r:id="rId4"/>
    <p:sldLayoutId id="2147483965" r:id="rId5"/>
    <p:sldLayoutId id="2147483966" r:id="rId6"/>
    <p:sldLayoutId id="2147483967" r:id="rId7"/>
    <p:sldLayoutId id="2147483968" r:id="rId8"/>
    <p:sldLayoutId id="2147483969" r:id="rId9"/>
    <p:sldLayoutId id="2147483970" r:id="rId10"/>
    <p:sldLayoutId id="2147483971" r:id="rId11"/>
    <p:sldLayoutId id="2147483972" r:id="rId12"/>
    <p:sldLayoutId id="2147483973" r:id="rId13"/>
    <p:sldLayoutId id="2147483974" r:id="rId14"/>
    <p:sldLayoutId id="2147483975" r:id="rId15"/>
    <p:sldLayoutId id="2147483976" r:id="rId16"/>
    <p:sldLayoutId id="2147483977" r:id="rId17"/>
    <p:sldLayoutId id="2147483978" r:id="rId18"/>
    <p:sldLayoutId id="2147483979" r:id="rId19"/>
  </p:sldLayoutIdLst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5pPr>
      <a:lvl6pPr marL="457142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6pPr>
      <a:lvl7pPr marL="914288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7pPr>
      <a:lvl8pPr marL="137143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8pPr>
      <a:lvl9pPr marL="1828574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9pPr>
    </p:titleStyle>
    <p:bodyStyle>
      <a:lvl1pPr marL="265082" indent="-265082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kern="1200">
          <a:solidFill>
            <a:schemeClr val="accent2"/>
          </a:solidFill>
          <a:latin typeface="+mn-lt"/>
          <a:ea typeface="+mn-ea"/>
          <a:cs typeface="+mn-cs"/>
        </a:defRPr>
      </a:lvl1pPr>
      <a:lvl2pPr marL="536507" indent="-271433" algn="l" rtl="0" fontAlgn="base">
        <a:spcBef>
          <a:spcPct val="2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807938" indent="-271433" algn="l" rtl="0" fontAlgn="base">
        <a:spcBef>
          <a:spcPct val="20000"/>
        </a:spcBef>
        <a:spcAft>
          <a:spcPct val="0"/>
        </a:spcAft>
        <a:buClr>
          <a:srgbClr val="E64A0E"/>
        </a:buClr>
        <a:buFont typeface="Verdana" pitchFamily="34" charset="0"/>
        <a:buChar char="•"/>
        <a:defRPr sz="1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985718" indent="-177778" algn="l" rtl="0" fontAlgn="base">
        <a:spcBef>
          <a:spcPct val="20000"/>
        </a:spcBef>
        <a:spcAft>
          <a:spcPct val="0"/>
        </a:spcAft>
        <a:buClr>
          <a:srgbClr val="82786F"/>
        </a:buClr>
        <a:buFont typeface="Verdana" pitchFamily="34" charset="0"/>
        <a:buChar char="•"/>
        <a:defRPr sz="12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1257143" indent="-184127" algn="l" rtl="0" fontAlgn="base">
        <a:spcBef>
          <a:spcPct val="20000"/>
        </a:spcBef>
        <a:spcAft>
          <a:spcPct val="0"/>
        </a:spcAft>
        <a:buClr>
          <a:srgbClr val="001423"/>
        </a:buClr>
        <a:buFont typeface="Verdana" pitchFamily="34" charset="0"/>
        <a:buChar char="•"/>
        <a:defRPr sz="11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285" indent="-228570" algn="l" defTabSz="9142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30" indent="-228570" algn="l" defTabSz="9142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73" indent="-228570" algn="l" defTabSz="9142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15" indent="-228570" algn="l" defTabSz="9142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2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8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0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74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15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57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0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43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1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94"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5351" y="104776"/>
            <a:ext cx="311150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66" eaLnBrk="1" fontAlgn="auto" hangingPunct="1">
              <a:spcBef>
                <a:spcPts val="0"/>
              </a:spcBef>
              <a:spcAft>
                <a:spcPts val="0"/>
              </a:spcAft>
              <a:defRPr sz="600" b="0" smtClean="0">
                <a:solidFill>
                  <a:schemeClr val="accent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1398BE7-5B78-41C6-B602-72434BBFCFD2}" type="slidenum">
              <a:rPr lang="en-GB">
                <a:solidFill>
                  <a:srgbClr val="82786F"/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17501" y="1312864"/>
            <a:ext cx="8509000" cy="295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216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317501" y="515939"/>
            <a:ext cx="85090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3539" y="103189"/>
            <a:ext cx="2900362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899" eaLnBrk="1" fontAlgn="auto" hangingPunct="1">
              <a:spcBef>
                <a:spcPct val="0"/>
              </a:spcBef>
              <a:spcAft>
                <a:spcPts val="0"/>
              </a:spcAft>
              <a:defRPr sz="600" b="0" dirty="0" smtClean="0">
                <a:solidFill>
                  <a:schemeClr val="accent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Clinical trial design and results template</a:t>
            </a: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86613" y="103189"/>
            <a:ext cx="1201737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899" eaLnBrk="1" fontAlgn="auto" hangingPunct="1">
              <a:spcBef>
                <a:spcPct val="0"/>
              </a:spcBef>
              <a:spcAft>
                <a:spcPts val="0"/>
              </a:spcAft>
              <a:defRPr sz="600" b="0" smtClean="0">
                <a:solidFill>
                  <a:schemeClr val="accent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82786F"/>
                </a:solidFill>
              </a:rPr>
              <a:t>Date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8044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0" r:id="rId1"/>
    <p:sldLayoutId id="2147484141" r:id="rId2"/>
    <p:sldLayoutId id="2147484142" r:id="rId3"/>
    <p:sldLayoutId id="2147484143" r:id="rId4"/>
    <p:sldLayoutId id="2147484144" r:id="rId5"/>
    <p:sldLayoutId id="2147484145" r:id="rId6"/>
    <p:sldLayoutId id="2147484146" r:id="rId7"/>
    <p:sldLayoutId id="2147484147" r:id="rId8"/>
    <p:sldLayoutId id="2147484148" r:id="rId9"/>
    <p:sldLayoutId id="2147484149" r:id="rId10"/>
    <p:sldLayoutId id="2147484150" r:id="rId11"/>
    <p:sldLayoutId id="2147484151" r:id="rId12"/>
    <p:sldLayoutId id="2147484152" r:id="rId13"/>
    <p:sldLayoutId id="2147484153" r:id="rId14"/>
    <p:sldLayoutId id="2147484154" r:id="rId15"/>
    <p:sldLayoutId id="2147484155" r:id="rId16"/>
    <p:sldLayoutId id="2147484156" r:id="rId17"/>
    <p:sldLayoutId id="2147484157" r:id="rId18"/>
    <p:sldLayoutId id="2147484158" r:id="rId19"/>
    <p:sldLayoutId id="2147484159" r:id="rId20"/>
    <p:sldLayoutId id="2147484160" r:id="rId21"/>
    <p:sldLayoutId id="2147484161" r:id="rId22"/>
    <p:sldLayoutId id="2147484162" r:id="rId23"/>
    <p:sldLayoutId id="2147484163" r:id="rId24"/>
    <p:sldLayoutId id="2147484164" r:id="rId25"/>
    <p:sldLayoutId id="2147484165" r:id="rId26"/>
    <p:sldLayoutId id="2147484166" r:id="rId27"/>
    <p:sldLayoutId id="2147484193" r:id="rId2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6pPr>
      <a:lvl7pPr marL="914378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Verdana" pitchFamily="34" charset="0"/>
        </a:defRPr>
      </a:lvl9pPr>
    </p:titleStyle>
    <p:bodyStyle>
      <a:lvl1pPr marL="265106" indent="-265106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•"/>
        <a:defRPr kern="1200">
          <a:solidFill>
            <a:schemeClr val="accent2"/>
          </a:solidFill>
          <a:latin typeface="+mn-lt"/>
          <a:ea typeface="+mn-ea"/>
          <a:cs typeface="+mn-cs"/>
        </a:defRPr>
      </a:lvl1pPr>
      <a:lvl2pPr marL="536561" indent="-271457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Verdana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808018" indent="-271457" algn="l" rtl="0" eaLnBrk="1" fontAlgn="base" hangingPunct="1">
        <a:spcBef>
          <a:spcPct val="20000"/>
        </a:spcBef>
        <a:spcAft>
          <a:spcPct val="0"/>
        </a:spcAft>
        <a:buClr>
          <a:srgbClr val="E64A0E"/>
        </a:buClr>
        <a:buFont typeface="Verdana" pitchFamily="34" charset="0"/>
        <a:buChar char="•"/>
        <a:defRPr sz="1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985814" indent="-177796" algn="l" rtl="0" eaLnBrk="1" fontAlgn="base" hangingPunct="1">
        <a:spcBef>
          <a:spcPct val="20000"/>
        </a:spcBef>
        <a:spcAft>
          <a:spcPct val="0"/>
        </a:spcAft>
        <a:buClr>
          <a:srgbClr val="82786F"/>
        </a:buClr>
        <a:buFont typeface="Verdana" pitchFamily="34" charset="0"/>
        <a:buChar char="•"/>
        <a:defRPr sz="12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1257269" indent="-184145" algn="l" rtl="0" eaLnBrk="1" fontAlgn="base" hangingPunct="1">
        <a:spcBef>
          <a:spcPct val="20000"/>
        </a:spcBef>
        <a:spcAft>
          <a:spcPct val="0"/>
        </a:spcAft>
        <a:buClr>
          <a:srgbClr val="001423"/>
        </a:buClr>
        <a:buFont typeface="Verdana" pitchFamily="34" charset="0"/>
        <a:buChar char="•"/>
        <a:defRPr sz="11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6800" y="1312223"/>
            <a:ext cx="8510400" cy="2955790"/>
          </a:xfrm>
          <a:prstGeom prst="rect">
            <a:avLst/>
          </a:prstGeom>
        </p:spPr>
        <p:txBody>
          <a:bodyPr vert="horz" lIns="0" tIns="0" rIns="21600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6800" y="515421"/>
            <a:ext cx="8510400" cy="39141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31127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9" r:id="rId1"/>
    <p:sldLayoutId id="2147484170" r:id="rId2"/>
    <p:sldLayoutId id="2147484171" r:id="rId3"/>
    <p:sldLayoutId id="2147484173" r:id="rId4"/>
    <p:sldLayoutId id="2147484174" r:id="rId5"/>
    <p:sldLayoutId id="2147484175" r:id="rId6"/>
    <p:sldLayoutId id="2147484176" r:id="rId7"/>
    <p:sldLayoutId id="2147484177" r:id="rId8"/>
    <p:sldLayoutId id="2147484178" r:id="rId9"/>
    <p:sldLayoutId id="2147484179" r:id="rId10"/>
    <p:sldLayoutId id="2147484180" r:id="rId1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/>
  <p:txStyles>
    <p:titleStyle>
      <a:lvl1pPr algn="l" defTabSz="914378" rtl="0" eaLnBrk="1" latinLnBrk="0" hangingPunct="1"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65106" indent="-265106" algn="l" defTabSz="914378" rtl="0" eaLnBrk="1" latinLnBrk="0" hangingPunct="1">
        <a:spcBef>
          <a:spcPct val="20000"/>
        </a:spcBef>
        <a:buClr>
          <a:schemeClr val="accent1"/>
        </a:buClr>
        <a:buFont typeface="Verdana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536561" indent="-271457" algn="l" defTabSz="914378" rtl="0" eaLnBrk="1" latinLnBrk="0" hangingPunct="1">
        <a:spcBef>
          <a:spcPct val="20000"/>
        </a:spcBef>
        <a:buClr>
          <a:schemeClr val="tx2"/>
        </a:buClr>
        <a:buFont typeface="Verdana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808018" indent="-271457" algn="l" defTabSz="914378" rtl="0" eaLnBrk="1" latinLnBrk="0" hangingPunct="1">
        <a:spcBef>
          <a:spcPct val="20000"/>
        </a:spcBef>
        <a:buClr>
          <a:schemeClr val="accent5"/>
        </a:buClr>
        <a:buFont typeface="Verdana" pitchFamily="34" charset="0"/>
        <a:buChar char="•"/>
        <a:defRPr sz="1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985814" indent="-177796" algn="l" defTabSz="914378" rtl="0" eaLnBrk="1" latinLnBrk="0" hangingPunct="1">
        <a:spcBef>
          <a:spcPct val="20000"/>
        </a:spcBef>
        <a:buClr>
          <a:schemeClr val="accent3"/>
        </a:buClr>
        <a:buFont typeface="Verdana" pitchFamily="34" charset="0"/>
        <a:buChar char="•"/>
        <a:defRPr sz="12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1257269" indent="-184145" algn="l" defTabSz="914378" rtl="0" eaLnBrk="1" latinLnBrk="0" hangingPunct="1">
        <a:spcBef>
          <a:spcPct val="20000"/>
        </a:spcBef>
        <a:buClr>
          <a:srgbClr val="001423"/>
        </a:buClr>
        <a:buFont typeface="Verdana" pitchFamily="34" charset="0"/>
        <a:buChar char="•"/>
        <a:defRPr sz="11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39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image" Target="../media/image6.wmf"/><Relationship Id="rId1" Type="http://schemas.openxmlformats.org/officeDocument/2006/relationships/slideLayout" Target="../slideLayouts/slideLayout41.xml"/><Relationship Id="rId2" Type="http://schemas.openxmlformats.org/officeDocument/2006/relationships/notesSlide" Target="../notesSlides/notesSlide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rugs.com/pro/glipizide.html" TargetMode="External"/><Relationship Id="rId4" Type="http://schemas.openxmlformats.org/officeDocument/2006/relationships/hyperlink" Target="http://www.medicines.org.uk/emc/medicine/27033" TargetMode="External"/><Relationship Id="rId5" Type="http://schemas.openxmlformats.org/officeDocument/2006/relationships/hyperlink" Target="http://www.medicines.org.uk/emc/medicine/26366" TargetMode="External"/><Relationship Id="rId6" Type="http://schemas.openxmlformats.org/officeDocument/2006/relationships/hyperlink" Target="http://www.medicines.org.uk/emc/medicine/9851" TargetMode="External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4" Type="http://schemas.openxmlformats.org/officeDocument/2006/relationships/tags" Target="../tags/tag48.xml"/><Relationship Id="rId5" Type="http://schemas.openxmlformats.org/officeDocument/2006/relationships/tags" Target="../tags/tag49.xml"/><Relationship Id="rId6" Type="http://schemas.openxmlformats.org/officeDocument/2006/relationships/tags" Target="../tags/tag50.xml"/><Relationship Id="rId7" Type="http://schemas.openxmlformats.org/officeDocument/2006/relationships/slideLayout" Target="../slideLayouts/slideLayout13.xml"/><Relationship Id="rId8" Type="http://schemas.openxmlformats.org/officeDocument/2006/relationships/notesSlide" Target="../notesSlides/notesSlide10.xml"/><Relationship Id="rId9" Type="http://schemas.openxmlformats.org/officeDocument/2006/relationships/image" Target="../media/image8.png"/><Relationship Id="rId10" Type="http://schemas.openxmlformats.org/officeDocument/2006/relationships/image" Target="../media/image9.png"/><Relationship Id="rId11" Type="http://schemas.openxmlformats.org/officeDocument/2006/relationships/image" Target="../media/image10.png"/><Relationship Id="rId1" Type="http://schemas.openxmlformats.org/officeDocument/2006/relationships/tags" Target="../tags/tag45.xml"/><Relationship Id="rId2" Type="http://schemas.openxmlformats.org/officeDocument/2006/relationships/tags" Target="../tags/tag4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1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.jp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Relationship Id="rId2" Type="http://schemas.openxmlformats.org/officeDocument/2006/relationships/notesSlide" Target="../notesSlides/notesSlide13.xml"/><Relationship Id="rId3" Type="http://schemas.openxmlformats.org/officeDocument/2006/relationships/hyperlink" Target="http://www.fda.gov/downloads/drugs/guidancecomplianceregulatoryinformation/guidances/ucm071627.pdf" TargetMode="Externa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Relationship Id="rId2" Type="http://schemas.openxmlformats.org/officeDocument/2006/relationships/notesSlide" Target="../notesSlides/notesSlide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4" Type="http://schemas.openxmlformats.org/officeDocument/2006/relationships/chart" Target="../charts/chart3.xml"/><Relationship Id="rId1" Type="http://schemas.openxmlformats.org/officeDocument/2006/relationships/slideLayout" Target="../slideLayouts/slideLayout165.xml"/><Relationship Id="rId2" Type="http://schemas.openxmlformats.org/officeDocument/2006/relationships/chart" Target="../charts/char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9.xml"/><Relationship Id="rId2" Type="http://schemas.openxmlformats.org/officeDocument/2006/relationships/notesSlide" Target="../notesSlides/notesSlide1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2.xml"/><Relationship Id="rId2" Type="http://schemas.openxmlformats.org/officeDocument/2006/relationships/notesSlide" Target="../notesSlides/notesSlide1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2.xml"/><Relationship Id="rId2" Type="http://schemas.openxmlformats.org/officeDocument/2006/relationships/notesSlide" Target="../notesSlides/notesSlide17.xml"/><Relationship Id="rId3" Type="http://schemas.openxmlformats.org/officeDocument/2006/relationships/chart" Target="../charts/char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png"/><Relationship Id="rId5" Type="http://schemas.openxmlformats.org/officeDocument/2006/relationships/image" Target="../media/image16.png"/><Relationship Id="rId6" Type="http://schemas.openxmlformats.org/officeDocument/2006/relationships/image" Target="../media/image17.jpeg"/><Relationship Id="rId7" Type="http://schemas.openxmlformats.org/officeDocument/2006/relationships/image" Target="../media/image18.png"/><Relationship Id="rId8" Type="http://schemas.openxmlformats.org/officeDocument/2006/relationships/image" Target="../media/image19.png"/><Relationship Id="rId1" Type="http://schemas.openxmlformats.org/officeDocument/2006/relationships/slideLayout" Target="../slideLayouts/slideLayout191.xml"/><Relationship Id="rId2" Type="http://schemas.openxmlformats.org/officeDocument/2006/relationships/notesSlide" Target="../notesSlides/notesSlide1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2.xml"/><Relationship Id="rId2" Type="http://schemas.openxmlformats.org/officeDocument/2006/relationships/notesSlide" Target="../notesSlides/notesSlide20.xml"/><Relationship Id="rId3" Type="http://schemas.openxmlformats.org/officeDocument/2006/relationships/image" Target="../media/image20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4" Type="http://schemas.openxmlformats.org/officeDocument/2006/relationships/oleObject" Target="../embeddings/oleObject45.bin"/><Relationship Id="rId5" Type="http://schemas.openxmlformats.org/officeDocument/2006/relationships/image" Target="../media/image21.emf"/><Relationship Id="rId6" Type="http://schemas.openxmlformats.org/officeDocument/2006/relationships/oleObject" Target="../embeddings/oleObject46.bin"/><Relationship Id="rId7" Type="http://schemas.openxmlformats.org/officeDocument/2006/relationships/image" Target="../media/image22.emf"/><Relationship Id="rId1" Type="http://schemas.openxmlformats.org/officeDocument/2006/relationships/vmlDrawing" Target="../drawings/vmlDrawing44.vml"/><Relationship Id="rId2" Type="http://schemas.openxmlformats.org/officeDocument/2006/relationships/slideLayout" Target="../slideLayouts/slideLayout8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Relationship Id="rId2" Type="http://schemas.openxmlformats.org/officeDocument/2006/relationships/image" Target="../media/image23.jpeg"/><Relationship Id="rId3" Type="http://schemas.openxmlformats.org/officeDocument/2006/relationships/hyperlink" Target="http://www.nejm.org/toc/nejm/375/19/" TargetMode="Externa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Relationship Id="rId2" Type="http://schemas.openxmlformats.org/officeDocument/2006/relationships/notesSlide" Target="../notesSlides/notesSlide2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Relationship Id="rId2" Type="http://schemas.openxmlformats.org/officeDocument/2006/relationships/notesSlide" Target="../notesSlides/notesSlide2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Relationship Id="rId2" Type="http://schemas.openxmlformats.org/officeDocument/2006/relationships/notesSlide" Target="../notesSlides/notesSlide2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Relationship Id="rId2" Type="http://schemas.openxmlformats.org/officeDocument/2006/relationships/notesSlide" Target="../notesSlides/notesSlide2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Relationship Id="rId2" Type="http://schemas.openxmlformats.org/officeDocument/2006/relationships/notesSlide" Target="../notesSlides/notesSlide2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Relationship Id="rId2" Type="http://schemas.openxmlformats.org/officeDocument/2006/relationships/notesSlide" Target="../notesSlides/notesSlide2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Relationship Id="rId2" Type="http://schemas.openxmlformats.org/officeDocument/2006/relationships/notesSlide" Target="../notesSlides/notesSlide2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4" Type="http://schemas.openxmlformats.org/officeDocument/2006/relationships/oleObject" Target="../embeddings/Microsoft_Excel_97_-_2004-blad1.xls"/><Relationship Id="rId5" Type="http://schemas.openxmlformats.org/officeDocument/2006/relationships/image" Target="../media/image3.png"/><Relationship Id="rId1" Type="http://schemas.openxmlformats.org/officeDocument/2006/relationships/vmlDrawing" Target="../drawings/vmlDrawing43.vml"/><Relationship Id="rId2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4.xml"/><Relationship Id="rId2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hyperlink" Target="https://www.ncbi.nlm.nih.gov/m/pubmed/15325833/Reg" TargetMode="External"/><Relationship Id="rId1" Type="http://schemas.openxmlformats.org/officeDocument/2006/relationships/slideLayout" Target="../slideLayouts/slideLayout214.xml"/><Relationship Id="rId2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nl-NL" dirty="0"/>
              <a:t>Cardiovasculaire veiligheid van </a:t>
            </a:r>
            <a:r>
              <a:rPr lang="nl-NL" dirty="0" err="1"/>
              <a:t>bloedglucoseverlagende</a:t>
            </a:r>
            <a:r>
              <a:rPr lang="nl-NL" dirty="0"/>
              <a:t> medicatie</a:t>
            </a:r>
            <a:br>
              <a:rPr lang="nl-NL" dirty="0"/>
            </a:br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2843808" y="3435846"/>
            <a:ext cx="6120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l-NL" dirty="0"/>
              <a:t>Glucoseregulatie en CVRM in een?</a:t>
            </a:r>
          </a:p>
        </p:txBody>
      </p:sp>
    </p:spTree>
    <p:extLst>
      <p:ext uri="{BB962C8B-B14F-4D97-AF65-F5344CB8AC3E}">
        <p14:creationId xmlns:p14="http://schemas.microsoft.com/office/powerpoint/2010/main" val="2712163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nl-NL" sz="1800" b="1" dirty="0" smtClean="0"/>
              <a:t>Multifactoriële aanpak / CVRM</a:t>
            </a:r>
            <a:endParaRPr lang="nl-NL" sz="1800" b="1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Clr>
                <a:schemeClr val="tx1"/>
              </a:buClr>
              <a:buNone/>
            </a:pPr>
            <a:r>
              <a:rPr lang="nl-NL" sz="1900" dirty="0" smtClean="0">
                <a:solidFill>
                  <a:srgbClr val="000000"/>
                </a:solidFill>
              </a:rPr>
              <a:t>Leefstijl</a:t>
            </a:r>
          </a:p>
          <a:p>
            <a:pPr marL="0" indent="0">
              <a:buClr>
                <a:schemeClr val="tx1"/>
              </a:buClr>
              <a:buNone/>
            </a:pPr>
            <a:r>
              <a:rPr lang="nl-NL" sz="1900" dirty="0" smtClean="0">
                <a:solidFill>
                  <a:srgbClr val="000000"/>
                </a:solidFill>
              </a:rPr>
              <a:t>Bloeddruk</a:t>
            </a:r>
          </a:p>
          <a:p>
            <a:pPr marL="0" indent="0">
              <a:buClr>
                <a:schemeClr val="tx1"/>
              </a:buClr>
              <a:buNone/>
            </a:pPr>
            <a:r>
              <a:rPr lang="nl-NL" sz="1900" dirty="0" smtClean="0">
                <a:solidFill>
                  <a:srgbClr val="000000"/>
                </a:solidFill>
              </a:rPr>
              <a:t>Plaatjesremming</a:t>
            </a:r>
          </a:p>
          <a:p>
            <a:pPr marL="0" indent="0">
              <a:buClr>
                <a:schemeClr val="tx1"/>
              </a:buClr>
              <a:buNone/>
            </a:pPr>
            <a:r>
              <a:rPr lang="nl-NL" sz="1900" dirty="0" err="1" smtClean="0">
                <a:solidFill>
                  <a:srgbClr val="000000"/>
                </a:solidFill>
              </a:rPr>
              <a:t>Dyslipidemie</a:t>
            </a:r>
            <a:r>
              <a:rPr lang="nl-NL" sz="1900" dirty="0" smtClean="0">
                <a:solidFill>
                  <a:srgbClr val="000000"/>
                </a:solidFill>
              </a:rPr>
              <a:t> (HDL, LDL)</a:t>
            </a:r>
          </a:p>
          <a:p>
            <a:pPr marL="0" indent="0">
              <a:buClr>
                <a:schemeClr val="tx1"/>
              </a:buClr>
              <a:buNone/>
            </a:pPr>
            <a:r>
              <a:rPr lang="nl-NL" sz="1900" dirty="0" err="1" smtClean="0">
                <a:solidFill>
                  <a:srgbClr val="000000"/>
                </a:solidFill>
              </a:rPr>
              <a:t>Glykemische</a:t>
            </a:r>
            <a:r>
              <a:rPr lang="nl-NL" sz="1900" dirty="0" smtClean="0">
                <a:solidFill>
                  <a:srgbClr val="000000"/>
                </a:solidFill>
              </a:rPr>
              <a:t> controle</a:t>
            </a:r>
          </a:p>
          <a:p>
            <a:pPr marL="0" indent="0">
              <a:buNone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84633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alt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 noodzaak tot het doen van CV- veiligheidsstudies</a:t>
            </a:r>
          </a:p>
        </p:txBody>
      </p:sp>
      <p:sp>
        <p:nvSpPr>
          <p:cNvPr id="7" name="Rectangle 6"/>
          <p:cNvSpPr/>
          <p:nvPr/>
        </p:nvSpPr>
        <p:spPr>
          <a:xfrm>
            <a:off x="6172620" y="2063828"/>
            <a:ext cx="2971380" cy="1957312"/>
          </a:xfrm>
          <a:prstGeom prst="rect">
            <a:avLst/>
          </a:prstGeom>
          <a:gradFill>
            <a:gsLst>
              <a:gs pos="0">
                <a:schemeClr val="accent2">
                  <a:lumMod val="60000"/>
                  <a:lumOff val="40000"/>
                </a:schemeClr>
              </a:gs>
              <a:gs pos="100000">
                <a:schemeClr val="accent2">
                  <a:lumMod val="40000"/>
                  <a:lumOff val="60000"/>
                  <a:alpha val="11000"/>
                </a:schemeClr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8" tIns="45679" rIns="91358" bIns="45679" anchor="ctr"/>
          <a:lstStyle/>
          <a:p>
            <a:pPr algn="ctr" defTabSz="91347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8917" name="Group 7"/>
          <p:cNvGrpSpPr>
            <a:grpSpLocks/>
          </p:cNvGrpSpPr>
          <p:nvPr/>
        </p:nvGrpSpPr>
        <p:grpSpPr bwMode="auto">
          <a:xfrm>
            <a:off x="3851920" y="2125558"/>
            <a:ext cx="2280450" cy="1953446"/>
            <a:chOff x="3707904" y="1614279"/>
            <a:chExt cx="4677852" cy="2406503"/>
          </a:xfrm>
        </p:grpSpPr>
        <p:sp>
          <p:nvSpPr>
            <p:cNvPr id="9" name="Rectangle 5"/>
            <p:cNvSpPr>
              <a:spLocks noChangeArrowheads="1"/>
            </p:cNvSpPr>
            <p:nvPr/>
          </p:nvSpPr>
          <p:spPr bwMode="auto">
            <a:xfrm>
              <a:off x="3707904" y="1614279"/>
              <a:ext cx="4677852" cy="2406503"/>
            </a:xfrm>
            <a:prstGeom prst="roundRect">
              <a:avLst>
                <a:gd name="adj" fmla="val 0"/>
              </a:avLst>
            </a:prstGeom>
            <a:solidFill>
              <a:schemeClr val="accent2"/>
            </a:solidFill>
            <a:ln>
              <a:noFill/>
            </a:ln>
            <a:ex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324000" tIns="180000" rIns="180000" bIns="180000" anchor="ctr"/>
            <a:lstStyle>
              <a:lvl1pPr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9pPr>
            </a:lstStyle>
            <a:p>
              <a:pPr defTabSz="91347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050" i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quirement to demonstrate </a:t>
              </a:r>
              <a:br>
                <a:rPr lang="en-GB" altLang="en-US" sz="1050" i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GB" altLang="en-US" sz="1050" i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hat </a:t>
              </a:r>
              <a:r>
                <a:rPr lang="en-GB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ew antidiabetic </a:t>
              </a:r>
              <a:br>
                <a:rPr lang="en-GB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GB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herapies to treat type 2 diabetes</a:t>
              </a:r>
              <a:r>
                <a:rPr lang="en-GB" altLang="en-US" sz="105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GB" altLang="en-US" sz="1050" i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re not associated </a:t>
              </a:r>
              <a:br>
                <a:rPr lang="en-GB" altLang="en-US" sz="1050" i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GB" altLang="en-US" sz="1050" i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with an unacceptable</a:t>
              </a:r>
              <a:r>
                <a:rPr lang="en-GB" altLang="en-US" sz="105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GB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crease </a:t>
              </a:r>
              <a:br>
                <a:rPr lang="en-GB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GB" altLang="en-US" sz="1050" b="1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 cardiovascular risk</a:t>
              </a:r>
              <a:endParaRPr lang="en-GB" altLang="en-US" sz="1050" b="1" baseline="300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3807208" y="1725070"/>
              <a:ext cx="2288487" cy="2182458"/>
              <a:chOff x="3698875" y="1647825"/>
              <a:chExt cx="2466975" cy="2352676"/>
            </a:xfrm>
            <a:gradFill flip="none" rotWithShape="1">
              <a:gsLst>
                <a:gs pos="0">
                  <a:schemeClr val="bg1">
                    <a:alpha val="30000"/>
                  </a:schemeClr>
                </a:gs>
                <a:gs pos="100000">
                  <a:schemeClr val="bg1">
                    <a:alpha val="5000"/>
                  </a:schemeClr>
                </a:gs>
              </a:gsLst>
              <a:lin ang="0" scaled="1"/>
              <a:tileRect/>
            </a:gradFill>
          </p:grpSpPr>
          <p:sp>
            <p:nvSpPr>
              <p:cNvPr id="11" name="Freeform 5"/>
              <p:cNvSpPr>
                <a:spLocks/>
              </p:cNvSpPr>
              <p:nvPr/>
            </p:nvSpPr>
            <p:spPr bwMode="auto">
              <a:xfrm>
                <a:off x="3698875" y="1647825"/>
                <a:ext cx="2466975" cy="1641475"/>
              </a:xfrm>
              <a:custGeom>
                <a:avLst/>
                <a:gdLst>
                  <a:gd name="T0" fmla="*/ 201 w 257"/>
                  <a:gd name="T1" fmla="*/ 1 h 171"/>
                  <a:gd name="T2" fmla="*/ 189 w 257"/>
                  <a:gd name="T3" fmla="*/ 0 h 171"/>
                  <a:gd name="T4" fmla="*/ 131 w 257"/>
                  <a:gd name="T5" fmla="*/ 32 h 171"/>
                  <a:gd name="T6" fmla="*/ 126 w 257"/>
                  <a:gd name="T7" fmla="*/ 32 h 171"/>
                  <a:gd name="T8" fmla="*/ 68 w 257"/>
                  <a:gd name="T9" fmla="*/ 0 h 171"/>
                  <a:gd name="T10" fmla="*/ 56 w 257"/>
                  <a:gd name="T11" fmla="*/ 1 h 171"/>
                  <a:gd name="T12" fmla="*/ 0 w 257"/>
                  <a:gd name="T13" fmla="*/ 70 h 171"/>
                  <a:gd name="T14" fmla="*/ 0 w 257"/>
                  <a:gd name="T15" fmla="*/ 84 h 171"/>
                  <a:gd name="T16" fmla="*/ 9 w 257"/>
                  <a:gd name="T17" fmla="*/ 120 h 171"/>
                  <a:gd name="T18" fmla="*/ 10 w 257"/>
                  <a:gd name="T19" fmla="*/ 122 h 171"/>
                  <a:gd name="T20" fmla="*/ 70 w 257"/>
                  <a:gd name="T21" fmla="*/ 122 h 171"/>
                  <a:gd name="T22" fmla="*/ 77 w 257"/>
                  <a:gd name="T23" fmla="*/ 109 h 171"/>
                  <a:gd name="T24" fmla="*/ 80 w 257"/>
                  <a:gd name="T25" fmla="*/ 108 h 171"/>
                  <a:gd name="T26" fmla="*/ 83 w 257"/>
                  <a:gd name="T27" fmla="*/ 110 h 171"/>
                  <a:gd name="T28" fmla="*/ 89 w 257"/>
                  <a:gd name="T29" fmla="*/ 126 h 171"/>
                  <a:gd name="T30" fmla="*/ 107 w 257"/>
                  <a:gd name="T31" fmla="*/ 39 h 171"/>
                  <a:gd name="T32" fmla="*/ 110 w 257"/>
                  <a:gd name="T33" fmla="*/ 36 h 171"/>
                  <a:gd name="T34" fmla="*/ 113 w 257"/>
                  <a:gd name="T35" fmla="*/ 39 h 171"/>
                  <a:gd name="T36" fmla="*/ 131 w 257"/>
                  <a:gd name="T37" fmla="*/ 171 h 171"/>
                  <a:gd name="T38" fmla="*/ 144 w 257"/>
                  <a:gd name="T39" fmla="*/ 124 h 171"/>
                  <a:gd name="T40" fmla="*/ 147 w 257"/>
                  <a:gd name="T41" fmla="*/ 122 h 171"/>
                  <a:gd name="T42" fmla="*/ 157 w 257"/>
                  <a:gd name="T43" fmla="*/ 122 h 171"/>
                  <a:gd name="T44" fmla="*/ 165 w 257"/>
                  <a:gd name="T45" fmla="*/ 105 h 171"/>
                  <a:gd name="T46" fmla="*/ 168 w 257"/>
                  <a:gd name="T47" fmla="*/ 103 h 171"/>
                  <a:gd name="T48" fmla="*/ 171 w 257"/>
                  <a:gd name="T49" fmla="*/ 105 h 171"/>
                  <a:gd name="T50" fmla="*/ 177 w 257"/>
                  <a:gd name="T51" fmla="*/ 134 h 171"/>
                  <a:gd name="T52" fmla="*/ 182 w 257"/>
                  <a:gd name="T53" fmla="*/ 124 h 171"/>
                  <a:gd name="T54" fmla="*/ 185 w 257"/>
                  <a:gd name="T55" fmla="*/ 122 h 171"/>
                  <a:gd name="T56" fmla="*/ 247 w 257"/>
                  <a:gd name="T57" fmla="*/ 122 h 171"/>
                  <a:gd name="T58" fmla="*/ 248 w 257"/>
                  <a:gd name="T59" fmla="*/ 120 h 171"/>
                  <a:gd name="T60" fmla="*/ 257 w 257"/>
                  <a:gd name="T61" fmla="*/ 84 h 171"/>
                  <a:gd name="T62" fmla="*/ 257 w 257"/>
                  <a:gd name="T63" fmla="*/ 69 h 171"/>
                  <a:gd name="T64" fmla="*/ 201 w 257"/>
                  <a:gd name="T65" fmla="*/ 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57" h="171">
                    <a:moveTo>
                      <a:pt x="201" y="1"/>
                    </a:moveTo>
                    <a:cubicBezTo>
                      <a:pt x="197" y="1"/>
                      <a:pt x="193" y="0"/>
                      <a:pt x="189" y="0"/>
                    </a:cubicBezTo>
                    <a:cubicBezTo>
                      <a:pt x="160" y="0"/>
                      <a:pt x="146" y="14"/>
                      <a:pt x="131" y="32"/>
                    </a:cubicBezTo>
                    <a:cubicBezTo>
                      <a:pt x="130" y="33"/>
                      <a:pt x="127" y="33"/>
                      <a:pt x="126" y="32"/>
                    </a:cubicBezTo>
                    <a:cubicBezTo>
                      <a:pt x="111" y="14"/>
                      <a:pt x="97" y="0"/>
                      <a:pt x="68" y="0"/>
                    </a:cubicBezTo>
                    <a:cubicBezTo>
                      <a:pt x="64" y="0"/>
                      <a:pt x="60" y="1"/>
                      <a:pt x="56" y="1"/>
                    </a:cubicBezTo>
                    <a:cubicBezTo>
                      <a:pt x="32" y="3"/>
                      <a:pt x="3" y="26"/>
                      <a:pt x="0" y="70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1" y="96"/>
                      <a:pt x="4" y="108"/>
                      <a:pt x="9" y="120"/>
                    </a:cubicBezTo>
                    <a:cubicBezTo>
                      <a:pt x="10" y="122"/>
                      <a:pt x="10" y="122"/>
                      <a:pt x="10" y="122"/>
                    </a:cubicBezTo>
                    <a:cubicBezTo>
                      <a:pt x="70" y="122"/>
                      <a:pt x="70" y="122"/>
                      <a:pt x="70" y="122"/>
                    </a:cubicBezTo>
                    <a:cubicBezTo>
                      <a:pt x="77" y="109"/>
                      <a:pt x="77" y="109"/>
                      <a:pt x="77" y="109"/>
                    </a:cubicBezTo>
                    <a:cubicBezTo>
                      <a:pt x="78" y="108"/>
                      <a:pt x="79" y="107"/>
                      <a:pt x="80" y="108"/>
                    </a:cubicBezTo>
                    <a:cubicBezTo>
                      <a:pt x="82" y="108"/>
                      <a:pt x="83" y="108"/>
                      <a:pt x="83" y="110"/>
                    </a:cubicBezTo>
                    <a:cubicBezTo>
                      <a:pt x="89" y="126"/>
                      <a:pt x="89" y="126"/>
                      <a:pt x="89" y="126"/>
                    </a:cubicBezTo>
                    <a:cubicBezTo>
                      <a:pt x="107" y="39"/>
                      <a:pt x="107" y="39"/>
                      <a:pt x="107" y="39"/>
                    </a:cubicBezTo>
                    <a:cubicBezTo>
                      <a:pt x="107" y="37"/>
                      <a:pt x="108" y="36"/>
                      <a:pt x="110" y="36"/>
                    </a:cubicBezTo>
                    <a:cubicBezTo>
                      <a:pt x="112" y="36"/>
                      <a:pt x="113" y="37"/>
                      <a:pt x="113" y="39"/>
                    </a:cubicBezTo>
                    <a:cubicBezTo>
                      <a:pt x="131" y="171"/>
                      <a:pt x="131" y="171"/>
                      <a:pt x="131" y="171"/>
                    </a:cubicBezTo>
                    <a:cubicBezTo>
                      <a:pt x="144" y="124"/>
                      <a:pt x="144" y="124"/>
                      <a:pt x="144" y="124"/>
                    </a:cubicBezTo>
                    <a:cubicBezTo>
                      <a:pt x="144" y="123"/>
                      <a:pt x="145" y="122"/>
                      <a:pt x="147" y="122"/>
                    </a:cubicBezTo>
                    <a:cubicBezTo>
                      <a:pt x="157" y="122"/>
                      <a:pt x="157" y="122"/>
                      <a:pt x="157" y="122"/>
                    </a:cubicBezTo>
                    <a:cubicBezTo>
                      <a:pt x="165" y="105"/>
                      <a:pt x="165" y="105"/>
                      <a:pt x="165" y="105"/>
                    </a:cubicBezTo>
                    <a:cubicBezTo>
                      <a:pt x="165" y="103"/>
                      <a:pt x="166" y="103"/>
                      <a:pt x="168" y="103"/>
                    </a:cubicBezTo>
                    <a:cubicBezTo>
                      <a:pt x="169" y="103"/>
                      <a:pt x="171" y="104"/>
                      <a:pt x="171" y="105"/>
                    </a:cubicBezTo>
                    <a:cubicBezTo>
                      <a:pt x="177" y="134"/>
                      <a:pt x="177" y="134"/>
                      <a:pt x="177" y="134"/>
                    </a:cubicBezTo>
                    <a:cubicBezTo>
                      <a:pt x="182" y="124"/>
                      <a:pt x="182" y="124"/>
                      <a:pt x="182" y="124"/>
                    </a:cubicBezTo>
                    <a:cubicBezTo>
                      <a:pt x="183" y="123"/>
                      <a:pt x="184" y="122"/>
                      <a:pt x="185" y="122"/>
                    </a:cubicBezTo>
                    <a:cubicBezTo>
                      <a:pt x="247" y="122"/>
                      <a:pt x="247" y="122"/>
                      <a:pt x="247" y="122"/>
                    </a:cubicBezTo>
                    <a:cubicBezTo>
                      <a:pt x="248" y="120"/>
                      <a:pt x="248" y="120"/>
                      <a:pt x="248" y="120"/>
                    </a:cubicBezTo>
                    <a:cubicBezTo>
                      <a:pt x="253" y="108"/>
                      <a:pt x="256" y="96"/>
                      <a:pt x="257" y="84"/>
                    </a:cubicBezTo>
                    <a:cubicBezTo>
                      <a:pt x="257" y="69"/>
                      <a:pt x="257" y="69"/>
                      <a:pt x="257" y="69"/>
                    </a:cubicBezTo>
                    <a:cubicBezTo>
                      <a:pt x="254" y="26"/>
                      <a:pt x="226" y="3"/>
                      <a:pt x="201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3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Freeform 6"/>
              <p:cNvSpPr>
                <a:spLocks/>
              </p:cNvSpPr>
              <p:nvPr/>
            </p:nvSpPr>
            <p:spPr bwMode="auto">
              <a:xfrm>
                <a:off x="3832225" y="2214563"/>
                <a:ext cx="2198688" cy="1785938"/>
              </a:xfrm>
              <a:custGeom>
                <a:avLst/>
                <a:gdLst>
                  <a:gd name="T0" fmla="*/ 165 w 229"/>
                  <a:gd name="T1" fmla="*/ 86 h 186"/>
                  <a:gd name="T2" fmla="*/ 161 w 229"/>
                  <a:gd name="T3" fmla="*/ 88 h 186"/>
                  <a:gd name="T4" fmla="*/ 159 w 229"/>
                  <a:gd name="T5" fmla="*/ 85 h 186"/>
                  <a:gd name="T6" fmla="*/ 153 w 229"/>
                  <a:gd name="T7" fmla="*/ 57 h 186"/>
                  <a:gd name="T8" fmla="*/ 148 w 229"/>
                  <a:gd name="T9" fmla="*/ 68 h 186"/>
                  <a:gd name="T10" fmla="*/ 145 w 229"/>
                  <a:gd name="T11" fmla="*/ 70 h 186"/>
                  <a:gd name="T12" fmla="*/ 135 w 229"/>
                  <a:gd name="T13" fmla="*/ 70 h 186"/>
                  <a:gd name="T14" fmla="*/ 119 w 229"/>
                  <a:gd name="T15" fmla="*/ 130 h 186"/>
                  <a:gd name="T16" fmla="*/ 115 w 229"/>
                  <a:gd name="T17" fmla="*/ 132 h 186"/>
                  <a:gd name="T18" fmla="*/ 115 w 229"/>
                  <a:gd name="T19" fmla="*/ 132 h 186"/>
                  <a:gd name="T20" fmla="*/ 112 w 229"/>
                  <a:gd name="T21" fmla="*/ 129 h 186"/>
                  <a:gd name="T22" fmla="*/ 95 w 229"/>
                  <a:gd name="T23" fmla="*/ 0 h 186"/>
                  <a:gd name="T24" fmla="*/ 79 w 229"/>
                  <a:gd name="T25" fmla="*/ 80 h 186"/>
                  <a:gd name="T26" fmla="*/ 76 w 229"/>
                  <a:gd name="T27" fmla="*/ 83 h 186"/>
                  <a:gd name="T28" fmla="*/ 73 w 229"/>
                  <a:gd name="T29" fmla="*/ 81 h 186"/>
                  <a:gd name="T30" fmla="*/ 65 w 229"/>
                  <a:gd name="T31" fmla="*/ 60 h 186"/>
                  <a:gd name="T32" fmla="*/ 61 w 229"/>
                  <a:gd name="T33" fmla="*/ 68 h 186"/>
                  <a:gd name="T34" fmla="*/ 58 w 229"/>
                  <a:gd name="T35" fmla="*/ 70 h 186"/>
                  <a:gd name="T36" fmla="*/ 0 w 229"/>
                  <a:gd name="T37" fmla="*/ 70 h 186"/>
                  <a:gd name="T38" fmla="*/ 4 w 229"/>
                  <a:gd name="T39" fmla="*/ 77 h 186"/>
                  <a:gd name="T40" fmla="*/ 115 w 229"/>
                  <a:gd name="T41" fmla="*/ 186 h 186"/>
                  <a:gd name="T42" fmla="*/ 226 w 229"/>
                  <a:gd name="T43" fmla="*/ 77 h 186"/>
                  <a:gd name="T44" fmla="*/ 229 w 229"/>
                  <a:gd name="T45" fmla="*/ 70 h 186"/>
                  <a:gd name="T46" fmla="*/ 173 w 229"/>
                  <a:gd name="T47" fmla="*/ 70 h 186"/>
                  <a:gd name="T48" fmla="*/ 165 w 229"/>
                  <a:gd name="T49" fmla="*/ 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29" h="186">
                    <a:moveTo>
                      <a:pt x="165" y="86"/>
                    </a:moveTo>
                    <a:cubicBezTo>
                      <a:pt x="164" y="87"/>
                      <a:pt x="163" y="88"/>
                      <a:pt x="161" y="88"/>
                    </a:cubicBezTo>
                    <a:cubicBezTo>
                      <a:pt x="160" y="87"/>
                      <a:pt x="159" y="86"/>
                      <a:pt x="159" y="85"/>
                    </a:cubicBezTo>
                    <a:cubicBezTo>
                      <a:pt x="153" y="57"/>
                      <a:pt x="153" y="57"/>
                      <a:pt x="153" y="57"/>
                    </a:cubicBezTo>
                    <a:cubicBezTo>
                      <a:pt x="148" y="68"/>
                      <a:pt x="148" y="68"/>
                      <a:pt x="148" y="68"/>
                    </a:cubicBezTo>
                    <a:cubicBezTo>
                      <a:pt x="147" y="69"/>
                      <a:pt x="146" y="70"/>
                      <a:pt x="145" y="70"/>
                    </a:cubicBezTo>
                    <a:cubicBezTo>
                      <a:pt x="135" y="70"/>
                      <a:pt x="135" y="70"/>
                      <a:pt x="135" y="70"/>
                    </a:cubicBezTo>
                    <a:cubicBezTo>
                      <a:pt x="119" y="130"/>
                      <a:pt x="119" y="130"/>
                      <a:pt x="119" y="130"/>
                    </a:cubicBezTo>
                    <a:cubicBezTo>
                      <a:pt x="118" y="131"/>
                      <a:pt x="117" y="132"/>
                      <a:pt x="115" y="132"/>
                    </a:cubicBezTo>
                    <a:cubicBezTo>
                      <a:pt x="115" y="132"/>
                      <a:pt x="115" y="132"/>
                      <a:pt x="115" y="132"/>
                    </a:cubicBezTo>
                    <a:cubicBezTo>
                      <a:pt x="114" y="132"/>
                      <a:pt x="112" y="131"/>
                      <a:pt x="112" y="129"/>
                    </a:cubicBezTo>
                    <a:cubicBezTo>
                      <a:pt x="95" y="0"/>
                      <a:pt x="95" y="0"/>
                      <a:pt x="95" y="0"/>
                    </a:cubicBezTo>
                    <a:cubicBezTo>
                      <a:pt x="79" y="80"/>
                      <a:pt x="79" y="80"/>
                      <a:pt x="79" y="80"/>
                    </a:cubicBezTo>
                    <a:cubicBezTo>
                      <a:pt x="79" y="81"/>
                      <a:pt x="78" y="83"/>
                      <a:pt x="76" y="83"/>
                    </a:cubicBezTo>
                    <a:cubicBezTo>
                      <a:pt x="75" y="83"/>
                      <a:pt x="74" y="82"/>
                      <a:pt x="73" y="81"/>
                    </a:cubicBezTo>
                    <a:cubicBezTo>
                      <a:pt x="65" y="60"/>
                      <a:pt x="65" y="60"/>
                      <a:pt x="65" y="60"/>
                    </a:cubicBezTo>
                    <a:cubicBezTo>
                      <a:pt x="61" y="68"/>
                      <a:pt x="61" y="68"/>
                      <a:pt x="61" y="68"/>
                    </a:cubicBezTo>
                    <a:cubicBezTo>
                      <a:pt x="61" y="69"/>
                      <a:pt x="60" y="70"/>
                      <a:pt x="58" y="70"/>
                    </a:cubicBezTo>
                    <a:cubicBezTo>
                      <a:pt x="0" y="70"/>
                      <a:pt x="0" y="70"/>
                      <a:pt x="0" y="70"/>
                    </a:cubicBezTo>
                    <a:cubicBezTo>
                      <a:pt x="4" y="77"/>
                      <a:pt x="4" y="77"/>
                      <a:pt x="4" y="77"/>
                    </a:cubicBezTo>
                    <a:cubicBezTo>
                      <a:pt x="24" y="111"/>
                      <a:pt x="61" y="148"/>
                      <a:pt x="115" y="186"/>
                    </a:cubicBezTo>
                    <a:cubicBezTo>
                      <a:pt x="168" y="148"/>
                      <a:pt x="206" y="111"/>
                      <a:pt x="226" y="77"/>
                    </a:cubicBezTo>
                    <a:cubicBezTo>
                      <a:pt x="229" y="70"/>
                      <a:pt x="229" y="70"/>
                      <a:pt x="229" y="70"/>
                    </a:cubicBezTo>
                    <a:cubicBezTo>
                      <a:pt x="173" y="70"/>
                      <a:pt x="173" y="70"/>
                      <a:pt x="173" y="70"/>
                    </a:cubicBezTo>
                    <a:lnTo>
                      <a:pt x="165" y="8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913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455559">
            <a:off x="5999743" y="1980002"/>
            <a:ext cx="1807839" cy="234903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4" name="Picture 4"/>
          <p:cNvPicPr>
            <a:picLocks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13374" y="1111250"/>
            <a:ext cx="2560638" cy="3594100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49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5"/>
          <p:cNvSpPr>
            <a:spLocks noChangeArrowheads="1"/>
          </p:cNvSpPr>
          <p:nvPr/>
        </p:nvSpPr>
        <p:spPr bwMode="auto">
          <a:xfrm>
            <a:off x="3971105" y="997220"/>
            <a:ext cx="4417319" cy="971996"/>
          </a:xfrm>
          <a:prstGeom prst="roundRect">
            <a:avLst>
              <a:gd name="adj" fmla="val 16667"/>
            </a:avLst>
          </a:prstGeom>
          <a:solidFill>
            <a:srgbClr val="E0DED8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Font typeface="Verdana" panose="020B0604030504040204" pitchFamily="34" charset="0"/>
              <a:buChar char="•"/>
              <a:defRPr>
                <a:solidFill>
                  <a:schemeClr val="accent2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Font typeface="Verdana" panose="020B0604030504040204" pitchFamily="34" charset="0"/>
              <a:buChar char="•"/>
              <a:defRPr sz="1600">
                <a:solidFill>
                  <a:schemeClr val="accent2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E64A0E"/>
              </a:buClr>
              <a:buFont typeface="Verdana" panose="020B0604030504040204" pitchFamily="34" charset="0"/>
              <a:buChar char="•"/>
              <a:defRPr sz="1400">
                <a:solidFill>
                  <a:schemeClr val="accent2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2786F"/>
              </a:buClr>
              <a:buFont typeface="Verdana" panose="020B0604030504040204" pitchFamily="34" charset="0"/>
              <a:buChar char="•"/>
              <a:defRPr sz="1200">
                <a:solidFill>
                  <a:schemeClr val="accent2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001423"/>
              </a:buClr>
              <a:buFont typeface="Verdana" panose="020B0604030504040204" pitchFamily="34" charset="0"/>
              <a:buChar char="•"/>
              <a:defRPr sz="1100">
                <a:solidFill>
                  <a:schemeClr val="accent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anose="020B0604030504040204" pitchFamily="34" charset="0"/>
              <a:buChar char="•"/>
              <a:defRPr sz="1100">
                <a:solidFill>
                  <a:schemeClr val="accent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anose="020B0604030504040204" pitchFamily="34" charset="0"/>
              <a:buChar char="•"/>
              <a:defRPr sz="1100">
                <a:solidFill>
                  <a:schemeClr val="accent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anose="020B0604030504040204" pitchFamily="34" charset="0"/>
              <a:buChar char="•"/>
              <a:defRPr sz="1100">
                <a:solidFill>
                  <a:schemeClr val="accent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anose="020B0604030504040204" pitchFamily="34" charset="0"/>
              <a:buChar char="•"/>
              <a:defRPr sz="1100">
                <a:solidFill>
                  <a:schemeClr val="accent2"/>
                </a:solidFill>
                <a:latin typeface="Verdana" panose="020B060403050404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GB" altLang="en-US" sz="1050" i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Rosiglitazone was associated with a significant increase in the risk of myocardial infarction and with an increase in the risk of death from cardiovascular causes that had borderline significance.”</a:t>
            </a:r>
          </a:p>
        </p:txBody>
      </p:sp>
      <p:sp>
        <p:nvSpPr>
          <p:cNvPr id="16" name="Rectangle 6"/>
          <p:cNvSpPr>
            <a:spLocks noChangeArrowheads="1"/>
          </p:cNvSpPr>
          <p:nvPr/>
        </p:nvSpPr>
        <p:spPr bwMode="auto">
          <a:xfrm>
            <a:off x="619125" y="3754438"/>
            <a:ext cx="2574925" cy="303212"/>
          </a:xfrm>
          <a:prstGeom prst="roundRect">
            <a:avLst/>
          </a:prstGeom>
          <a:noFill/>
          <a:ln>
            <a:solidFill>
              <a:schemeClr val="tx2"/>
            </a:soli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>
            <a:normAutofit fontScale="77500" lnSpcReduction="20000"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1965"/>
              </a:solidFill>
            </a:endParaRPr>
          </a:p>
        </p:txBody>
      </p:sp>
      <p:cxnSp>
        <p:nvCxnSpPr>
          <p:cNvPr id="17" name="AutoShape 10"/>
          <p:cNvCxnSpPr>
            <a:cxnSpLocks noChangeShapeType="1"/>
            <a:endCxn id="15" idx="1"/>
          </p:cNvCxnSpPr>
          <p:nvPr/>
        </p:nvCxnSpPr>
        <p:spPr bwMode="auto">
          <a:xfrm flipV="1">
            <a:off x="3194050" y="1483218"/>
            <a:ext cx="777055" cy="2401396"/>
          </a:xfrm>
          <a:prstGeom prst="straightConnector1">
            <a:avLst/>
          </a:prstGeom>
          <a:ln>
            <a:solidFill>
              <a:schemeClr val="tx2"/>
            </a:solidFill>
            <a:headEnd/>
            <a:tailEnd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8" name="TextBox 6"/>
          <p:cNvSpPr txBox="1">
            <a:spLocks noChangeArrowheads="1"/>
          </p:cNvSpPr>
          <p:nvPr/>
        </p:nvSpPr>
        <p:spPr bwMode="auto">
          <a:xfrm>
            <a:off x="201433" y="4693162"/>
            <a:ext cx="642937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Font typeface="Verdana" panose="020B0604030504040204" pitchFamily="34" charset="0"/>
              <a:buChar char="•"/>
              <a:defRPr>
                <a:solidFill>
                  <a:schemeClr val="accent2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Font typeface="Verdana" panose="020B0604030504040204" pitchFamily="34" charset="0"/>
              <a:buChar char="•"/>
              <a:defRPr sz="1600">
                <a:solidFill>
                  <a:schemeClr val="accent2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E64A0E"/>
              </a:buClr>
              <a:buFont typeface="Verdana" panose="020B0604030504040204" pitchFamily="34" charset="0"/>
              <a:buChar char="•"/>
              <a:defRPr sz="1400">
                <a:solidFill>
                  <a:schemeClr val="accent2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2786F"/>
              </a:buClr>
              <a:buFont typeface="Verdana" panose="020B0604030504040204" pitchFamily="34" charset="0"/>
              <a:buChar char="•"/>
              <a:defRPr sz="1200">
                <a:solidFill>
                  <a:schemeClr val="accent2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001423"/>
              </a:buClr>
              <a:buFont typeface="Verdana" panose="020B0604030504040204" pitchFamily="34" charset="0"/>
              <a:buChar char="•"/>
              <a:defRPr sz="1100">
                <a:solidFill>
                  <a:schemeClr val="accent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anose="020B0604030504040204" pitchFamily="34" charset="0"/>
              <a:buChar char="•"/>
              <a:defRPr sz="1100">
                <a:solidFill>
                  <a:schemeClr val="accent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anose="020B0604030504040204" pitchFamily="34" charset="0"/>
              <a:buChar char="•"/>
              <a:defRPr sz="1100">
                <a:solidFill>
                  <a:schemeClr val="accent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anose="020B0604030504040204" pitchFamily="34" charset="0"/>
              <a:buChar char="•"/>
              <a:defRPr sz="1100">
                <a:solidFill>
                  <a:schemeClr val="accent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anose="020B0604030504040204" pitchFamily="34" charset="0"/>
              <a:buChar char="•"/>
              <a:defRPr sz="1100">
                <a:solidFill>
                  <a:schemeClr val="accent2"/>
                </a:solidFill>
                <a:latin typeface="Verdana" panose="020B060403050404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GB" altLang="en-US" sz="800" smtClean="0">
                <a:solidFill>
                  <a:srgbClr val="8B7D7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issen </a:t>
            </a:r>
            <a:r>
              <a:rPr lang="en-GB" altLang="en-US" sz="800" i="1" dirty="0">
                <a:solidFill>
                  <a:srgbClr val="8B7D7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t al. N Engl J </a:t>
            </a:r>
            <a:r>
              <a:rPr lang="en-GB" altLang="en-US" sz="800" i="1">
                <a:solidFill>
                  <a:srgbClr val="8B7D7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d </a:t>
            </a:r>
            <a:r>
              <a:rPr lang="en-GB" altLang="en-US" sz="800" smtClean="0">
                <a:solidFill>
                  <a:srgbClr val="8B7D7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07;356:2457–71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GB" altLang="en-US" sz="800">
                <a:solidFill>
                  <a:srgbClr val="8B7D70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FDA, U.S. Food and Drug Administration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GB" altLang="en-US" sz="800">
                <a:solidFill>
                  <a:srgbClr val="8B7D70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FDA, 2008 www.fda.gov/downloads/Drugs/GuidanceComplianceRegulatoryInformation/Guidances/ucm071627.pdf</a:t>
            </a:r>
            <a:endParaRPr lang="en-GB" altLang="en-US" sz="800" i="1">
              <a:solidFill>
                <a:srgbClr val="8B7D70"/>
              </a:solidFill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GB" altLang="en-US" sz="800" i="1" smtClean="0">
                <a:solidFill>
                  <a:srgbClr val="8B7D7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altLang="en-US" sz="800" i="1" dirty="0">
              <a:solidFill>
                <a:srgbClr val="8B7D7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6848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nl-NL" sz="1800" b="1" dirty="0" smtClean="0"/>
              <a:t>Wat hebben we aan medicatie?</a:t>
            </a:r>
            <a:endParaRPr lang="nl-NL" sz="1800" b="1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Clr>
                <a:schemeClr val="tx1"/>
              </a:buClr>
              <a:buNone/>
            </a:pPr>
            <a:r>
              <a:rPr lang="nl-NL" sz="1900" dirty="0" err="1" smtClean="0">
                <a:solidFill>
                  <a:srgbClr val="000000"/>
                </a:solidFill>
              </a:rPr>
              <a:t>Metformine</a:t>
            </a:r>
            <a:endParaRPr lang="nl-NL" sz="1900" dirty="0" smtClean="0">
              <a:solidFill>
                <a:srgbClr val="000000"/>
              </a:solidFill>
            </a:endParaRPr>
          </a:p>
          <a:p>
            <a:pPr marL="0" indent="0">
              <a:buClr>
                <a:schemeClr val="tx1"/>
              </a:buClr>
              <a:buNone/>
            </a:pPr>
            <a:r>
              <a:rPr lang="nl-NL" sz="1900" dirty="0" err="1">
                <a:solidFill>
                  <a:srgbClr val="000000"/>
                </a:solidFill>
              </a:rPr>
              <a:t>Sulfonylureumderivaten</a:t>
            </a:r>
            <a:r>
              <a:rPr lang="nl-NL" sz="1900" dirty="0">
                <a:solidFill>
                  <a:srgbClr val="000000"/>
                </a:solidFill>
              </a:rPr>
              <a:t> (</a:t>
            </a:r>
            <a:r>
              <a:rPr lang="nl-NL" sz="1900" dirty="0" smtClean="0">
                <a:solidFill>
                  <a:srgbClr val="000000"/>
                </a:solidFill>
              </a:rPr>
              <a:t>SU)</a:t>
            </a:r>
          </a:p>
          <a:p>
            <a:pPr marL="0" indent="0">
              <a:buClr>
                <a:schemeClr val="tx1"/>
              </a:buClr>
              <a:buNone/>
            </a:pPr>
            <a:r>
              <a:rPr lang="nl-NL" sz="1900" dirty="0" smtClean="0">
                <a:solidFill>
                  <a:srgbClr val="000000"/>
                </a:solidFill>
              </a:rPr>
              <a:t>DPP-4</a:t>
            </a:r>
          </a:p>
          <a:p>
            <a:pPr marL="0" indent="0">
              <a:buClr>
                <a:schemeClr val="tx1"/>
              </a:buClr>
              <a:buNone/>
            </a:pPr>
            <a:r>
              <a:rPr lang="nl-NL" sz="1900" dirty="0" smtClean="0">
                <a:solidFill>
                  <a:srgbClr val="000000"/>
                </a:solidFill>
              </a:rPr>
              <a:t>GLP-1</a:t>
            </a:r>
          </a:p>
          <a:p>
            <a:pPr marL="0" indent="0">
              <a:buClr>
                <a:schemeClr val="tx1"/>
              </a:buClr>
              <a:buNone/>
            </a:pPr>
            <a:r>
              <a:rPr lang="nl-NL" sz="1900" dirty="0" smtClean="0">
                <a:solidFill>
                  <a:srgbClr val="000000"/>
                </a:solidFill>
              </a:rPr>
              <a:t>Insuline</a:t>
            </a:r>
          </a:p>
          <a:p>
            <a:pPr marL="0" indent="0">
              <a:buClr>
                <a:schemeClr val="tx1"/>
              </a:buClr>
              <a:buNone/>
            </a:pPr>
            <a:r>
              <a:rPr lang="nl-NL" sz="1900" dirty="0" smtClean="0">
                <a:solidFill>
                  <a:srgbClr val="000000"/>
                </a:solidFill>
              </a:rPr>
              <a:t>SGLT-2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83131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  <a:buFont typeface="Arial" charset="0"/>
              <a:buNone/>
              <a:tabLst>
                <a:tab pos="7805738" algn="l"/>
              </a:tabLst>
            </a:pPr>
            <a:endParaRPr lang="nl-NL" sz="2900" dirty="0" smtClean="0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en-GB" sz="2400" b="1" dirty="0" smtClean="0">
              <a:solidFill>
                <a:srgbClr val="00142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GB" sz="1800" b="1" dirty="0" err="1" smtClean="0">
                <a:solidFill>
                  <a:srgbClr val="001423"/>
                </a:solidFill>
              </a:rPr>
              <a:t>Metformine</a:t>
            </a:r>
            <a:r>
              <a:rPr lang="en-GB" sz="1800" b="1" dirty="0" smtClean="0">
                <a:solidFill>
                  <a:srgbClr val="001423"/>
                </a:solidFill>
              </a:rPr>
              <a:t> </a:t>
            </a:r>
            <a:endParaRPr lang="en-GB" sz="1800" b="1" dirty="0">
              <a:solidFill>
                <a:srgbClr val="001423"/>
              </a:solidFill>
            </a:endParaRP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3"/>
          </p:nvPr>
        </p:nvSpPr>
        <p:spPr>
          <a:xfrm>
            <a:off x="2987824" y="4731990"/>
            <a:ext cx="2900363" cy="101600"/>
          </a:xfrm>
        </p:spPr>
        <p:txBody>
          <a:bodyPr/>
          <a:lstStyle/>
          <a:p>
            <a:pPr algn="l">
              <a:defRPr/>
            </a:pPr>
            <a:r>
              <a:rPr lang="nb-NO" sz="1050" dirty="0">
                <a:solidFill>
                  <a:srgbClr val="82786F"/>
                </a:solidFill>
              </a:rPr>
              <a:t>UKPDS 34. </a:t>
            </a:r>
            <a:r>
              <a:rPr lang="nb-NO" sz="1050" dirty="0" err="1">
                <a:solidFill>
                  <a:srgbClr val="82786F"/>
                </a:solidFill>
              </a:rPr>
              <a:t>Lancet</a:t>
            </a:r>
            <a:r>
              <a:rPr lang="nb-NO" sz="1050" dirty="0">
                <a:solidFill>
                  <a:srgbClr val="82786F"/>
                </a:solidFill>
              </a:rPr>
              <a:t>. 1998;352:837-853</a:t>
            </a:r>
            <a:endParaRPr lang="en-GB" sz="1050" dirty="0">
              <a:solidFill>
                <a:srgbClr val="82786F"/>
              </a:solidFill>
            </a:endParaRPr>
          </a:p>
        </p:txBody>
      </p:sp>
      <p:sp>
        <p:nvSpPr>
          <p:cNvPr id="7" name="Rechthoek 6"/>
          <p:cNvSpPr/>
          <p:nvPr/>
        </p:nvSpPr>
        <p:spPr>
          <a:xfrm>
            <a:off x="683568" y="1419622"/>
            <a:ext cx="8064896" cy="15927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tabLst>
                <a:tab pos="7805738" algn="l"/>
              </a:tabLst>
            </a:pPr>
            <a:r>
              <a:rPr lang="nl-NL" dirty="0" smtClean="0"/>
              <a:t>UKPDS</a:t>
            </a:r>
          </a:p>
          <a:p>
            <a:pPr>
              <a:lnSpc>
                <a:spcPct val="90000"/>
              </a:lnSpc>
              <a:tabLst>
                <a:tab pos="7805738" algn="l"/>
              </a:tabLst>
            </a:pPr>
            <a:endParaRPr lang="nl-NL" dirty="0" smtClean="0"/>
          </a:p>
          <a:p>
            <a:pPr marL="285750" indent="-285750">
              <a:lnSpc>
                <a:spcPct val="90000"/>
              </a:lnSpc>
              <a:buFont typeface="Arial"/>
              <a:buChar char="•"/>
              <a:tabLst>
                <a:tab pos="7805738" algn="l"/>
              </a:tabLst>
            </a:pPr>
            <a:r>
              <a:rPr lang="nl-NL" dirty="0" smtClean="0"/>
              <a:t>Subgroep 342 </a:t>
            </a:r>
            <a:r>
              <a:rPr lang="nl-NL" dirty="0" err="1"/>
              <a:t>obese</a:t>
            </a:r>
            <a:r>
              <a:rPr lang="nl-NL" dirty="0"/>
              <a:t> </a:t>
            </a:r>
            <a:r>
              <a:rPr lang="nl-NL" dirty="0" smtClean="0"/>
              <a:t>patiënten </a:t>
            </a:r>
          </a:p>
          <a:p>
            <a:pPr marL="285750" indent="-285750">
              <a:lnSpc>
                <a:spcPct val="90000"/>
              </a:lnSpc>
              <a:buFont typeface="Arial"/>
              <a:buChar char="•"/>
              <a:tabLst>
                <a:tab pos="7805738" algn="l"/>
              </a:tabLst>
            </a:pPr>
            <a:r>
              <a:rPr lang="nl-NL" dirty="0" smtClean="0"/>
              <a:t>Recent </a:t>
            </a:r>
            <a:r>
              <a:rPr lang="nl-NL" dirty="0"/>
              <a:t>vastgestelde </a:t>
            </a:r>
            <a:r>
              <a:rPr lang="nl-NL" dirty="0" smtClean="0"/>
              <a:t>diabetes</a:t>
            </a:r>
          </a:p>
          <a:p>
            <a:pPr marL="285750" indent="-285750">
              <a:lnSpc>
                <a:spcPct val="90000"/>
              </a:lnSpc>
              <a:buFont typeface="Arial"/>
              <a:buChar char="•"/>
              <a:tabLst>
                <a:tab pos="7805738" algn="l"/>
              </a:tabLst>
            </a:pPr>
            <a:r>
              <a:rPr lang="nl-NL" dirty="0" smtClean="0"/>
              <a:t>Na </a:t>
            </a:r>
            <a:r>
              <a:rPr lang="nl-NL" dirty="0"/>
              <a:t>3 jaar </a:t>
            </a:r>
            <a:r>
              <a:rPr lang="nl-NL" dirty="0" smtClean="0"/>
              <a:t>geen effect CV eindpunten, na 8 jaar wel </a:t>
            </a:r>
          </a:p>
          <a:p>
            <a:pPr marL="285750" indent="-285750">
              <a:lnSpc>
                <a:spcPct val="90000"/>
              </a:lnSpc>
              <a:buFont typeface="Arial"/>
              <a:buChar char="•"/>
              <a:tabLst>
                <a:tab pos="7805738" algn="l"/>
              </a:tabLst>
            </a:pPr>
            <a:r>
              <a:rPr lang="nl-NL" dirty="0" smtClean="0"/>
              <a:t>Op </a:t>
            </a:r>
            <a:r>
              <a:rPr lang="nl-NL" dirty="0"/>
              <a:t>dat moment gebruikte al meer dan de helft van deze patiënten ook </a:t>
            </a:r>
            <a:r>
              <a:rPr lang="nl-NL" dirty="0" smtClean="0"/>
              <a:t>insuline                    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44777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458" name="Group 2"/>
          <p:cNvGrpSpPr>
            <a:grpSpLocks/>
          </p:cNvGrpSpPr>
          <p:nvPr/>
        </p:nvGrpSpPr>
        <p:grpSpPr bwMode="auto">
          <a:xfrm>
            <a:off x="1518072" y="1563272"/>
            <a:ext cx="3644503" cy="2472948"/>
            <a:chOff x="783" y="647"/>
            <a:chExt cx="3061" cy="2769"/>
          </a:xfrm>
        </p:grpSpPr>
        <p:grpSp>
          <p:nvGrpSpPr>
            <p:cNvPr id="19464" name="Group 3"/>
            <p:cNvGrpSpPr>
              <a:grpSpLocks/>
            </p:cNvGrpSpPr>
            <p:nvPr/>
          </p:nvGrpSpPr>
          <p:grpSpPr bwMode="auto">
            <a:xfrm>
              <a:off x="1227" y="3008"/>
              <a:ext cx="2498" cy="191"/>
              <a:chOff x="1233" y="3008"/>
              <a:chExt cx="2673" cy="191"/>
            </a:xfrm>
          </p:grpSpPr>
          <p:sp>
            <p:nvSpPr>
              <p:cNvPr id="19481" name="Line 4"/>
              <p:cNvSpPr>
                <a:spLocks noChangeShapeType="1"/>
              </p:cNvSpPr>
              <p:nvPr/>
            </p:nvSpPr>
            <p:spPr bwMode="auto">
              <a:xfrm>
                <a:off x="1243" y="3008"/>
                <a:ext cx="2607" cy="1"/>
              </a:xfrm>
              <a:prstGeom prst="line">
                <a:avLst/>
              </a:prstGeom>
              <a:noFill/>
              <a:ln w="1206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20000"/>
                  </a:spcBef>
                  <a:spcAft>
                    <a:spcPct val="0"/>
                  </a:spcAft>
                  <a:buClr>
                    <a:prstClr val="black"/>
                  </a:buClr>
                  <a:buFontTx/>
                  <a:buChar char="•"/>
                </a:pPr>
                <a:endParaRPr lang="en-US" sz="2100">
                  <a:solidFill>
                    <a:prstClr val="black"/>
                  </a:solidFill>
                </a:endParaRPr>
              </a:p>
            </p:txBody>
          </p:sp>
          <p:sp>
            <p:nvSpPr>
              <p:cNvPr id="19482" name="Line 5"/>
              <p:cNvSpPr>
                <a:spLocks noChangeShapeType="1"/>
              </p:cNvSpPr>
              <p:nvPr/>
            </p:nvSpPr>
            <p:spPr bwMode="auto">
              <a:xfrm>
                <a:off x="1246" y="3008"/>
                <a:ext cx="0" cy="49"/>
              </a:xfrm>
              <a:prstGeom prst="line">
                <a:avLst/>
              </a:prstGeom>
              <a:noFill/>
              <a:ln w="1206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20000"/>
                  </a:spcBef>
                  <a:spcAft>
                    <a:spcPct val="0"/>
                  </a:spcAft>
                  <a:buClr>
                    <a:prstClr val="black"/>
                  </a:buClr>
                  <a:buFontTx/>
                  <a:buChar char="•"/>
                </a:pPr>
                <a:endParaRPr lang="en-US" sz="2100">
                  <a:solidFill>
                    <a:prstClr val="black"/>
                  </a:solidFill>
                </a:endParaRPr>
              </a:p>
            </p:txBody>
          </p:sp>
          <p:sp>
            <p:nvSpPr>
              <p:cNvPr id="19483" name="Line 6"/>
              <p:cNvSpPr>
                <a:spLocks noChangeShapeType="1"/>
              </p:cNvSpPr>
              <p:nvPr/>
            </p:nvSpPr>
            <p:spPr bwMode="auto">
              <a:xfrm>
                <a:off x="1898" y="3008"/>
                <a:ext cx="0" cy="49"/>
              </a:xfrm>
              <a:prstGeom prst="line">
                <a:avLst/>
              </a:prstGeom>
              <a:noFill/>
              <a:ln w="1206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20000"/>
                  </a:spcBef>
                  <a:spcAft>
                    <a:spcPct val="0"/>
                  </a:spcAft>
                  <a:buClr>
                    <a:prstClr val="black"/>
                  </a:buClr>
                  <a:buFontTx/>
                  <a:buChar char="•"/>
                </a:pPr>
                <a:endParaRPr lang="en-US" sz="2100">
                  <a:solidFill>
                    <a:prstClr val="black"/>
                  </a:solidFill>
                </a:endParaRPr>
              </a:p>
            </p:txBody>
          </p:sp>
          <p:sp>
            <p:nvSpPr>
              <p:cNvPr id="19484" name="Line 7"/>
              <p:cNvSpPr>
                <a:spLocks noChangeShapeType="1"/>
              </p:cNvSpPr>
              <p:nvPr/>
            </p:nvSpPr>
            <p:spPr bwMode="auto">
              <a:xfrm>
                <a:off x="2547" y="3008"/>
                <a:ext cx="0" cy="49"/>
              </a:xfrm>
              <a:prstGeom prst="line">
                <a:avLst/>
              </a:prstGeom>
              <a:noFill/>
              <a:ln w="1206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20000"/>
                  </a:spcBef>
                  <a:spcAft>
                    <a:spcPct val="0"/>
                  </a:spcAft>
                  <a:buClr>
                    <a:prstClr val="black"/>
                  </a:buClr>
                  <a:buFontTx/>
                  <a:buChar char="•"/>
                </a:pPr>
                <a:endParaRPr lang="en-US" sz="2100">
                  <a:solidFill>
                    <a:prstClr val="black"/>
                  </a:solidFill>
                </a:endParaRPr>
              </a:p>
            </p:txBody>
          </p:sp>
          <p:sp>
            <p:nvSpPr>
              <p:cNvPr id="19485" name="Line 8"/>
              <p:cNvSpPr>
                <a:spLocks noChangeShapeType="1"/>
              </p:cNvSpPr>
              <p:nvPr/>
            </p:nvSpPr>
            <p:spPr bwMode="auto">
              <a:xfrm>
                <a:off x="3203" y="3008"/>
                <a:ext cx="1" cy="49"/>
              </a:xfrm>
              <a:prstGeom prst="line">
                <a:avLst/>
              </a:prstGeom>
              <a:noFill/>
              <a:ln w="1206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20000"/>
                  </a:spcBef>
                  <a:spcAft>
                    <a:spcPct val="0"/>
                  </a:spcAft>
                  <a:buClr>
                    <a:prstClr val="black"/>
                  </a:buClr>
                  <a:buFontTx/>
                  <a:buChar char="•"/>
                </a:pPr>
                <a:endParaRPr lang="en-US" sz="2100">
                  <a:solidFill>
                    <a:prstClr val="black"/>
                  </a:solidFill>
                </a:endParaRPr>
              </a:p>
            </p:txBody>
          </p:sp>
          <p:sp>
            <p:nvSpPr>
              <p:cNvPr id="19486" name="Line 9"/>
              <p:cNvSpPr>
                <a:spLocks noChangeShapeType="1"/>
              </p:cNvSpPr>
              <p:nvPr/>
            </p:nvSpPr>
            <p:spPr bwMode="auto">
              <a:xfrm>
                <a:off x="3852" y="3008"/>
                <a:ext cx="0" cy="49"/>
              </a:xfrm>
              <a:prstGeom prst="line">
                <a:avLst/>
              </a:prstGeom>
              <a:noFill/>
              <a:ln w="1206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20000"/>
                  </a:spcBef>
                  <a:spcAft>
                    <a:spcPct val="0"/>
                  </a:spcAft>
                  <a:buClr>
                    <a:prstClr val="black"/>
                  </a:buClr>
                  <a:buFontTx/>
                  <a:buChar char="•"/>
                </a:pPr>
                <a:endParaRPr lang="en-US" sz="2100">
                  <a:solidFill>
                    <a:prstClr val="black"/>
                  </a:solidFill>
                </a:endParaRPr>
              </a:p>
            </p:txBody>
          </p:sp>
          <p:sp>
            <p:nvSpPr>
              <p:cNvPr id="19487" name="Rectangle 10"/>
              <p:cNvSpPr>
                <a:spLocks noChangeArrowheads="1"/>
              </p:cNvSpPr>
              <p:nvPr/>
            </p:nvSpPr>
            <p:spPr bwMode="auto">
              <a:xfrm>
                <a:off x="1233" y="3070"/>
                <a:ext cx="86" cy="1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fontAlgn="base">
                  <a:spcBef>
                    <a:spcPct val="20000"/>
                  </a:spcBef>
                  <a:spcAft>
                    <a:spcPct val="0"/>
                  </a:spcAft>
                  <a:buClr>
                    <a:prstClr val="black"/>
                  </a:buClr>
                  <a:buFontTx/>
                  <a:buChar char="•"/>
                </a:pPr>
                <a:r>
                  <a:rPr lang="nl-NL" altLang="en-US" sz="750">
                    <a:solidFill>
                      <a:prstClr val="black"/>
                    </a:solidFill>
                    <a:latin typeface="Calibri" pitchFamily="34" charset="0"/>
                  </a:rPr>
                  <a:t>0</a:t>
                </a:r>
              </a:p>
            </p:txBody>
          </p:sp>
          <p:sp>
            <p:nvSpPr>
              <p:cNvPr id="19488" name="Rectangle 11"/>
              <p:cNvSpPr>
                <a:spLocks noChangeArrowheads="1"/>
              </p:cNvSpPr>
              <p:nvPr/>
            </p:nvSpPr>
            <p:spPr bwMode="auto">
              <a:xfrm>
                <a:off x="1871" y="3070"/>
                <a:ext cx="86" cy="1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fontAlgn="base">
                  <a:spcBef>
                    <a:spcPct val="20000"/>
                  </a:spcBef>
                  <a:spcAft>
                    <a:spcPct val="0"/>
                  </a:spcAft>
                  <a:buClr>
                    <a:prstClr val="black"/>
                  </a:buClr>
                  <a:buFontTx/>
                  <a:buChar char="•"/>
                </a:pPr>
                <a:r>
                  <a:rPr lang="nl-NL" altLang="en-US" sz="750">
                    <a:solidFill>
                      <a:prstClr val="black"/>
                    </a:solidFill>
                    <a:latin typeface="Calibri" pitchFamily="34" charset="0"/>
                  </a:rPr>
                  <a:t>1</a:t>
                </a:r>
              </a:p>
            </p:txBody>
          </p:sp>
          <p:sp>
            <p:nvSpPr>
              <p:cNvPr id="19489" name="Rectangle 12"/>
              <p:cNvSpPr>
                <a:spLocks noChangeArrowheads="1"/>
              </p:cNvSpPr>
              <p:nvPr/>
            </p:nvSpPr>
            <p:spPr bwMode="auto">
              <a:xfrm>
                <a:off x="2520" y="3070"/>
                <a:ext cx="86" cy="1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fontAlgn="base">
                  <a:spcBef>
                    <a:spcPct val="20000"/>
                  </a:spcBef>
                  <a:spcAft>
                    <a:spcPct val="0"/>
                  </a:spcAft>
                  <a:buClr>
                    <a:prstClr val="black"/>
                  </a:buClr>
                  <a:buFontTx/>
                  <a:buChar char="•"/>
                </a:pPr>
                <a:r>
                  <a:rPr lang="nl-NL" altLang="en-US" sz="750">
                    <a:solidFill>
                      <a:prstClr val="black"/>
                    </a:solidFill>
                    <a:latin typeface="Calibri" pitchFamily="34" charset="0"/>
                  </a:rPr>
                  <a:t>2</a:t>
                </a:r>
              </a:p>
            </p:txBody>
          </p:sp>
          <p:sp>
            <p:nvSpPr>
              <p:cNvPr id="19490" name="Rectangle 13"/>
              <p:cNvSpPr>
                <a:spLocks noChangeArrowheads="1"/>
              </p:cNvSpPr>
              <p:nvPr/>
            </p:nvSpPr>
            <p:spPr bwMode="auto">
              <a:xfrm>
                <a:off x="3183" y="3070"/>
                <a:ext cx="86" cy="1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fontAlgn="base">
                  <a:spcBef>
                    <a:spcPct val="20000"/>
                  </a:spcBef>
                  <a:spcAft>
                    <a:spcPct val="0"/>
                  </a:spcAft>
                  <a:buClr>
                    <a:prstClr val="black"/>
                  </a:buClr>
                  <a:buFontTx/>
                  <a:buChar char="•"/>
                </a:pPr>
                <a:r>
                  <a:rPr lang="nl-NL" altLang="en-US" sz="750">
                    <a:solidFill>
                      <a:prstClr val="black"/>
                    </a:solidFill>
                    <a:latin typeface="Calibri" pitchFamily="34" charset="0"/>
                  </a:rPr>
                  <a:t>3</a:t>
                </a:r>
              </a:p>
            </p:txBody>
          </p:sp>
          <p:sp>
            <p:nvSpPr>
              <p:cNvPr id="19491" name="Rectangle 14"/>
              <p:cNvSpPr>
                <a:spLocks noChangeArrowheads="1"/>
              </p:cNvSpPr>
              <p:nvPr/>
            </p:nvSpPr>
            <p:spPr bwMode="auto">
              <a:xfrm>
                <a:off x="3820" y="3070"/>
                <a:ext cx="86" cy="1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fontAlgn="base">
                  <a:spcBef>
                    <a:spcPct val="20000"/>
                  </a:spcBef>
                  <a:spcAft>
                    <a:spcPct val="0"/>
                  </a:spcAft>
                  <a:buClr>
                    <a:prstClr val="black"/>
                  </a:buClr>
                  <a:buFontTx/>
                  <a:buChar char="•"/>
                </a:pPr>
                <a:r>
                  <a:rPr lang="nl-NL" altLang="en-US" sz="750">
                    <a:solidFill>
                      <a:prstClr val="black"/>
                    </a:solidFill>
                    <a:latin typeface="Calibri" pitchFamily="34" charset="0"/>
                  </a:rPr>
                  <a:t>4</a:t>
                </a:r>
              </a:p>
            </p:txBody>
          </p:sp>
        </p:grpSp>
        <p:sp>
          <p:nvSpPr>
            <p:cNvPr id="34824" name="Rectangle 15"/>
            <p:cNvSpPr>
              <a:spLocks noChangeArrowheads="1"/>
            </p:cNvSpPr>
            <p:nvPr/>
          </p:nvSpPr>
          <p:spPr bwMode="auto">
            <a:xfrm>
              <a:off x="2123" y="3209"/>
              <a:ext cx="1352" cy="2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buClr>
                  <a:prstClr val="black"/>
                </a:buClr>
                <a:defRPr/>
              </a:pPr>
              <a:r>
                <a:rPr lang="nl-NL" sz="1200" b="1" dirty="0" smtClean="0">
                  <a:solidFill>
                    <a:prstClr val="black"/>
                  </a:solidFill>
                  <a:latin typeface="Calibri" pitchFamily="34" charset="0"/>
                </a:rPr>
                <a:t>Follow</a:t>
              </a:r>
              <a:r>
                <a:rPr lang="nl-NL" sz="1200" b="1" dirty="0">
                  <a:solidFill>
                    <a:prstClr val="black"/>
                  </a:solidFill>
                  <a:latin typeface="Calibri" pitchFamily="34" charset="0"/>
                </a:rPr>
                <a:t>-up (</a:t>
              </a:r>
              <a:r>
                <a:rPr lang="nl-NL" sz="1200" b="1" dirty="0" err="1">
                  <a:solidFill>
                    <a:prstClr val="black"/>
                  </a:solidFill>
                  <a:latin typeface="Calibri" pitchFamily="34" charset="0"/>
                </a:rPr>
                <a:t>years</a:t>
              </a:r>
              <a:r>
                <a:rPr lang="nl-NL" sz="1200" b="1" dirty="0">
                  <a:solidFill>
                    <a:prstClr val="black"/>
                  </a:solidFill>
                  <a:latin typeface="Calibri" pitchFamily="34" charset="0"/>
                </a:rPr>
                <a:t>)</a:t>
              </a:r>
            </a:p>
          </p:txBody>
        </p:sp>
        <p:sp>
          <p:nvSpPr>
            <p:cNvPr id="19466" name="Line 16"/>
            <p:cNvSpPr>
              <a:spLocks noChangeShapeType="1"/>
            </p:cNvSpPr>
            <p:nvPr/>
          </p:nvSpPr>
          <p:spPr bwMode="auto">
            <a:xfrm flipV="1">
              <a:off x="1243" y="1046"/>
              <a:ext cx="1" cy="1968"/>
            </a:xfrm>
            <a:prstGeom prst="line">
              <a:avLst/>
            </a:prstGeom>
            <a:noFill/>
            <a:ln w="1206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20000"/>
                </a:spcBef>
                <a:spcAft>
                  <a:spcPct val="0"/>
                </a:spcAft>
                <a:buClr>
                  <a:prstClr val="black"/>
                </a:buClr>
                <a:buFontTx/>
                <a:buChar char="•"/>
              </a:pPr>
              <a:endParaRPr lang="en-US" sz="2100">
                <a:solidFill>
                  <a:prstClr val="black"/>
                </a:solidFill>
              </a:endParaRPr>
            </a:p>
          </p:txBody>
        </p:sp>
        <p:sp>
          <p:nvSpPr>
            <p:cNvPr id="19467" name="Line 17"/>
            <p:cNvSpPr>
              <a:spLocks noChangeShapeType="1"/>
            </p:cNvSpPr>
            <p:nvPr/>
          </p:nvSpPr>
          <p:spPr bwMode="auto">
            <a:xfrm flipH="1">
              <a:off x="1195" y="2819"/>
              <a:ext cx="48" cy="1"/>
            </a:xfrm>
            <a:prstGeom prst="line">
              <a:avLst/>
            </a:prstGeom>
            <a:noFill/>
            <a:ln w="1206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20000"/>
                </a:spcBef>
                <a:spcAft>
                  <a:spcPct val="0"/>
                </a:spcAft>
                <a:buClr>
                  <a:prstClr val="black"/>
                </a:buClr>
                <a:buFontTx/>
                <a:buChar char="•"/>
              </a:pPr>
              <a:endParaRPr lang="en-US" sz="2100">
                <a:solidFill>
                  <a:prstClr val="black"/>
                </a:solidFill>
              </a:endParaRPr>
            </a:p>
          </p:txBody>
        </p:sp>
        <p:sp>
          <p:nvSpPr>
            <p:cNvPr id="19468" name="Line 18"/>
            <p:cNvSpPr>
              <a:spLocks noChangeShapeType="1"/>
            </p:cNvSpPr>
            <p:nvPr/>
          </p:nvSpPr>
          <p:spPr bwMode="auto">
            <a:xfrm flipH="1">
              <a:off x="1195" y="2228"/>
              <a:ext cx="48" cy="1"/>
            </a:xfrm>
            <a:prstGeom prst="line">
              <a:avLst/>
            </a:prstGeom>
            <a:noFill/>
            <a:ln w="1206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20000"/>
                </a:spcBef>
                <a:spcAft>
                  <a:spcPct val="0"/>
                </a:spcAft>
                <a:buClr>
                  <a:prstClr val="black"/>
                </a:buClr>
                <a:buFontTx/>
                <a:buChar char="•"/>
              </a:pPr>
              <a:endParaRPr lang="en-US" sz="2100">
                <a:solidFill>
                  <a:prstClr val="black"/>
                </a:solidFill>
              </a:endParaRPr>
            </a:p>
          </p:txBody>
        </p:sp>
        <p:sp>
          <p:nvSpPr>
            <p:cNvPr id="19469" name="Line 19"/>
            <p:cNvSpPr>
              <a:spLocks noChangeShapeType="1"/>
            </p:cNvSpPr>
            <p:nvPr/>
          </p:nvSpPr>
          <p:spPr bwMode="auto">
            <a:xfrm flipH="1">
              <a:off x="1195" y="1637"/>
              <a:ext cx="48" cy="1"/>
            </a:xfrm>
            <a:prstGeom prst="line">
              <a:avLst/>
            </a:prstGeom>
            <a:noFill/>
            <a:ln w="1206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20000"/>
                </a:spcBef>
                <a:spcAft>
                  <a:spcPct val="0"/>
                </a:spcAft>
                <a:buClr>
                  <a:prstClr val="black"/>
                </a:buClr>
                <a:buFontTx/>
                <a:buChar char="•"/>
              </a:pPr>
              <a:endParaRPr lang="en-US" sz="2100">
                <a:solidFill>
                  <a:prstClr val="black"/>
                </a:solidFill>
              </a:endParaRPr>
            </a:p>
          </p:txBody>
        </p:sp>
        <p:sp>
          <p:nvSpPr>
            <p:cNvPr id="19470" name="Line 20"/>
            <p:cNvSpPr>
              <a:spLocks noChangeShapeType="1"/>
            </p:cNvSpPr>
            <p:nvPr/>
          </p:nvSpPr>
          <p:spPr bwMode="auto">
            <a:xfrm flipH="1">
              <a:off x="1195" y="1046"/>
              <a:ext cx="48" cy="0"/>
            </a:xfrm>
            <a:prstGeom prst="line">
              <a:avLst/>
            </a:prstGeom>
            <a:noFill/>
            <a:ln w="1206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20000"/>
                </a:spcBef>
                <a:spcAft>
                  <a:spcPct val="0"/>
                </a:spcAft>
                <a:buClr>
                  <a:prstClr val="black"/>
                </a:buClr>
                <a:buFontTx/>
                <a:buChar char="•"/>
              </a:pPr>
              <a:endParaRPr lang="en-US" sz="2100">
                <a:solidFill>
                  <a:prstClr val="black"/>
                </a:solidFill>
              </a:endParaRPr>
            </a:p>
          </p:txBody>
        </p:sp>
        <p:sp>
          <p:nvSpPr>
            <p:cNvPr id="19471" name="Rectangle 21"/>
            <p:cNvSpPr>
              <a:spLocks noChangeArrowheads="1"/>
            </p:cNvSpPr>
            <p:nvPr/>
          </p:nvSpPr>
          <p:spPr bwMode="auto">
            <a:xfrm>
              <a:off x="1024" y="2778"/>
              <a:ext cx="182" cy="1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20000"/>
                </a:spcBef>
                <a:spcAft>
                  <a:spcPct val="0"/>
                </a:spcAft>
                <a:buClr>
                  <a:prstClr val="black"/>
                </a:buClr>
                <a:buFontTx/>
                <a:buChar char="•"/>
              </a:pPr>
              <a:r>
                <a:rPr lang="nl-NL" altLang="en-US" sz="750">
                  <a:solidFill>
                    <a:prstClr val="black"/>
                  </a:solidFill>
                  <a:latin typeface="Calibri" pitchFamily="34" charset="0"/>
                </a:rPr>
                <a:t>0.85</a:t>
              </a:r>
            </a:p>
          </p:txBody>
        </p:sp>
        <p:sp>
          <p:nvSpPr>
            <p:cNvPr id="19472" name="Rectangle 22"/>
            <p:cNvSpPr>
              <a:spLocks noChangeArrowheads="1"/>
            </p:cNvSpPr>
            <p:nvPr/>
          </p:nvSpPr>
          <p:spPr bwMode="auto">
            <a:xfrm>
              <a:off x="1031" y="2186"/>
              <a:ext cx="182" cy="1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20000"/>
                </a:spcBef>
                <a:spcAft>
                  <a:spcPct val="0"/>
                </a:spcAft>
                <a:buClr>
                  <a:prstClr val="black"/>
                </a:buClr>
                <a:buFontTx/>
                <a:buChar char="•"/>
              </a:pPr>
              <a:r>
                <a:rPr lang="nl-NL" altLang="en-US" sz="750">
                  <a:solidFill>
                    <a:prstClr val="black"/>
                  </a:solidFill>
                  <a:latin typeface="Calibri" pitchFamily="34" charset="0"/>
                </a:rPr>
                <a:t>0.90</a:t>
              </a:r>
            </a:p>
          </p:txBody>
        </p:sp>
        <p:sp>
          <p:nvSpPr>
            <p:cNvPr id="19473" name="Rectangle 23"/>
            <p:cNvSpPr>
              <a:spLocks noChangeArrowheads="1"/>
            </p:cNvSpPr>
            <p:nvPr/>
          </p:nvSpPr>
          <p:spPr bwMode="auto">
            <a:xfrm>
              <a:off x="1024" y="1595"/>
              <a:ext cx="182" cy="1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20000"/>
                </a:spcBef>
                <a:spcAft>
                  <a:spcPct val="0"/>
                </a:spcAft>
                <a:buClr>
                  <a:prstClr val="black"/>
                </a:buClr>
                <a:buFontTx/>
                <a:buChar char="•"/>
              </a:pPr>
              <a:r>
                <a:rPr lang="nl-NL" altLang="en-US" sz="750">
                  <a:solidFill>
                    <a:prstClr val="black"/>
                  </a:solidFill>
                  <a:latin typeface="Calibri" pitchFamily="34" charset="0"/>
                </a:rPr>
                <a:t>0.95</a:t>
              </a:r>
            </a:p>
          </p:txBody>
        </p:sp>
        <p:sp>
          <p:nvSpPr>
            <p:cNvPr id="19474" name="Rectangle 24"/>
            <p:cNvSpPr>
              <a:spLocks noChangeArrowheads="1"/>
            </p:cNvSpPr>
            <p:nvPr/>
          </p:nvSpPr>
          <p:spPr bwMode="auto">
            <a:xfrm>
              <a:off x="1036" y="1011"/>
              <a:ext cx="182" cy="1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20000"/>
                </a:spcBef>
                <a:spcAft>
                  <a:spcPct val="0"/>
                </a:spcAft>
                <a:buClr>
                  <a:prstClr val="black"/>
                </a:buClr>
                <a:buFontTx/>
                <a:buChar char="•"/>
              </a:pPr>
              <a:r>
                <a:rPr lang="nl-NL" altLang="en-US" sz="750" dirty="0">
                  <a:solidFill>
                    <a:prstClr val="black"/>
                  </a:solidFill>
                  <a:latin typeface="Calibri" pitchFamily="34" charset="0"/>
                </a:rPr>
                <a:t>1.00</a:t>
              </a:r>
            </a:p>
          </p:txBody>
        </p:sp>
        <p:sp>
          <p:nvSpPr>
            <p:cNvPr id="19475" name="Rectangle 25"/>
            <p:cNvSpPr>
              <a:spLocks noChangeArrowheads="1"/>
            </p:cNvSpPr>
            <p:nvPr/>
          </p:nvSpPr>
          <p:spPr bwMode="auto">
            <a:xfrm>
              <a:off x="1237" y="1046"/>
              <a:ext cx="2607" cy="1968"/>
            </a:xfrm>
            <a:prstGeom prst="rect">
              <a:avLst/>
            </a:prstGeom>
            <a:solidFill>
              <a:srgbClr val="FFFFFF"/>
            </a:solidFill>
            <a:ln w="1206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20000"/>
                </a:spcBef>
                <a:spcAft>
                  <a:spcPct val="0"/>
                </a:spcAft>
                <a:buClr>
                  <a:prstClr val="black"/>
                </a:buClr>
                <a:buFontTx/>
                <a:buChar char="•"/>
              </a:pPr>
              <a:endParaRPr lang="en-US" altLang="en-US" sz="2100">
                <a:solidFill>
                  <a:prstClr val="black"/>
                </a:solidFill>
                <a:latin typeface="Corbel" pitchFamily="34" charset="0"/>
              </a:endParaRPr>
            </a:p>
          </p:txBody>
        </p:sp>
        <p:sp>
          <p:nvSpPr>
            <p:cNvPr id="19476" name="Freeform 26"/>
            <p:cNvSpPr>
              <a:spLocks/>
            </p:cNvSpPr>
            <p:nvPr/>
          </p:nvSpPr>
          <p:spPr bwMode="auto">
            <a:xfrm>
              <a:off x="1218" y="1053"/>
              <a:ext cx="2622" cy="1873"/>
            </a:xfrm>
            <a:custGeom>
              <a:avLst/>
              <a:gdLst>
                <a:gd name="T0" fmla="*/ 0 w 6547"/>
                <a:gd name="T1" fmla="*/ 0 h 6258"/>
                <a:gd name="T2" fmla="*/ 0 w 6547"/>
                <a:gd name="T3" fmla="*/ 0 h 6258"/>
                <a:gd name="T4" fmla="*/ 0 w 6547"/>
                <a:gd name="T5" fmla="*/ 0 h 6258"/>
                <a:gd name="T6" fmla="*/ 0 w 6547"/>
                <a:gd name="T7" fmla="*/ 0 h 6258"/>
                <a:gd name="T8" fmla="*/ 0 w 6547"/>
                <a:gd name="T9" fmla="*/ 0 h 6258"/>
                <a:gd name="T10" fmla="*/ 0 w 6547"/>
                <a:gd name="T11" fmla="*/ 0 h 6258"/>
                <a:gd name="T12" fmla="*/ 0 w 6547"/>
                <a:gd name="T13" fmla="*/ 0 h 6258"/>
                <a:gd name="T14" fmla="*/ 0 w 6547"/>
                <a:gd name="T15" fmla="*/ 0 h 6258"/>
                <a:gd name="T16" fmla="*/ 0 w 6547"/>
                <a:gd name="T17" fmla="*/ 0 h 6258"/>
                <a:gd name="T18" fmla="*/ 0 w 6547"/>
                <a:gd name="T19" fmla="*/ 0 h 6258"/>
                <a:gd name="T20" fmla="*/ 0 w 6547"/>
                <a:gd name="T21" fmla="*/ 0 h 6258"/>
                <a:gd name="T22" fmla="*/ 0 w 6547"/>
                <a:gd name="T23" fmla="*/ 0 h 6258"/>
                <a:gd name="T24" fmla="*/ 0 w 6547"/>
                <a:gd name="T25" fmla="*/ 0 h 6258"/>
                <a:gd name="T26" fmla="*/ 0 w 6547"/>
                <a:gd name="T27" fmla="*/ 0 h 6258"/>
                <a:gd name="T28" fmla="*/ 0 w 6547"/>
                <a:gd name="T29" fmla="*/ 0 h 6258"/>
                <a:gd name="T30" fmla="*/ 0 w 6547"/>
                <a:gd name="T31" fmla="*/ 0 h 6258"/>
                <a:gd name="T32" fmla="*/ 0 w 6547"/>
                <a:gd name="T33" fmla="*/ 0 h 6258"/>
                <a:gd name="T34" fmla="*/ 0 w 6547"/>
                <a:gd name="T35" fmla="*/ 0 h 6258"/>
                <a:gd name="T36" fmla="*/ 0 w 6547"/>
                <a:gd name="T37" fmla="*/ 0 h 6258"/>
                <a:gd name="T38" fmla="*/ 0 w 6547"/>
                <a:gd name="T39" fmla="*/ 0 h 6258"/>
                <a:gd name="T40" fmla="*/ 0 w 6547"/>
                <a:gd name="T41" fmla="*/ 0 h 6258"/>
                <a:gd name="T42" fmla="*/ 0 w 6547"/>
                <a:gd name="T43" fmla="*/ 0 h 6258"/>
                <a:gd name="T44" fmla="*/ 0 w 6547"/>
                <a:gd name="T45" fmla="*/ 0 h 6258"/>
                <a:gd name="T46" fmla="*/ 0 w 6547"/>
                <a:gd name="T47" fmla="*/ 0 h 6258"/>
                <a:gd name="T48" fmla="*/ 0 w 6547"/>
                <a:gd name="T49" fmla="*/ 0 h 6258"/>
                <a:gd name="T50" fmla="*/ 0 w 6547"/>
                <a:gd name="T51" fmla="*/ 0 h 6258"/>
                <a:gd name="T52" fmla="*/ 0 w 6547"/>
                <a:gd name="T53" fmla="*/ 0 h 6258"/>
                <a:gd name="T54" fmla="*/ 0 w 6547"/>
                <a:gd name="T55" fmla="*/ 0 h 6258"/>
                <a:gd name="T56" fmla="*/ 0 w 6547"/>
                <a:gd name="T57" fmla="*/ 0 h 6258"/>
                <a:gd name="T58" fmla="*/ 0 w 6547"/>
                <a:gd name="T59" fmla="*/ 0 h 6258"/>
                <a:gd name="T60" fmla="*/ 0 w 6547"/>
                <a:gd name="T61" fmla="*/ 0 h 6258"/>
                <a:gd name="T62" fmla="*/ 0 w 6547"/>
                <a:gd name="T63" fmla="*/ 0 h 6258"/>
                <a:gd name="T64" fmla="*/ 0 w 6547"/>
                <a:gd name="T65" fmla="*/ 0 h 6258"/>
                <a:gd name="T66" fmla="*/ 0 w 6547"/>
                <a:gd name="T67" fmla="*/ 0 h 6258"/>
                <a:gd name="T68" fmla="*/ 0 w 6547"/>
                <a:gd name="T69" fmla="*/ 0 h 6258"/>
                <a:gd name="T70" fmla="*/ 0 w 6547"/>
                <a:gd name="T71" fmla="*/ 0 h 6258"/>
                <a:gd name="T72" fmla="*/ 0 w 6547"/>
                <a:gd name="T73" fmla="*/ 0 h 6258"/>
                <a:gd name="T74" fmla="*/ 0 w 6547"/>
                <a:gd name="T75" fmla="*/ 0 h 6258"/>
                <a:gd name="T76" fmla="*/ 0 w 6547"/>
                <a:gd name="T77" fmla="*/ 0 h 6258"/>
                <a:gd name="T78" fmla="*/ 0 w 6547"/>
                <a:gd name="T79" fmla="*/ 0 h 6258"/>
                <a:gd name="T80" fmla="*/ 0 w 6547"/>
                <a:gd name="T81" fmla="*/ 0 h 6258"/>
                <a:gd name="T82" fmla="*/ 0 w 6547"/>
                <a:gd name="T83" fmla="*/ 0 h 6258"/>
                <a:gd name="T84" fmla="*/ 0 w 6547"/>
                <a:gd name="T85" fmla="*/ 0 h 6258"/>
                <a:gd name="T86" fmla="*/ 0 w 6547"/>
                <a:gd name="T87" fmla="*/ 0 h 6258"/>
                <a:gd name="T88" fmla="*/ 0 w 6547"/>
                <a:gd name="T89" fmla="*/ 0 h 6258"/>
                <a:gd name="T90" fmla="*/ 0 w 6547"/>
                <a:gd name="T91" fmla="*/ 0 h 6258"/>
                <a:gd name="T92" fmla="*/ 0 w 6547"/>
                <a:gd name="T93" fmla="*/ 0 h 6258"/>
                <a:gd name="T94" fmla="*/ 0 w 6547"/>
                <a:gd name="T95" fmla="*/ 0 h 6258"/>
                <a:gd name="T96" fmla="*/ 0 w 6547"/>
                <a:gd name="T97" fmla="*/ 0 h 6258"/>
                <a:gd name="T98" fmla="*/ 0 w 6547"/>
                <a:gd name="T99" fmla="*/ 0 h 6258"/>
                <a:gd name="T100" fmla="*/ 0 w 6547"/>
                <a:gd name="T101" fmla="*/ 0 h 6258"/>
                <a:gd name="T102" fmla="*/ 0 w 6547"/>
                <a:gd name="T103" fmla="*/ 0 h 6258"/>
                <a:gd name="T104" fmla="*/ 0 w 6547"/>
                <a:gd name="T105" fmla="*/ 0 h 6258"/>
                <a:gd name="T106" fmla="*/ 0 w 6547"/>
                <a:gd name="T107" fmla="*/ 0 h 6258"/>
                <a:gd name="T108" fmla="*/ 0 w 6547"/>
                <a:gd name="T109" fmla="*/ 0 h 6258"/>
                <a:gd name="T110" fmla="*/ 0 w 6547"/>
                <a:gd name="T111" fmla="*/ 0 h 6258"/>
                <a:gd name="T112" fmla="*/ 0 w 6547"/>
                <a:gd name="T113" fmla="*/ 0 h 6258"/>
                <a:gd name="T114" fmla="*/ 0 w 6547"/>
                <a:gd name="T115" fmla="*/ 0 h 6258"/>
                <a:gd name="T116" fmla="*/ 0 w 6547"/>
                <a:gd name="T117" fmla="*/ 0 h 6258"/>
                <a:gd name="T118" fmla="*/ 0 w 6547"/>
                <a:gd name="T119" fmla="*/ 0 h 62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547"/>
                <a:gd name="T181" fmla="*/ 0 h 6258"/>
                <a:gd name="T182" fmla="*/ 6547 w 6547"/>
                <a:gd name="T183" fmla="*/ 6258 h 62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547" h="6258">
                  <a:moveTo>
                    <a:pt x="0" y="0"/>
                  </a:moveTo>
                  <a:lnTo>
                    <a:pt x="91" y="0"/>
                  </a:lnTo>
                  <a:lnTo>
                    <a:pt x="91" y="83"/>
                  </a:lnTo>
                  <a:lnTo>
                    <a:pt x="99" y="83"/>
                  </a:lnTo>
                  <a:lnTo>
                    <a:pt x="99" y="167"/>
                  </a:lnTo>
                  <a:lnTo>
                    <a:pt x="120" y="167"/>
                  </a:lnTo>
                  <a:lnTo>
                    <a:pt x="120" y="252"/>
                  </a:lnTo>
                  <a:lnTo>
                    <a:pt x="175" y="252"/>
                  </a:lnTo>
                  <a:lnTo>
                    <a:pt x="175" y="336"/>
                  </a:lnTo>
                  <a:lnTo>
                    <a:pt x="219" y="336"/>
                  </a:lnTo>
                  <a:lnTo>
                    <a:pt x="219" y="422"/>
                  </a:lnTo>
                  <a:lnTo>
                    <a:pt x="310" y="422"/>
                  </a:lnTo>
                  <a:lnTo>
                    <a:pt x="310" y="508"/>
                  </a:lnTo>
                  <a:lnTo>
                    <a:pt x="379" y="508"/>
                  </a:lnTo>
                  <a:lnTo>
                    <a:pt x="379" y="594"/>
                  </a:lnTo>
                  <a:lnTo>
                    <a:pt x="404" y="594"/>
                  </a:lnTo>
                  <a:lnTo>
                    <a:pt x="404" y="681"/>
                  </a:lnTo>
                  <a:lnTo>
                    <a:pt x="491" y="681"/>
                  </a:lnTo>
                  <a:lnTo>
                    <a:pt x="491" y="767"/>
                  </a:lnTo>
                  <a:lnTo>
                    <a:pt x="608" y="767"/>
                  </a:lnTo>
                  <a:lnTo>
                    <a:pt x="608" y="854"/>
                  </a:lnTo>
                  <a:lnTo>
                    <a:pt x="611" y="854"/>
                  </a:lnTo>
                  <a:lnTo>
                    <a:pt x="611" y="940"/>
                  </a:lnTo>
                  <a:lnTo>
                    <a:pt x="757" y="940"/>
                  </a:lnTo>
                  <a:lnTo>
                    <a:pt x="757" y="1028"/>
                  </a:lnTo>
                  <a:lnTo>
                    <a:pt x="771" y="1028"/>
                  </a:lnTo>
                  <a:lnTo>
                    <a:pt x="771" y="1117"/>
                  </a:lnTo>
                  <a:lnTo>
                    <a:pt x="826" y="1117"/>
                  </a:lnTo>
                  <a:lnTo>
                    <a:pt x="826" y="1205"/>
                  </a:lnTo>
                  <a:lnTo>
                    <a:pt x="833" y="1205"/>
                  </a:lnTo>
                  <a:lnTo>
                    <a:pt x="833" y="1294"/>
                  </a:lnTo>
                  <a:lnTo>
                    <a:pt x="881" y="1294"/>
                  </a:lnTo>
                  <a:lnTo>
                    <a:pt x="881" y="1385"/>
                  </a:lnTo>
                  <a:lnTo>
                    <a:pt x="1070" y="1385"/>
                  </a:lnTo>
                  <a:lnTo>
                    <a:pt x="1070" y="1478"/>
                  </a:lnTo>
                  <a:lnTo>
                    <a:pt x="1292" y="1478"/>
                  </a:lnTo>
                  <a:lnTo>
                    <a:pt x="1292" y="1572"/>
                  </a:lnTo>
                  <a:lnTo>
                    <a:pt x="1368" y="1572"/>
                  </a:lnTo>
                  <a:lnTo>
                    <a:pt x="1368" y="1666"/>
                  </a:lnTo>
                  <a:lnTo>
                    <a:pt x="1422" y="1666"/>
                  </a:lnTo>
                  <a:lnTo>
                    <a:pt x="1422" y="1760"/>
                  </a:lnTo>
                  <a:lnTo>
                    <a:pt x="1444" y="1760"/>
                  </a:lnTo>
                  <a:lnTo>
                    <a:pt x="1444" y="1854"/>
                  </a:lnTo>
                  <a:lnTo>
                    <a:pt x="1462" y="1854"/>
                  </a:lnTo>
                  <a:lnTo>
                    <a:pt x="1462" y="2048"/>
                  </a:lnTo>
                  <a:lnTo>
                    <a:pt x="1539" y="2048"/>
                  </a:lnTo>
                  <a:lnTo>
                    <a:pt x="1539" y="2147"/>
                  </a:lnTo>
                  <a:lnTo>
                    <a:pt x="1659" y="2147"/>
                  </a:lnTo>
                  <a:lnTo>
                    <a:pt x="1659" y="2247"/>
                  </a:lnTo>
                  <a:lnTo>
                    <a:pt x="1732" y="2247"/>
                  </a:lnTo>
                  <a:lnTo>
                    <a:pt x="1732" y="2347"/>
                  </a:lnTo>
                  <a:lnTo>
                    <a:pt x="1870" y="2347"/>
                  </a:lnTo>
                  <a:lnTo>
                    <a:pt x="1870" y="2448"/>
                  </a:lnTo>
                  <a:lnTo>
                    <a:pt x="2204" y="2448"/>
                  </a:lnTo>
                  <a:lnTo>
                    <a:pt x="2204" y="2549"/>
                  </a:lnTo>
                  <a:lnTo>
                    <a:pt x="2226" y="2549"/>
                  </a:lnTo>
                  <a:lnTo>
                    <a:pt x="2226" y="2650"/>
                  </a:lnTo>
                  <a:lnTo>
                    <a:pt x="2703" y="2650"/>
                  </a:lnTo>
                  <a:lnTo>
                    <a:pt x="2703" y="2751"/>
                  </a:lnTo>
                  <a:lnTo>
                    <a:pt x="2714" y="2751"/>
                  </a:lnTo>
                  <a:lnTo>
                    <a:pt x="2714" y="2853"/>
                  </a:lnTo>
                  <a:lnTo>
                    <a:pt x="2735" y="2853"/>
                  </a:lnTo>
                  <a:lnTo>
                    <a:pt x="2735" y="2956"/>
                  </a:lnTo>
                  <a:lnTo>
                    <a:pt x="2750" y="2956"/>
                  </a:lnTo>
                  <a:lnTo>
                    <a:pt x="2750" y="3058"/>
                  </a:lnTo>
                  <a:lnTo>
                    <a:pt x="2790" y="3058"/>
                  </a:lnTo>
                  <a:lnTo>
                    <a:pt x="2790" y="3161"/>
                  </a:lnTo>
                  <a:lnTo>
                    <a:pt x="2812" y="3161"/>
                  </a:lnTo>
                  <a:lnTo>
                    <a:pt x="2812" y="3263"/>
                  </a:lnTo>
                  <a:lnTo>
                    <a:pt x="3048" y="3263"/>
                  </a:lnTo>
                  <a:lnTo>
                    <a:pt x="3048" y="3366"/>
                  </a:lnTo>
                  <a:lnTo>
                    <a:pt x="3092" y="3366"/>
                  </a:lnTo>
                  <a:lnTo>
                    <a:pt x="3092" y="3469"/>
                  </a:lnTo>
                  <a:lnTo>
                    <a:pt x="3274" y="3469"/>
                  </a:lnTo>
                  <a:lnTo>
                    <a:pt x="3274" y="3573"/>
                  </a:lnTo>
                  <a:lnTo>
                    <a:pt x="3470" y="3573"/>
                  </a:lnTo>
                  <a:lnTo>
                    <a:pt x="3470" y="3784"/>
                  </a:lnTo>
                  <a:lnTo>
                    <a:pt x="3863" y="3784"/>
                  </a:lnTo>
                  <a:lnTo>
                    <a:pt x="3863" y="3891"/>
                  </a:lnTo>
                  <a:lnTo>
                    <a:pt x="4074" y="3891"/>
                  </a:lnTo>
                  <a:lnTo>
                    <a:pt x="4074" y="3998"/>
                  </a:lnTo>
                  <a:lnTo>
                    <a:pt x="4198" y="3998"/>
                  </a:lnTo>
                  <a:lnTo>
                    <a:pt x="4198" y="4105"/>
                  </a:lnTo>
                  <a:lnTo>
                    <a:pt x="4274" y="4105"/>
                  </a:lnTo>
                  <a:lnTo>
                    <a:pt x="4274" y="4212"/>
                  </a:lnTo>
                  <a:lnTo>
                    <a:pt x="4325" y="4212"/>
                  </a:lnTo>
                  <a:lnTo>
                    <a:pt x="4325" y="4319"/>
                  </a:lnTo>
                  <a:lnTo>
                    <a:pt x="4478" y="4319"/>
                  </a:lnTo>
                  <a:lnTo>
                    <a:pt x="4478" y="4427"/>
                  </a:lnTo>
                  <a:lnTo>
                    <a:pt x="4525" y="4427"/>
                  </a:lnTo>
                  <a:lnTo>
                    <a:pt x="4525" y="4535"/>
                  </a:lnTo>
                  <a:lnTo>
                    <a:pt x="4528" y="4535"/>
                  </a:lnTo>
                  <a:lnTo>
                    <a:pt x="4528" y="4642"/>
                  </a:lnTo>
                  <a:lnTo>
                    <a:pt x="4554" y="4642"/>
                  </a:lnTo>
                  <a:lnTo>
                    <a:pt x="4554" y="4750"/>
                  </a:lnTo>
                  <a:lnTo>
                    <a:pt x="4619" y="4750"/>
                  </a:lnTo>
                  <a:lnTo>
                    <a:pt x="4619" y="4857"/>
                  </a:lnTo>
                  <a:lnTo>
                    <a:pt x="4841" y="4857"/>
                  </a:lnTo>
                  <a:lnTo>
                    <a:pt x="4841" y="4965"/>
                  </a:lnTo>
                  <a:lnTo>
                    <a:pt x="4867" y="4965"/>
                  </a:lnTo>
                  <a:lnTo>
                    <a:pt x="4867" y="5072"/>
                  </a:lnTo>
                  <a:lnTo>
                    <a:pt x="4874" y="5072"/>
                  </a:lnTo>
                  <a:lnTo>
                    <a:pt x="4874" y="5180"/>
                  </a:lnTo>
                  <a:lnTo>
                    <a:pt x="5136" y="5180"/>
                  </a:lnTo>
                  <a:lnTo>
                    <a:pt x="5136" y="5287"/>
                  </a:lnTo>
                  <a:lnTo>
                    <a:pt x="5212" y="5287"/>
                  </a:lnTo>
                  <a:lnTo>
                    <a:pt x="5212" y="5394"/>
                  </a:lnTo>
                  <a:lnTo>
                    <a:pt x="5289" y="5394"/>
                  </a:lnTo>
                  <a:lnTo>
                    <a:pt x="5289" y="5502"/>
                  </a:lnTo>
                  <a:lnTo>
                    <a:pt x="5343" y="5502"/>
                  </a:lnTo>
                  <a:lnTo>
                    <a:pt x="5343" y="5609"/>
                  </a:lnTo>
                  <a:lnTo>
                    <a:pt x="5347" y="5609"/>
                  </a:lnTo>
                  <a:lnTo>
                    <a:pt x="5347" y="5716"/>
                  </a:lnTo>
                  <a:lnTo>
                    <a:pt x="5605" y="5716"/>
                  </a:lnTo>
                  <a:lnTo>
                    <a:pt x="5605" y="5824"/>
                  </a:lnTo>
                  <a:lnTo>
                    <a:pt x="5641" y="5824"/>
                  </a:lnTo>
                  <a:lnTo>
                    <a:pt x="5641" y="5932"/>
                  </a:lnTo>
                  <a:lnTo>
                    <a:pt x="5663" y="5932"/>
                  </a:lnTo>
                  <a:lnTo>
                    <a:pt x="5663" y="6040"/>
                  </a:lnTo>
                  <a:lnTo>
                    <a:pt x="6547" y="6040"/>
                  </a:lnTo>
                  <a:lnTo>
                    <a:pt x="6547" y="6258"/>
                  </a:lnTo>
                </a:path>
              </a:pathLst>
            </a:custGeom>
            <a:noFill/>
            <a:ln w="21590" cap="flat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20000"/>
                </a:spcBef>
                <a:spcAft>
                  <a:spcPct val="0"/>
                </a:spcAft>
                <a:buClr>
                  <a:prstClr val="black"/>
                </a:buClr>
                <a:buFontTx/>
                <a:buChar char="•"/>
              </a:pPr>
              <a:endParaRPr lang="en-US" sz="2100">
                <a:solidFill>
                  <a:prstClr val="black"/>
                </a:solidFill>
              </a:endParaRPr>
            </a:p>
          </p:txBody>
        </p:sp>
        <p:sp>
          <p:nvSpPr>
            <p:cNvPr id="19477" name="Freeform 27"/>
            <p:cNvSpPr>
              <a:spLocks/>
            </p:cNvSpPr>
            <p:nvPr/>
          </p:nvSpPr>
          <p:spPr bwMode="auto">
            <a:xfrm>
              <a:off x="1245" y="1068"/>
              <a:ext cx="2589" cy="1212"/>
            </a:xfrm>
            <a:custGeom>
              <a:avLst/>
              <a:gdLst>
                <a:gd name="T0" fmla="*/ 0 w 6456"/>
                <a:gd name="T1" fmla="*/ 0 h 4047"/>
                <a:gd name="T2" fmla="*/ 0 w 6456"/>
                <a:gd name="T3" fmla="*/ 0 h 4047"/>
                <a:gd name="T4" fmla="*/ 0 w 6456"/>
                <a:gd name="T5" fmla="*/ 0 h 4047"/>
                <a:gd name="T6" fmla="*/ 0 w 6456"/>
                <a:gd name="T7" fmla="*/ 0 h 4047"/>
                <a:gd name="T8" fmla="*/ 0 w 6456"/>
                <a:gd name="T9" fmla="*/ 0 h 4047"/>
                <a:gd name="T10" fmla="*/ 0 w 6456"/>
                <a:gd name="T11" fmla="*/ 0 h 4047"/>
                <a:gd name="T12" fmla="*/ 0 w 6456"/>
                <a:gd name="T13" fmla="*/ 0 h 4047"/>
                <a:gd name="T14" fmla="*/ 0 w 6456"/>
                <a:gd name="T15" fmla="*/ 0 h 4047"/>
                <a:gd name="T16" fmla="*/ 0 w 6456"/>
                <a:gd name="T17" fmla="*/ 0 h 4047"/>
                <a:gd name="T18" fmla="*/ 0 w 6456"/>
                <a:gd name="T19" fmla="*/ 0 h 4047"/>
                <a:gd name="T20" fmla="*/ 0 w 6456"/>
                <a:gd name="T21" fmla="*/ 0 h 4047"/>
                <a:gd name="T22" fmla="*/ 0 w 6456"/>
                <a:gd name="T23" fmla="*/ 0 h 4047"/>
                <a:gd name="T24" fmla="*/ 0 w 6456"/>
                <a:gd name="T25" fmla="*/ 0 h 4047"/>
                <a:gd name="T26" fmla="*/ 0 w 6456"/>
                <a:gd name="T27" fmla="*/ 0 h 4047"/>
                <a:gd name="T28" fmla="*/ 0 w 6456"/>
                <a:gd name="T29" fmla="*/ 0 h 4047"/>
                <a:gd name="T30" fmla="*/ 0 w 6456"/>
                <a:gd name="T31" fmla="*/ 0 h 4047"/>
                <a:gd name="T32" fmla="*/ 0 w 6456"/>
                <a:gd name="T33" fmla="*/ 0 h 4047"/>
                <a:gd name="T34" fmla="*/ 0 w 6456"/>
                <a:gd name="T35" fmla="*/ 0 h 4047"/>
                <a:gd name="T36" fmla="*/ 0 w 6456"/>
                <a:gd name="T37" fmla="*/ 0 h 4047"/>
                <a:gd name="T38" fmla="*/ 0 w 6456"/>
                <a:gd name="T39" fmla="*/ 0 h 4047"/>
                <a:gd name="T40" fmla="*/ 0 w 6456"/>
                <a:gd name="T41" fmla="*/ 0 h 4047"/>
                <a:gd name="T42" fmla="*/ 0 w 6456"/>
                <a:gd name="T43" fmla="*/ 0 h 4047"/>
                <a:gd name="T44" fmla="*/ 0 w 6456"/>
                <a:gd name="T45" fmla="*/ 0 h 4047"/>
                <a:gd name="T46" fmla="*/ 0 w 6456"/>
                <a:gd name="T47" fmla="*/ 0 h 4047"/>
                <a:gd name="T48" fmla="*/ 0 w 6456"/>
                <a:gd name="T49" fmla="*/ 0 h 4047"/>
                <a:gd name="T50" fmla="*/ 0 w 6456"/>
                <a:gd name="T51" fmla="*/ 0 h 4047"/>
                <a:gd name="T52" fmla="*/ 0 w 6456"/>
                <a:gd name="T53" fmla="*/ 0 h 4047"/>
                <a:gd name="T54" fmla="*/ 0 w 6456"/>
                <a:gd name="T55" fmla="*/ 0 h 4047"/>
                <a:gd name="T56" fmla="*/ 0 w 6456"/>
                <a:gd name="T57" fmla="*/ 0 h 4047"/>
                <a:gd name="T58" fmla="*/ 0 w 6456"/>
                <a:gd name="T59" fmla="*/ 0 h 4047"/>
                <a:gd name="T60" fmla="*/ 0 w 6456"/>
                <a:gd name="T61" fmla="*/ 0 h 4047"/>
                <a:gd name="T62" fmla="*/ 0 w 6456"/>
                <a:gd name="T63" fmla="*/ 0 h 4047"/>
                <a:gd name="T64" fmla="*/ 0 w 6456"/>
                <a:gd name="T65" fmla="*/ 0 h 4047"/>
                <a:gd name="T66" fmla="*/ 0 w 6456"/>
                <a:gd name="T67" fmla="*/ 0 h 4047"/>
                <a:gd name="T68" fmla="*/ 0 w 6456"/>
                <a:gd name="T69" fmla="*/ 0 h 4047"/>
                <a:gd name="T70" fmla="*/ 0 w 6456"/>
                <a:gd name="T71" fmla="*/ 0 h 4047"/>
                <a:gd name="T72" fmla="*/ 0 w 6456"/>
                <a:gd name="T73" fmla="*/ 0 h 4047"/>
                <a:gd name="T74" fmla="*/ 0 w 6456"/>
                <a:gd name="T75" fmla="*/ 0 h 4047"/>
                <a:gd name="T76" fmla="*/ 0 w 6456"/>
                <a:gd name="T77" fmla="*/ 0 h 4047"/>
                <a:gd name="T78" fmla="*/ 0 w 6456"/>
                <a:gd name="T79" fmla="*/ 0 h 4047"/>
                <a:gd name="T80" fmla="*/ 0 w 6456"/>
                <a:gd name="T81" fmla="*/ 0 h 4047"/>
                <a:gd name="T82" fmla="*/ 0 w 6456"/>
                <a:gd name="T83" fmla="*/ 0 h 4047"/>
                <a:gd name="T84" fmla="*/ 0 w 6456"/>
                <a:gd name="T85" fmla="*/ 0 h 4047"/>
                <a:gd name="T86" fmla="*/ 0 w 6456"/>
                <a:gd name="T87" fmla="*/ 0 h 4047"/>
                <a:gd name="T88" fmla="*/ 0 w 6456"/>
                <a:gd name="T89" fmla="*/ 0 h 4047"/>
                <a:gd name="T90" fmla="*/ 0 w 6456"/>
                <a:gd name="T91" fmla="*/ 0 h 4047"/>
                <a:gd name="T92" fmla="*/ 0 w 6456"/>
                <a:gd name="T93" fmla="*/ 0 h 4047"/>
                <a:gd name="T94" fmla="*/ 0 w 6456"/>
                <a:gd name="T95" fmla="*/ 0 h 4047"/>
                <a:gd name="T96" fmla="*/ 0 w 6456"/>
                <a:gd name="T97" fmla="*/ 0 h 4047"/>
                <a:gd name="T98" fmla="*/ 0 w 6456"/>
                <a:gd name="T99" fmla="*/ 0 h 4047"/>
                <a:gd name="T100" fmla="*/ 0 w 6456"/>
                <a:gd name="T101" fmla="*/ 0 h 4047"/>
                <a:gd name="T102" fmla="*/ 0 w 6456"/>
                <a:gd name="T103" fmla="*/ 0 h 4047"/>
                <a:gd name="T104" fmla="*/ 0 w 6456"/>
                <a:gd name="T105" fmla="*/ 0 h 4047"/>
                <a:gd name="T106" fmla="*/ 0 w 6456"/>
                <a:gd name="T107" fmla="*/ 0 h 4047"/>
                <a:gd name="T108" fmla="*/ 0 w 6456"/>
                <a:gd name="T109" fmla="*/ 0 h 4047"/>
                <a:gd name="T110" fmla="*/ 0 w 6456"/>
                <a:gd name="T111" fmla="*/ 0 h 4047"/>
                <a:gd name="T112" fmla="*/ 0 w 6456"/>
                <a:gd name="T113" fmla="*/ 0 h 4047"/>
                <a:gd name="T114" fmla="*/ 0 w 6456"/>
                <a:gd name="T115" fmla="*/ 0 h 4047"/>
                <a:gd name="T116" fmla="*/ 0 w 6456"/>
                <a:gd name="T117" fmla="*/ 0 h 404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456"/>
                <a:gd name="T178" fmla="*/ 0 h 4047"/>
                <a:gd name="T179" fmla="*/ 6456 w 6456"/>
                <a:gd name="T180" fmla="*/ 4047 h 404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456" h="4047">
                  <a:moveTo>
                    <a:pt x="0" y="0"/>
                  </a:moveTo>
                  <a:lnTo>
                    <a:pt x="8" y="0"/>
                  </a:lnTo>
                  <a:lnTo>
                    <a:pt x="8" y="54"/>
                  </a:lnTo>
                  <a:lnTo>
                    <a:pt x="29" y="54"/>
                  </a:lnTo>
                  <a:lnTo>
                    <a:pt x="29" y="108"/>
                  </a:lnTo>
                  <a:lnTo>
                    <a:pt x="84" y="108"/>
                  </a:lnTo>
                  <a:lnTo>
                    <a:pt x="84" y="162"/>
                  </a:lnTo>
                  <a:lnTo>
                    <a:pt x="128" y="162"/>
                  </a:lnTo>
                  <a:lnTo>
                    <a:pt x="128" y="216"/>
                  </a:lnTo>
                  <a:lnTo>
                    <a:pt x="219" y="216"/>
                  </a:lnTo>
                  <a:lnTo>
                    <a:pt x="219" y="271"/>
                  </a:lnTo>
                  <a:lnTo>
                    <a:pt x="288" y="271"/>
                  </a:lnTo>
                  <a:lnTo>
                    <a:pt x="288" y="326"/>
                  </a:lnTo>
                  <a:lnTo>
                    <a:pt x="313" y="326"/>
                  </a:lnTo>
                  <a:lnTo>
                    <a:pt x="313" y="382"/>
                  </a:lnTo>
                  <a:lnTo>
                    <a:pt x="400" y="382"/>
                  </a:lnTo>
                  <a:lnTo>
                    <a:pt x="400" y="437"/>
                  </a:lnTo>
                  <a:lnTo>
                    <a:pt x="517" y="437"/>
                  </a:lnTo>
                  <a:lnTo>
                    <a:pt x="517" y="492"/>
                  </a:lnTo>
                  <a:lnTo>
                    <a:pt x="520" y="492"/>
                  </a:lnTo>
                  <a:lnTo>
                    <a:pt x="520" y="548"/>
                  </a:lnTo>
                  <a:lnTo>
                    <a:pt x="666" y="548"/>
                  </a:lnTo>
                  <a:lnTo>
                    <a:pt x="666" y="604"/>
                  </a:lnTo>
                  <a:lnTo>
                    <a:pt x="680" y="604"/>
                  </a:lnTo>
                  <a:lnTo>
                    <a:pt x="680" y="661"/>
                  </a:lnTo>
                  <a:lnTo>
                    <a:pt x="735" y="661"/>
                  </a:lnTo>
                  <a:lnTo>
                    <a:pt x="735" y="718"/>
                  </a:lnTo>
                  <a:lnTo>
                    <a:pt x="742" y="718"/>
                  </a:lnTo>
                  <a:lnTo>
                    <a:pt x="742" y="775"/>
                  </a:lnTo>
                  <a:lnTo>
                    <a:pt x="790" y="775"/>
                  </a:lnTo>
                  <a:lnTo>
                    <a:pt x="790" y="834"/>
                  </a:lnTo>
                  <a:lnTo>
                    <a:pt x="979" y="834"/>
                  </a:lnTo>
                  <a:lnTo>
                    <a:pt x="979" y="894"/>
                  </a:lnTo>
                  <a:lnTo>
                    <a:pt x="1201" y="894"/>
                  </a:lnTo>
                  <a:lnTo>
                    <a:pt x="1201" y="954"/>
                  </a:lnTo>
                  <a:lnTo>
                    <a:pt x="1277" y="954"/>
                  </a:lnTo>
                  <a:lnTo>
                    <a:pt x="1277" y="1015"/>
                  </a:lnTo>
                  <a:lnTo>
                    <a:pt x="1331" y="1015"/>
                  </a:lnTo>
                  <a:lnTo>
                    <a:pt x="1331" y="1075"/>
                  </a:lnTo>
                  <a:lnTo>
                    <a:pt x="1353" y="1075"/>
                  </a:lnTo>
                  <a:lnTo>
                    <a:pt x="1353" y="1136"/>
                  </a:lnTo>
                  <a:lnTo>
                    <a:pt x="1371" y="1136"/>
                  </a:lnTo>
                  <a:lnTo>
                    <a:pt x="1371" y="1261"/>
                  </a:lnTo>
                  <a:lnTo>
                    <a:pt x="1448" y="1261"/>
                  </a:lnTo>
                  <a:lnTo>
                    <a:pt x="1448" y="1326"/>
                  </a:lnTo>
                  <a:lnTo>
                    <a:pt x="1568" y="1326"/>
                  </a:lnTo>
                  <a:lnTo>
                    <a:pt x="1568" y="1391"/>
                  </a:lnTo>
                  <a:lnTo>
                    <a:pt x="1641" y="1391"/>
                  </a:lnTo>
                  <a:lnTo>
                    <a:pt x="1641" y="1456"/>
                  </a:lnTo>
                  <a:lnTo>
                    <a:pt x="1779" y="1456"/>
                  </a:lnTo>
                  <a:lnTo>
                    <a:pt x="1779" y="1521"/>
                  </a:lnTo>
                  <a:lnTo>
                    <a:pt x="2113" y="1521"/>
                  </a:lnTo>
                  <a:lnTo>
                    <a:pt x="2113" y="1587"/>
                  </a:lnTo>
                  <a:lnTo>
                    <a:pt x="2135" y="1587"/>
                  </a:lnTo>
                  <a:lnTo>
                    <a:pt x="2135" y="1653"/>
                  </a:lnTo>
                  <a:lnTo>
                    <a:pt x="2612" y="1653"/>
                  </a:lnTo>
                  <a:lnTo>
                    <a:pt x="2612" y="1719"/>
                  </a:lnTo>
                  <a:lnTo>
                    <a:pt x="2623" y="1719"/>
                  </a:lnTo>
                  <a:lnTo>
                    <a:pt x="2623" y="1785"/>
                  </a:lnTo>
                  <a:lnTo>
                    <a:pt x="2644" y="1785"/>
                  </a:lnTo>
                  <a:lnTo>
                    <a:pt x="2644" y="1852"/>
                  </a:lnTo>
                  <a:lnTo>
                    <a:pt x="2659" y="1852"/>
                  </a:lnTo>
                  <a:lnTo>
                    <a:pt x="2659" y="1919"/>
                  </a:lnTo>
                  <a:lnTo>
                    <a:pt x="2699" y="1919"/>
                  </a:lnTo>
                  <a:lnTo>
                    <a:pt x="2699" y="1986"/>
                  </a:lnTo>
                  <a:lnTo>
                    <a:pt x="2721" y="1986"/>
                  </a:lnTo>
                  <a:lnTo>
                    <a:pt x="2721" y="2054"/>
                  </a:lnTo>
                  <a:lnTo>
                    <a:pt x="2957" y="2054"/>
                  </a:lnTo>
                  <a:lnTo>
                    <a:pt x="2957" y="2121"/>
                  </a:lnTo>
                  <a:lnTo>
                    <a:pt x="3001" y="2121"/>
                  </a:lnTo>
                  <a:lnTo>
                    <a:pt x="3001" y="2189"/>
                  </a:lnTo>
                  <a:lnTo>
                    <a:pt x="3183" y="2189"/>
                  </a:lnTo>
                  <a:lnTo>
                    <a:pt x="3183" y="2257"/>
                  </a:lnTo>
                  <a:lnTo>
                    <a:pt x="3379" y="2257"/>
                  </a:lnTo>
                  <a:lnTo>
                    <a:pt x="3379" y="2396"/>
                  </a:lnTo>
                  <a:lnTo>
                    <a:pt x="3772" y="2396"/>
                  </a:lnTo>
                  <a:lnTo>
                    <a:pt x="3772" y="2466"/>
                  </a:lnTo>
                  <a:lnTo>
                    <a:pt x="3983" y="2466"/>
                  </a:lnTo>
                  <a:lnTo>
                    <a:pt x="3983" y="2537"/>
                  </a:lnTo>
                  <a:lnTo>
                    <a:pt x="4107" y="2537"/>
                  </a:lnTo>
                  <a:lnTo>
                    <a:pt x="4107" y="2608"/>
                  </a:lnTo>
                  <a:lnTo>
                    <a:pt x="4183" y="2608"/>
                  </a:lnTo>
                  <a:lnTo>
                    <a:pt x="4183" y="2679"/>
                  </a:lnTo>
                  <a:lnTo>
                    <a:pt x="4234" y="2679"/>
                  </a:lnTo>
                  <a:lnTo>
                    <a:pt x="4234" y="2750"/>
                  </a:lnTo>
                  <a:lnTo>
                    <a:pt x="4387" y="2750"/>
                  </a:lnTo>
                  <a:lnTo>
                    <a:pt x="4387" y="2821"/>
                  </a:lnTo>
                  <a:lnTo>
                    <a:pt x="4434" y="2821"/>
                  </a:lnTo>
                  <a:lnTo>
                    <a:pt x="4434" y="2893"/>
                  </a:lnTo>
                  <a:lnTo>
                    <a:pt x="4437" y="2893"/>
                  </a:lnTo>
                  <a:lnTo>
                    <a:pt x="4437" y="2964"/>
                  </a:lnTo>
                  <a:lnTo>
                    <a:pt x="4463" y="2964"/>
                  </a:lnTo>
                  <a:lnTo>
                    <a:pt x="4463" y="3036"/>
                  </a:lnTo>
                  <a:lnTo>
                    <a:pt x="4528" y="3036"/>
                  </a:lnTo>
                  <a:lnTo>
                    <a:pt x="4528" y="3107"/>
                  </a:lnTo>
                  <a:lnTo>
                    <a:pt x="4750" y="3107"/>
                  </a:lnTo>
                  <a:lnTo>
                    <a:pt x="4750" y="3179"/>
                  </a:lnTo>
                  <a:lnTo>
                    <a:pt x="4776" y="3179"/>
                  </a:lnTo>
                  <a:lnTo>
                    <a:pt x="4776" y="3250"/>
                  </a:lnTo>
                  <a:lnTo>
                    <a:pt x="4783" y="3250"/>
                  </a:lnTo>
                  <a:lnTo>
                    <a:pt x="4783" y="3322"/>
                  </a:lnTo>
                  <a:lnTo>
                    <a:pt x="5045" y="3322"/>
                  </a:lnTo>
                  <a:lnTo>
                    <a:pt x="5045" y="3394"/>
                  </a:lnTo>
                  <a:lnTo>
                    <a:pt x="5121" y="3394"/>
                  </a:lnTo>
                  <a:lnTo>
                    <a:pt x="5121" y="3466"/>
                  </a:lnTo>
                  <a:lnTo>
                    <a:pt x="5198" y="3466"/>
                  </a:lnTo>
                  <a:lnTo>
                    <a:pt x="5198" y="3538"/>
                  </a:lnTo>
                  <a:lnTo>
                    <a:pt x="5252" y="3538"/>
                  </a:lnTo>
                  <a:lnTo>
                    <a:pt x="5252" y="3610"/>
                  </a:lnTo>
                  <a:lnTo>
                    <a:pt x="5256" y="3610"/>
                  </a:lnTo>
                  <a:lnTo>
                    <a:pt x="5256" y="3682"/>
                  </a:lnTo>
                  <a:lnTo>
                    <a:pt x="5514" y="3682"/>
                  </a:lnTo>
                  <a:lnTo>
                    <a:pt x="5514" y="3755"/>
                  </a:lnTo>
                  <a:lnTo>
                    <a:pt x="5550" y="3755"/>
                  </a:lnTo>
                  <a:lnTo>
                    <a:pt x="5550" y="3827"/>
                  </a:lnTo>
                  <a:lnTo>
                    <a:pt x="5572" y="3827"/>
                  </a:lnTo>
                  <a:lnTo>
                    <a:pt x="5572" y="3900"/>
                  </a:lnTo>
                  <a:lnTo>
                    <a:pt x="6456" y="3900"/>
                  </a:lnTo>
                  <a:lnTo>
                    <a:pt x="6456" y="4047"/>
                  </a:lnTo>
                </a:path>
              </a:pathLst>
            </a:custGeom>
            <a:noFill/>
            <a:ln w="18415" cap="flat">
              <a:solidFill>
                <a:schemeClr val="tx1"/>
              </a:solidFill>
              <a:prstDash val="dash"/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20000"/>
                </a:spcBef>
                <a:spcAft>
                  <a:spcPct val="0"/>
                </a:spcAft>
                <a:buClr>
                  <a:prstClr val="black"/>
                </a:buClr>
                <a:buFontTx/>
                <a:buChar char="•"/>
              </a:pPr>
              <a:endParaRPr lang="en-US" sz="2100">
                <a:solidFill>
                  <a:prstClr val="black"/>
                </a:solidFill>
              </a:endParaRPr>
            </a:p>
          </p:txBody>
        </p:sp>
        <p:sp>
          <p:nvSpPr>
            <p:cNvPr id="34838" name="Text Box 29"/>
            <p:cNvSpPr txBox="1">
              <a:spLocks noChangeArrowheads="1"/>
            </p:cNvSpPr>
            <p:nvPr/>
          </p:nvSpPr>
          <p:spPr bwMode="auto">
            <a:xfrm>
              <a:off x="2593" y="1390"/>
              <a:ext cx="936" cy="216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buClr>
                  <a:prstClr val="black"/>
                </a:buClr>
                <a:buFontTx/>
                <a:buChar char="•"/>
                <a:defRPr/>
              </a:pPr>
              <a:r>
                <a:rPr lang="nl-NL" sz="1200" b="1" dirty="0">
                  <a:solidFill>
                    <a:prstClr val="black"/>
                  </a:solidFill>
                  <a:latin typeface="Calibri" pitchFamily="34" charset="0"/>
                </a:rPr>
                <a:t>Metformin</a:t>
              </a:r>
            </a:p>
          </p:txBody>
        </p:sp>
        <p:sp>
          <p:nvSpPr>
            <p:cNvPr id="34839" name="Rectangle 30"/>
            <p:cNvSpPr>
              <a:spLocks noChangeArrowheads="1"/>
            </p:cNvSpPr>
            <p:nvPr/>
          </p:nvSpPr>
          <p:spPr bwMode="auto">
            <a:xfrm>
              <a:off x="783" y="1776"/>
              <a:ext cx="447" cy="4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buClr>
                  <a:prstClr val="black"/>
                </a:buClr>
                <a:defRPr/>
              </a:pPr>
              <a:r>
                <a:rPr lang="nl-NL" sz="1200" b="1" dirty="0">
                  <a:solidFill>
                    <a:prstClr val="black"/>
                  </a:solidFill>
                  <a:latin typeface="Calibri" pitchFamily="34" charset="0"/>
                </a:rPr>
                <a:t>Hazard ratio</a:t>
              </a:r>
            </a:p>
          </p:txBody>
        </p:sp>
        <p:sp>
          <p:nvSpPr>
            <p:cNvPr id="34840" name="Rectangle 31"/>
            <p:cNvSpPr>
              <a:spLocks noChangeArrowheads="1"/>
            </p:cNvSpPr>
            <p:nvPr/>
          </p:nvSpPr>
          <p:spPr bwMode="auto">
            <a:xfrm>
              <a:off x="1292" y="647"/>
              <a:ext cx="2463" cy="2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buClr>
                  <a:prstClr val="black"/>
                </a:buClr>
                <a:buFontTx/>
                <a:buChar char="•"/>
                <a:defRPr/>
              </a:pPr>
              <a:r>
                <a:rPr lang="nl-NL" sz="1050" b="1" dirty="0">
                  <a:solidFill>
                    <a:prstClr val="black"/>
                  </a:solidFill>
                  <a:latin typeface="Times New Roman" pitchFamily="-106" charset="0"/>
                </a:rPr>
                <a:t> </a:t>
              </a:r>
              <a:r>
                <a:rPr lang="nl-NL" sz="1500" b="1" dirty="0" err="1">
                  <a:solidFill>
                    <a:prstClr val="black"/>
                  </a:solidFill>
                  <a:latin typeface="Calibri" pitchFamily="34" charset="0"/>
                </a:rPr>
                <a:t>Secondary</a:t>
              </a:r>
              <a:r>
                <a:rPr lang="nl-NL" sz="1500" b="1" dirty="0">
                  <a:solidFill>
                    <a:prstClr val="black"/>
                  </a:solidFill>
                  <a:latin typeface="Calibri" pitchFamily="34" charset="0"/>
                </a:rPr>
                <a:t>, macrovascular </a:t>
              </a:r>
              <a:r>
                <a:rPr lang="nl-NL" sz="1500" b="1" dirty="0" err="1">
                  <a:solidFill>
                    <a:prstClr val="black"/>
                  </a:solidFill>
                  <a:latin typeface="Calibri" pitchFamily="34" charset="0"/>
                </a:rPr>
                <a:t>endpoint</a:t>
              </a:r>
              <a:endParaRPr lang="nl-NL" sz="1500" b="1" dirty="0">
                <a:solidFill>
                  <a:prstClr val="black"/>
                </a:solidFill>
                <a:latin typeface="Calibri" pitchFamily="34" charset="0"/>
              </a:endParaRPr>
            </a:p>
          </p:txBody>
        </p:sp>
      </p:grpSp>
      <p:sp>
        <p:nvSpPr>
          <p:cNvPr id="32771" name="Rectangle 32"/>
          <p:cNvSpPr>
            <a:spLocks noGrp="1" noChangeArrowheads="1"/>
          </p:cNvSpPr>
          <p:nvPr>
            <p:ph type="title" idx="4294967295"/>
          </p:nvPr>
        </p:nvSpPr>
        <p:spPr>
          <a:xfrm>
            <a:off x="395536" y="436517"/>
            <a:ext cx="7362818" cy="642938"/>
          </a:xfrm>
        </p:spPr>
        <p:txBody>
          <a:bodyPr rtlCol="0">
            <a:normAutofit/>
          </a:bodyPr>
          <a:lstStyle/>
          <a:p>
            <a:pPr algn="l">
              <a:defRPr/>
            </a:pPr>
            <a:r>
              <a:rPr lang="nl-NL" sz="1800" b="1" dirty="0" err="1"/>
              <a:t>Metformin</a:t>
            </a:r>
            <a:r>
              <a:rPr lang="nl-NL" sz="1800" b="1" dirty="0"/>
              <a:t> </a:t>
            </a:r>
            <a:r>
              <a:rPr lang="nl-NL" sz="1800" b="1" dirty="0" err="1"/>
              <a:t>improved</a:t>
            </a:r>
            <a:r>
              <a:rPr lang="nl-NL" sz="1800" b="1" dirty="0"/>
              <a:t> </a:t>
            </a:r>
            <a:r>
              <a:rPr lang="nl-NL" sz="1800" b="1" dirty="0" err="1"/>
              <a:t>macrovascular</a:t>
            </a:r>
            <a:r>
              <a:rPr lang="nl-NL" sz="1800" b="1" dirty="0"/>
              <a:t> </a:t>
            </a:r>
            <a:r>
              <a:rPr lang="nl-NL" sz="1800" b="1" dirty="0" err="1"/>
              <a:t>outcome</a:t>
            </a:r>
            <a:r>
              <a:rPr lang="nl-NL" sz="1800" b="1" dirty="0"/>
              <a:t> (HOME trial)</a:t>
            </a:r>
          </a:p>
        </p:txBody>
      </p:sp>
      <p:sp>
        <p:nvSpPr>
          <p:cNvPr id="34821" name="Tekstvak 33"/>
          <p:cNvSpPr txBox="1">
            <a:spLocks noChangeArrowheads="1"/>
          </p:cNvSpPr>
          <p:nvPr/>
        </p:nvSpPr>
        <p:spPr bwMode="auto">
          <a:xfrm>
            <a:off x="5585222" y="2166939"/>
            <a:ext cx="3451274" cy="807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67" tIns="34283" rIns="68567" bIns="34283">
            <a:spAutoFit/>
          </a:bodyPr>
          <a:lstStyle/>
          <a:p>
            <a:pPr marL="171450" indent="-171450">
              <a:buClr>
                <a:prstClr val="black"/>
              </a:buClr>
              <a:buFont typeface="Arial"/>
              <a:buChar char="•"/>
              <a:defRPr/>
            </a:pPr>
            <a:r>
              <a:rPr lang="en-GB" sz="120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t>Metformin reduced CVR by 39% (p=0.02), from 15% to 9</a:t>
            </a:r>
            <a:r>
              <a:rPr lang="en-GB" sz="1200" dirty="0" smtClean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t>% </a:t>
            </a:r>
            <a:endParaRPr lang="en-GB" sz="1200" dirty="0">
              <a:solidFill>
                <a:prstClr val="black"/>
              </a:solidFill>
              <a:latin typeface="Calibri" pitchFamily="34" charset="0"/>
              <a:ea typeface="ＭＳ Ｐゴシック" pitchFamily="34" charset="-128"/>
            </a:endParaRPr>
          </a:p>
          <a:p>
            <a:pPr marL="171450" indent="-171450">
              <a:buClr>
                <a:prstClr val="black"/>
              </a:buClr>
              <a:buFont typeface="Arial"/>
              <a:buChar char="•"/>
              <a:defRPr/>
            </a:pPr>
            <a:r>
              <a:rPr lang="en-GB" sz="120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t>ARR = 6% </a:t>
            </a:r>
          </a:p>
          <a:p>
            <a:pPr marL="171450" indent="-171450">
              <a:buClr>
                <a:prstClr val="black"/>
              </a:buClr>
              <a:buFont typeface="Arial"/>
              <a:buChar char="•"/>
              <a:defRPr/>
            </a:pPr>
            <a:r>
              <a:rPr lang="en-GB" sz="120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t>NNT = 16 </a:t>
            </a:r>
          </a:p>
        </p:txBody>
      </p:sp>
      <p:sp>
        <p:nvSpPr>
          <p:cNvPr id="35" name="Text Box 29"/>
          <p:cNvSpPr txBox="1">
            <a:spLocks noChangeArrowheads="1"/>
          </p:cNvSpPr>
          <p:nvPr/>
        </p:nvSpPr>
        <p:spPr bwMode="auto">
          <a:xfrm>
            <a:off x="2527697" y="3155158"/>
            <a:ext cx="879872" cy="19288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buClr>
                <a:prstClr val="black"/>
              </a:buClr>
              <a:buFontTx/>
              <a:buChar char="•"/>
              <a:defRPr/>
            </a:pPr>
            <a:r>
              <a:rPr lang="nl-NL" sz="1200" dirty="0">
                <a:solidFill>
                  <a:srgbClr val="EEECE1">
                    <a:lumMod val="50000"/>
                  </a:srgbClr>
                </a:solidFill>
                <a:latin typeface="Calibri" pitchFamily="34" charset="0"/>
              </a:rPr>
              <a:t>Placebo</a:t>
            </a:r>
          </a:p>
        </p:txBody>
      </p:sp>
      <p:sp>
        <p:nvSpPr>
          <p:cNvPr id="36" name="Tekstvak 35"/>
          <p:cNvSpPr txBox="1"/>
          <p:nvPr/>
        </p:nvSpPr>
        <p:spPr>
          <a:xfrm>
            <a:off x="1439652" y="4730660"/>
            <a:ext cx="4720828" cy="26161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buClr>
                <a:prstClr val="black"/>
              </a:buClr>
              <a:defRPr/>
            </a:pPr>
            <a:r>
              <a:rPr lang="nl-NL" sz="110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t>Kooy et al. Archives of  Internal Medicine 2009; 169: 616-625</a:t>
            </a:r>
          </a:p>
        </p:txBody>
      </p:sp>
      <p:pic>
        <p:nvPicPr>
          <p:cNvPr id="19463" name="Afbeelding 74" descr="BDRC-pms315.pdf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88906" y="3813572"/>
            <a:ext cx="1377554" cy="594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51559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 anchor="ctr">
            <a:normAutofit/>
          </a:bodyPr>
          <a:lstStyle/>
          <a:p>
            <a:pPr>
              <a:lnSpc>
                <a:spcPct val="90000"/>
              </a:lnSpc>
              <a:buFont typeface="Arial" charset="0"/>
              <a:buNone/>
              <a:tabLst>
                <a:tab pos="7805738" algn="l"/>
              </a:tabLst>
            </a:pPr>
            <a:endParaRPr lang="nl-NL" sz="2900" dirty="0" smtClean="0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en-GB" sz="2400" b="1" dirty="0" smtClean="0">
              <a:solidFill>
                <a:srgbClr val="00142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nl-NL" sz="1800" b="1" dirty="0" err="1">
                <a:latin typeface="Calibri" charset="0"/>
              </a:rPr>
              <a:t>Sulfonylureumderivaten</a:t>
            </a:r>
            <a:r>
              <a:rPr lang="nl-NL" sz="1800" b="1" dirty="0">
                <a:latin typeface="Calibri" charset="0"/>
              </a:rPr>
              <a:t> (SU</a:t>
            </a:r>
            <a:r>
              <a:rPr lang="nl-NL" sz="1800" b="1" dirty="0" smtClean="0">
                <a:latin typeface="Calibri" charset="0"/>
              </a:rPr>
              <a:t>)</a:t>
            </a:r>
            <a:endParaRPr lang="en-GB" sz="1800" b="1" dirty="0">
              <a:solidFill>
                <a:srgbClr val="001423"/>
              </a:solidFill>
            </a:endParaRPr>
          </a:p>
        </p:txBody>
      </p:sp>
      <p:sp>
        <p:nvSpPr>
          <p:cNvPr id="7" name="Rechthoek 6"/>
          <p:cNvSpPr/>
          <p:nvPr/>
        </p:nvSpPr>
        <p:spPr>
          <a:xfrm>
            <a:off x="683568" y="1419622"/>
            <a:ext cx="7776864" cy="17543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nl-NL" dirty="0" smtClean="0">
                <a:latin typeface="Calibri" charset="0"/>
              </a:rPr>
              <a:t>UDGP trial waarschuwing CV mortaliteit </a:t>
            </a:r>
            <a:r>
              <a:rPr lang="nl-NL" dirty="0" err="1" smtClean="0">
                <a:latin typeface="Calibri" charset="0"/>
              </a:rPr>
              <a:t>tolbutamide</a:t>
            </a:r>
            <a:r>
              <a:rPr lang="nl-NL" dirty="0" smtClean="0">
                <a:latin typeface="Calibri" charset="0"/>
              </a:rPr>
              <a:t> USA (niet in EU)</a:t>
            </a:r>
          </a:p>
          <a:p>
            <a:pPr marL="285750" indent="-285750">
              <a:buFont typeface="Arial"/>
              <a:buChar char="•"/>
            </a:pPr>
            <a:r>
              <a:rPr lang="nl-NL" dirty="0" smtClean="0"/>
              <a:t>UKPDS 33: geen schadelijke effecten op CV veiligheid </a:t>
            </a:r>
            <a:r>
              <a:rPr lang="nl-NL" dirty="0" err="1" smtClean="0"/>
              <a:t>vs</a:t>
            </a:r>
            <a:r>
              <a:rPr lang="nl-NL" dirty="0" smtClean="0"/>
              <a:t> insuline of standaard  behandeling</a:t>
            </a:r>
            <a:endParaRPr lang="nl-NL" baseline="30000" dirty="0" smtClean="0"/>
          </a:p>
          <a:p>
            <a:pPr marL="285750" indent="-285750">
              <a:buFont typeface="Arial"/>
              <a:buChar char="•"/>
            </a:pPr>
            <a:r>
              <a:rPr lang="nl-NL" dirty="0" smtClean="0"/>
              <a:t>ADVANCE: intensieve glucoseverlaging </a:t>
            </a:r>
            <a:r>
              <a:rPr lang="nl-NL" dirty="0" err="1" smtClean="0"/>
              <a:t>gliclazide</a:t>
            </a:r>
            <a:r>
              <a:rPr lang="nl-NL" dirty="0" smtClean="0"/>
              <a:t> niet geassocieerd met negatieve CV uitkomsten </a:t>
            </a:r>
            <a:r>
              <a:rPr lang="nl-NL" dirty="0" err="1" smtClean="0"/>
              <a:t>vs</a:t>
            </a:r>
            <a:r>
              <a:rPr lang="nl-NL" dirty="0" smtClean="0"/>
              <a:t> standaard behandeling</a:t>
            </a:r>
          </a:p>
          <a:p>
            <a:pPr marL="285750" indent="-285750">
              <a:buFont typeface="Arial"/>
              <a:buChar char="•"/>
            </a:pPr>
            <a:r>
              <a:rPr lang="nl-NL" dirty="0" smtClean="0"/>
              <a:t>Meta-analyse 115 </a:t>
            </a:r>
            <a:r>
              <a:rPr lang="nl-NL" dirty="0" err="1" smtClean="0"/>
              <a:t>RCTs</a:t>
            </a:r>
            <a:r>
              <a:rPr lang="nl-NL" dirty="0" smtClean="0"/>
              <a:t>: MACE risico SU statistisch niet toegenomen</a:t>
            </a:r>
            <a:endParaRPr lang="nl-NL" dirty="0">
              <a:latin typeface="Calibri" charset="0"/>
            </a:endParaRP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3"/>
          </p:nvPr>
        </p:nvSpPr>
        <p:spPr>
          <a:xfrm>
            <a:off x="467544" y="4155926"/>
            <a:ext cx="8424936" cy="461640"/>
          </a:xfrm>
        </p:spPr>
        <p:txBody>
          <a:bodyPr/>
          <a:lstStyle/>
          <a:p>
            <a:pPr algn="l"/>
            <a:endParaRPr lang="pt-BR" sz="800" dirty="0" smtClean="0">
              <a:solidFill>
                <a:srgbClr val="000000"/>
              </a:solidFill>
            </a:endParaRPr>
          </a:p>
          <a:p>
            <a:pPr algn="l"/>
            <a:endParaRPr lang="pt-BR" sz="800" dirty="0">
              <a:solidFill>
                <a:srgbClr val="000000"/>
              </a:solidFill>
            </a:endParaRPr>
          </a:p>
          <a:p>
            <a:pPr algn="l"/>
            <a:endParaRPr lang="pt-BR" sz="1200" dirty="0" smtClean="0">
              <a:solidFill>
                <a:srgbClr val="000000"/>
              </a:solidFill>
            </a:endParaRPr>
          </a:p>
          <a:p>
            <a:pPr algn="l"/>
            <a:endParaRPr lang="pt-BR" sz="1200" dirty="0">
              <a:solidFill>
                <a:srgbClr val="000000"/>
              </a:solidFill>
            </a:endParaRPr>
          </a:p>
          <a:p>
            <a:pPr algn="l"/>
            <a:r>
              <a:rPr lang="en-GB" sz="800" dirty="0" smtClean="0">
                <a:solidFill>
                  <a:srgbClr val="000000"/>
                </a:solidFill>
              </a:rPr>
              <a:t>UGDP</a:t>
            </a:r>
            <a:r>
              <a:rPr lang="en-GB" sz="800" dirty="0">
                <a:solidFill>
                  <a:srgbClr val="000000"/>
                </a:solidFill>
              </a:rPr>
              <a:t>, University Group Diabetes </a:t>
            </a:r>
            <a:r>
              <a:rPr lang="en-GB" sz="800" dirty="0" smtClean="0">
                <a:solidFill>
                  <a:srgbClr val="000000"/>
                </a:solidFill>
              </a:rPr>
              <a:t>Program</a:t>
            </a:r>
            <a:r>
              <a:rPr lang="pt-BR" sz="800" dirty="0" smtClean="0">
                <a:solidFill>
                  <a:srgbClr val="000000"/>
                </a:solidFill>
              </a:rPr>
              <a:t> </a:t>
            </a:r>
            <a:r>
              <a:rPr lang="en-US" sz="800" dirty="0" smtClean="0">
                <a:solidFill>
                  <a:srgbClr val="000000"/>
                </a:solidFill>
              </a:rPr>
              <a:t>Glimepiride </a:t>
            </a:r>
            <a:r>
              <a:rPr lang="en-US" sz="800" dirty="0">
                <a:solidFill>
                  <a:srgbClr val="000000"/>
                </a:solidFill>
              </a:rPr>
              <a:t>PI at http://</a:t>
            </a:r>
            <a:r>
              <a:rPr lang="en-US" sz="800" dirty="0" err="1">
                <a:solidFill>
                  <a:srgbClr val="000000"/>
                </a:solidFill>
              </a:rPr>
              <a:t>www.accessdata.fda.gov</a:t>
            </a:r>
            <a:r>
              <a:rPr lang="en-US" sz="800" dirty="0">
                <a:solidFill>
                  <a:srgbClr val="000000"/>
                </a:solidFill>
              </a:rPr>
              <a:t>/</a:t>
            </a:r>
            <a:r>
              <a:rPr lang="en-US" sz="800" dirty="0" err="1">
                <a:solidFill>
                  <a:srgbClr val="000000"/>
                </a:solidFill>
              </a:rPr>
              <a:t>drugsatfda_docs</a:t>
            </a:r>
            <a:r>
              <a:rPr lang="en-US" sz="800" dirty="0">
                <a:solidFill>
                  <a:srgbClr val="000000"/>
                </a:solidFill>
              </a:rPr>
              <a:t>/label/2009/020496s021lbl.pdf; </a:t>
            </a:r>
            <a:r>
              <a:rPr lang="en-US" sz="800" dirty="0" err="1" smtClean="0">
                <a:solidFill>
                  <a:srgbClr val="000000"/>
                </a:solidFill>
              </a:rPr>
              <a:t>Tolbutamide</a:t>
            </a:r>
            <a:r>
              <a:rPr lang="en-US" sz="800" dirty="0" smtClean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PI at http://</a:t>
            </a:r>
            <a:r>
              <a:rPr lang="en-US" sz="800" dirty="0" err="1">
                <a:solidFill>
                  <a:srgbClr val="000000"/>
                </a:solidFill>
              </a:rPr>
              <a:t>www.drugs.com</a:t>
            </a:r>
            <a:r>
              <a:rPr lang="en-US" sz="800" dirty="0">
                <a:solidFill>
                  <a:srgbClr val="000000"/>
                </a:solidFill>
              </a:rPr>
              <a:t>/pro/</a:t>
            </a:r>
            <a:r>
              <a:rPr lang="en-US" sz="800" dirty="0" err="1">
                <a:solidFill>
                  <a:srgbClr val="000000"/>
                </a:solidFill>
              </a:rPr>
              <a:t>tolbutamide.html</a:t>
            </a:r>
            <a:r>
              <a:rPr lang="en-US" sz="800" dirty="0">
                <a:solidFill>
                  <a:srgbClr val="000000"/>
                </a:solidFill>
              </a:rPr>
              <a:t>; 3. </a:t>
            </a:r>
            <a:r>
              <a:rPr lang="en-US" sz="800" dirty="0" err="1">
                <a:solidFill>
                  <a:srgbClr val="000000"/>
                </a:solidFill>
              </a:rPr>
              <a:t>Glipizide</a:t>
            </a:r>
            <a:r>
              <a:rPr lang="en-US" sz="800" dirty="0">
                <a:solidFill>
                  <a:srgbClr val="000000"/>
                </a:solidFill>
              </a:rPr>
              <a:t> PI at </a:t>
            </a:r>
            <a:r>
              <a:rPr lang="en-US" sz="800" dirty="0">
                <a:solidFill>
                  <a:srgbClr val="000000"/>
                </a:solidFill>
                <a:hlinkClick r:id="rId3"/>
              </a:rPr>
              <a:t>http://www.drugs.com/pro/glipizide.html</a:t>
            </a:r>
            <a:r>
              <a:rPr lang="en-US" sz="800" dirty="0">
                <a:solidFill>
                  <a:srgbClr val="000000"/>
                </a:solidFill>
              </a:rPr>
              <a:t>; </a:t>
            </a:r>
            <a:r>
              <a:rPr lang="pt-BR" sz="800" dirty="0" err="1" smtClean="0">
                <a:solidFill>
                  <a:srgbClr val="000000"/>
                </a:solidFill>
              </a:rPr>
              <a:t>Meinert</a:t>
            </a:r>
            <a:r>
              <a:rPr lang="pt-BR" sz="800" dirty="0" smtClean="0">
                <a:solidFill>
                  <a:srgbClr val="000000"/>
                </a:solidFill>
              </a:rPr>
              <a:t> </a:t>
            </a:r>
            <a:r>
              <a:rPr lang="pt-BR" sz="800" dirty="0">
                <a:solidFill>
                  <a:srgbClr val="000000"/>
                </a:solidFill>
              </a:rPr>
              <a:t>M </a:t>
            </a:r>
            <a:r>
              <a:rPr lang="pt-BR" sz="800" i="1" dirty="0">
                <a:solidFill>
                  <a:srgbClr val="000000"/>
                </a:solidFill>
              </a:rPr>
              <a:t>et al. Diabetes </a:t>
            </a:r>
            <a:r>
              <a:rPr lang="pt-BR" sz="800" dirty="0">
                <a:solidFill>
                  <a:srgbClr val="000000"/>
                </a:solidFill>
              </a:rPr>
              <a:t>1970;19 (</a:t>
            </a:r>
            <a:r>
              <a:rPr lang="pt-BR" sz="800" dirty="0" err="1">
                <a:solidFill>
                  <a:srgbClr val="000000"/>
                </a:solidFill>
              </a:rPr>
              <a:t>suppl</a:t>
            </a:r>
            <a:r>
              <a:rPr lang="pt-BR" sz="800" dirty="0">
                <a:solidFill>
                  <a:srgbClr val="000000"/>
                </a:solidFill>
              </a:rPr>
              <a:t>):789; </a:t>
            </a:r>
            <a:r>
              <a:rPr lang="pt-BR" sz="800" dirty="0" err="1" smtClean="0">
                <a:solidFill>
                  <a:srgbClr val="000000"/>
                </a:solidFill>
              </a:rPr>
              <a:t>Glimepiride</a:t>
            </a:r>
            <a:r>
              <a:rPr lang="pt-BR" sz="800" dirty="0" smtClean="0">
                <a:solidFill>
                  <a:srgbClr val="000000"/>
                </a:solidFill>
              </a:rPr>
              <a:t> </a:t>
            </a:r>
            <a:r>
              <a:rPr lang="pt-BR" sz="800" dirty="0">
                <a:solidFill>
                  <a:srgbClr val="000000"/>
                </a:solidFill>
              </a:rPr>
              <a:t>EU </a:t>
            </a:r>
            <a:r>
              <a:rPr lang="pt-BR" sz="800" dirty="0" err="1">
                <a:solidFill>
                  <a:srgbClr val="000000"/>
                </a:solidFill>
              </a:rPr>
              <a:t>SmPC</a:t>
            </a:r>
            <a:r>
              <a:rPr lang="pt-BR" sz="800" dirty="0">
                <a:solidFill>
                  <a:srgbClr val="000000"/>
                </a:solidFill>
              </a:rPr>
              <a:t> </a:t>
            </a:r>
            <a:r>
              <a:rPr lang="pt-BR" sz="800" dirty="0" err="1" smtClean="0">
                <a:solidFill>
                  <a:srgbClr val="000000"/>
                </a:solidFill>
              </a:rPr>
              <a:t>at</a:t>
            </a:r>
            <a:r>
              <a:rPr lang="pt-BR" sz="800" dirty="0">
                <a:solidFill>
                  <a:srgbClr val="000000"/>
                </a:solidFill>
              </a:rPr>
              <a:t> </a:t>
            </a:r>
            <a:r>
              <a:rPr lang="pt-BR" sz="800" dirty="0" smtClean="0">
                <a:solidFill>
                  <a:srgbClr val="000000"/>
                </a:solidFill>
                <a:hlinkClick r:id="rId4"/>
              </a:rPr>
              <a:t>/</a:t>
            </a:r>
            <a:r>
              <a:rPr lang="pt-BR" sz="800" dirty="0">
                <a:solidFill>
                  <a:srgbClr val="000000"/>
                </a:solidFill>
                <a:hlinkClick r:id="rId4"/>
              </a:rPr>
              <a:t>www.medicines.org.uk/emc/medicine/27033</a:t>
            </a:r>
            <a:r>
              <a:rPr lang="pt-BR" sz="800" dirty="0">
                <a:solidFill>
                  <a:srgbClr val="000000"/>
                </a:solidFill>
              </a:rPr>
              <a:t>;</a:t>
            </a:r>
            <a:r>
              <a:rPr lang="en-GB" sz="800" dirty="0">
                <a:solidFill>
                  <a:srgbClr val="000000"/>
                </a:solidFill>
              </a:rPr>
              <a:t> </a:t>
            </a:r>
            <a:r>
              <a:rPr lang="en-GB" sz="800" dirty="0" err="1" smtClean="0">
                <a:solidFill>
                  <a:srgbClr val="000000"/>
                </a:solidFill>
              </a:rPr>
              <a:t>Tolbutamide</a:t>
            </a:r>
            <a:r>
              <a:rPr lang="en-GB" sz="800" dirty="0" smtClean="0">
                <a:solidFill>
                  <a:srgbClr val="000000"/>
                </a:solidFill>
              </a:rPr>
              <a:t> </a:t>
            </a:r>
            <a:r>
              <a:rPr lang="en-GB" sz="800" dirty="0">
                <a:solidFill>
                  <a:srgbClr val="000000"/>
                </a:solidFill>
              </a:rPr>
              <a:t>EU </a:t>
            </a:r>
            <a:r>
              <a:rPr lang="en-GB" sz="800" dirty="0" err="1">
                <a:solidFill>
                  <a:srgbClr val="000000"/>
                </a:solidFill>
              </a:rPr>
              <a:t>SmPC</a:t>
            </a:r>
            <a:r>
              <a:rPr lang="en-GB" sz="800" dirty="0">
                <a:solidFill>
                  <a:srgbClr val="000000"/>
                </a:solidFill>
              </a:rPr>
              <a:t> at </a:t>
            </a:r>
            <a:r>
              <a:rPr lang="en-GB" sz="800" dirty="0">
                <a:solidFill>
                  <a:srgbClr val="000000"/>
                </a:solidFill>
                <a:hlinkClick r:id="rId5"/>
              </a:rPr>
              <a:t>http://www.medicines.org.uk/emc/medicine/26366</a:t>
            </a:r>
            <a:r>
              <a:rPr lang="en-GB" sz="800" dirty="0">
                <a:solidFill>
                  <a:srgbClr val="000000"/>
                </a:solidFill>
              </a:rPr>
              <a:t>; </a:t>
            </a:r>
            <a:r>
              <a:rPr lang="en-GB" sz="800" dirty="0" err="1" smtClean="0">
                <a:solidFill>
                  <a:srgbClr val="000000"/>
                </a:solidFill>
              </a:rPr>
              <a:t>Glipizide</a:t>
            </a:r>
            <a:r>
              <a:rPr lang="en-GB" sz="800" dirty="0" smtClean="0">
                <a:solidFill>
                  <a:srgbClr val="000000"/>
                </a:solidFill>
              </a:rPr>
              <a:t> </a:t>
            </a:r>
            <a:r>
              <a:rPr lang="en-GB" sz="800" dirty="0">
                <a:solidFill>
                  <a:srgbClr val="000000"/>
                </a:solidFill>
              </a:rPr>
              <a:t>EU </a:t>
            </a:r>
            <a:r>
              <a:rPr lang="en-GB" sz="800" dirty="0" err="1">
                <a:solidFill>
                  <a:srgbClr val="000000"/>
                </a:solidFill>
              </a:rPr>
              <a:t>SmPC</a:t>
            </a:r>
            <a:r>
              <a:rPr lang="en-GB" sz="800" dirty="0">
                <a:solidFill>
                  <a:srgbClr val="000000"/>
                </a:solidFill>
              </a:rPr>
              <a:t> at </a:t>
            </a:r>
            <a:r>
              <a:rPr lang="en-GB" sz="800" dirty="0">
                <a:solidFill>
                  <a:srgbClr val="000000"/>
                </a:solidFill>
                <a:hlinkClick r:id="rId6"/>
              </a:rPr>
              <a:t>http://www.medicines.org.uk/emc/medicine/</a:t>
            </a:r>
            <a:r>
              <a:rPr lang="en-GB" sz="800" dirty="0" smtClean="0">
                <a:solidFill>
                  <a:srgbClr val="000000"/>
                </a:solidFill>
                <a:hlinkClick r:id="rId6"/>
              </a:rPr>
              <a:t>9851</a:t>
            </a:r>
            <a:r>
              <a:rPr lang="en-GB" sz="800" dirty="0" smtClean="0">
                <a:solidFill>
                  <a:srgbClr val="000000"/>
                </a:solidFill>
              </a:rPr>
              <a:t> UKPDS 33</a:t>
            </a:r>
            <a:r>
              <a:rPr lang="en-GB" sz="800" dirty="0">
                <a:solidFill>
                  <a:srgbClr val="000000"/>
                </a:solidFill>
              </a:rPr>
              <a:t>; CV, cardiovascular; CVOT, CV outcomes trial; MACE, major adverse cardiovascular events; OR, odds ratio; RCT, randomised controlled trials; SU, </a:t>
            </a:r>
            <a:r>
              <a:rPr lang="en-GB" sz="800" dirty="0" err="1">
                <a:solidFill>
                  <a:srgbClr val="000000"/>
                </a:solidFill>
              </a:rPr>
              <a:t>sulphonylurea</a:t>
            </a:r>
            <a:r>
              <a:rPr lang="en-GB" sz="800" dirty="0">
                <a:solidFill>
                  <a:srgbClr val="000000"/>
                </a:solidFill>
              </a:rPr>
              <a:t>; UGDP, University Group Diabetes Program; UKPDS, UK Prospective Diabetes Study </a:t>
            </a:r>
          </a:p>
          <a:p>
            <a:pPr algn="l"/>
            <a:r>
              <a:rPr lang="en-GB" sz="800" dirty="0">
                <a:solidFill>
                  <a:srgbClr val="000000"/>
                </a:solidFill>
              </a:rPr>
              <a:t>1. </a:t>
            </a:r>
            <a:r>
              <a:rPr lang="en-GB" sz="800" dirty="0" err="1">
                <a:solidFill>
                  <a:srgbClr val="000000"/>
                </a:solidFill>
              </a:rPr>
              <a:t>Meinert</a:t>
            </a:r>
            <a:r>
              <a:rPr lang="en-GB" sz="800" dirty="0">
                <a:solidFill>
                  <a:srgbClr val="000000"/>
                </a:solidFill>
              </a:rPr>
              <a:t> CL et al. Diabetes 1970;19(</a:t>
            </a:r>
            <a:r>
              <a:rPr lang="en-GB" sz="800" dirty="0" err="1">
                <a:solidFill>
                  <a:srgbClr val="000000"/>
                </a:solidFill>
              </a:rPr>
              <a:t>suppl</a:t>
            </a:r>
            <a:r>
              <a:rPr lang="en-GB" sz="800" dirty="0">
                <a:solidFill>
                  <a:srgbClr val="000000"/>
                </a:solidFill>
              </a:rPr>
              <a:t>):789; 2. UKPDS Group. Lancet 1998;352:837</a:t>
            </a:r>
            <a:r>
              <a:rPr lang="en-GB" sz="800" dirty="0" smtClean="0">
                <a:solidFill>
                  <a:srgbClr val="000000"/>
                </a:solidFill>
              </a:rPr>
              <a:t>;</a:t>
            </a:r>
            <a:r>
              <a:rPr lang="en-GB" sz="800" dirty="0">
                <a:solidFill>
                  <a:srgbClr val="000000"/>
                </a:solidFill>
              </a:rPr>
              <a:t> </a:t>
            </a:r>
            <a:r>
              <a:rPr lang="en-GB" sz="800" dirty="0" smtClean="0">
                <a:solidFill>
                  <a:srgbClr val="000000"/>
                </a:solidFill>
              </a:rPr>
              <a:t>Patel </a:t>
            </a:r>
            <a:r>
              <a:rPr lang="en-GB" sz="800" dirty="0">
                <a:solidFill>
                  <a:srgbClr val="000000"/>
                </a:solidFill>
              </a:rPr>
              <a:t>A et al. N </a:t>
            </a:r>
            <a:r>
              <a:rPr lang="en-GB" sz="800" dirty="0" err="1">
                <a:solidFill>
                  <a:srgbClr val="000000"/>
                </a:solidFill>
              </a:rPr>
              <a:t>Engl</a:t>
            </a:r>
            <a:r>
              <a:rPr lang="en-GB" sz="800" dirty="0">
                <a:solidFill>
                  <a:srgbClr val="000000"/>
                </a:solidFill>
              </a:rPr>
              <a:t> J Med 2008;358:2560; 4. </a:t>
            </a:r>
            <a:r>
              <a:rPr lang="en-GB" sz="800" dirty="0" err="1">
                <a:solidFill>
                  <a:srgbClr val="000000"/>
                </a:solidFill>
              </a:rPr>
              <a:t>Monami</a:t>
            </a:r>
            <a:r>
              <a:rPr lang="en-GB" sz="800" dirty="0">
                <a:solidFill>
                  <a:srgbClr val="000000"/>
                </a:solidFill>
              </a:rPr>
              <a:t> M et al. Diabetes </a:t>
            </a:r>
            <a:r>
              <a:rPr lang="en-GB" sz="800" dirty="0" err="1">
                <a:solidFill>
                  <a:srgbClr val="000000"/>
                </a:solidFill>
              </a:rPr>
              <a:t>Obes</a:t>
            </a:r>
            <a:r>
              <a:rPr lang="en-GB" sz="800" dirty="0">
                <a:solidFill>
                  <a:srgbClr val="000000"/>
                </a:solidFill>
              </a:rPr>
              <a:t> </a:t>
            </a:r>
            <a:r>
              <a:rPr lang="en-GB" sz="800" dirty="0" err="1">
                <a:solidFill>
                  <a:srgbClr val="000000"/>
                </a:solidFill>
              </a:rPr>
              <a:t>Metab</a:t>
            </a:r>
            <a:r>
              <a:rPr lang="en-GB" sz="800" dirty="0">
                <a:solidFill>
                  <a:srgbClr val="000000"/>
                </a:solidFill>
              </a:rPr>
              <a:t> 2013;15:938 </a:t>
            </a:r>
          </a:p>
          <a:p>
            <a:pPr algn="l"/>
            <a:endParaRPr lang="en-GB" sz="800" dirty="0" smtClean="0">
              <a:solidFill>
                <a:srgbClr val="000000"/>
              </a:solidFill>
            </a:endParaRPr>
          </a:p>
          <a:p>
            <a:pPr marL="228600" indent="-228600" algn="l">
              <a:buAutoNum type="arabicPeriod"/>
            </a:pPr>
            <a:endParaRPr lang="en-US" sz="800" dirty="0">
              <a:solidFill>
                <a:srgbClr val="000000"/>
              </a:solidFill>
            </a:endParaRPr>
          </a:p>
          <a:p>
            <a:pPr algn="l">
              <a:defRPr/>
            </a:pPr>
            <a:endParaRPr lang="en-GB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0357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GB" sz="1800" b="1" noProof="0" dirty="0" smtClean="0"/>
              <a:t>DPP</a:t>
            </a:r>
            <a:r>
              <a:rPr lang="en-GB" sz="1800" b="1" noProof="0" dirty="0"/>
              <a:t>-</a:t>
            </a:r>
            <a:r>
              <a:rPr lang="en-GB" sz="1800" b="1" noProof="0" dirty="0" smtClean="0"/>
              <a:t>4</a:t>
            </a:r>
            <a:endParaRPr lang="en-GB" sz="1800" b="1" noProof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51520" y="4731990"/>
            <a:ext cx="8640960" cy="288032"/>
          </a:xfrm>
        </p:spPr>
        <p:txBody>
          <a:bodyPr/>
          <a:lstStyle/>
          <a:p>
            <a:pPr lvl="0" algn="l"/>
            <a:r>
              <a:rPr lang="en-GB" sz="1050" dirty="0">
                <a:solidFill>
                  <a:srgbClr val="000000"/>
                </a:solidFill>
              </a:rPr>
              <a:t>DPP-4, dipeptidyl peptidase-4; GLP-1, glucagon-like peptide-1</a:t>
            </a:r>
            <a:br>
              <a:rPr lang="en-GB" sz="1050" dirty="0">
                <a:solidFill>
                  <a:srgbClr val="000000"/>
                </a:solidFill>
              </a:rPr>
            </a:br>
            <a:r>
              <a:rPr lang="en-GB" sz="1050" dirty="0">
                <a:solidFill>
                  <a:srgbClr val="000000"/>
                </a:solidFill>
              </a:rPr>
              <a:t>Adapted from: Drucker DJ. </a:t>
            </a:r>
            <a:r>
              <a:rPr lang="en-GB" sz="1050" i="1" dirty="0">
                <a:solidFill>
                  <a:srgbClr val="000000"/>
                </a:solidFill>
              </a:rPr>
              <a:t>Expert Opin Invest Drugs </a:t>
            </a:r>
            <a:r>
              <a:rPr lang="en-GB" sz="1050" dirty="0">
                <a:solidFill>
                  <a:srgbClr val="000000"/>
                </a:solidFill>
              </a:rPr>
              <a:t>2003;12:87; Ahrén B</a:t>
            </a:r>
            <a:r>
              <a:rPr lang="en-GB" sz="1050" i="1" dirty="0">
                <a:solidFill>
                  <a:srgbClr val="000000"/>
                </a:solidFill>
              </a:rPr>
              <a:t>. Curr Diab Rep </a:t>
            </a:r>
            <a:r>
              <a:rPr lang="en-GB" sz="1050" dirty="0">
                <a:solidFill>
                  <a:srgbClr val="000000"/>
                </a:solidFill>
              </a:rPr>
              <a:t>2003;3:365; Robinson LE </a:t>
            </a:r>
            <a:r>
              <a:rPr lang="en-GB" sz="1050" i="1" dirty="0">
                <a:solidFill>
                  <a:srgbClr val="000000"/>
                </a:solidFill>
              </a:rPr>
              <a:t>et al. BMJ Open </a:t>
            </a:r>
            <a:r>
              <a:rPr lang="en-GB" sz="1050" dirty="0">
                <a:solidFill>
                  <a:srgbClr val="000000"/>
                </a:solidFill>
              </a:rPr>
              <a:t>2013;3:pii e001986</a:t>
            </a:r>
          </a:p>
        </p:txBody>
      </p:sp>
      <p:sp>
        <p:nvSpPr>
          <p:cNvPr id="46" name="Rectangle 45"/>
          <p:cNvSpPr/>
          <p:nvPr>
            <p:custDataLst>
              <p:tags r:id="rId1"/>
            </p:custDataLst>
          </p:nvPr>
        </p:nvSpPr>
        <p:spPr>
          <a:xfrm>
            <a:off x="5627940" y="1466870"/>
            <a:ext cx="3012512" cy="948176"/>
          </a:xfrm>
          <a:prstGeom prst="rect">
            <a:avLst/>
          </a:prstGeom>
          <a:solidFill>
            <a:srgbClr val="6482C3">
              <a:lumMod val="20000"/>
              <a:lumOff val="8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53575E"/>
              </a:solidFill>
              <a:effectLst/>
              <a:uLnTx/>
              <a:uFillTx/>
              <a:latin typeface="Arial"/>
              <a:ea typeface="Arial Unicode MS" pitchFamily="34" charset="-128"/>
              <a:cs typeface="+mn-cs"/>
            </a:endParaRPr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906" y="1802158"/>
            <a:ext cx="1771422" cy="2155436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4005041" y="1820905"/>
            <a:ext cx="1371433" cy="284691"/>
          </a:xfrm>
          <a:prstGeom prst="rect">
            <a:avLst/>
          </a:prstGeom>
          <a:solidFill>
            <a:srgbClr val="FFFFFF"/>
          </a:solidFill>
          <a:ln w="19050">
            <a:solidFill>
              <a:srgbClr val="F0414B"/>
            </a:solidFill>
          </a:ln>
        </p:spPr>
        <p:txBody>
          <a:bodyPr wrap="square" lIns="68576" tIns="34289" rIns="68576" bIns="34289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</a:rPr>
              <a:t>Inactive GLP-1</a:t>
            </a:r>
          </a:p>
        </p:txBody>
      </p:sp>
      <p:sp>
        <p:nvSpPr>
          <p:cNvPr id="51" name="Rectangle 50"/>
          <p:cNvSpPr/>
          <p:nvPr/>
        </p:nvSpPr>
        <p:spPr>
          <a:xfrm>
            <a:off x="5801378" y="1551621"/>
            <a:ext cx="2665639" cy="351000"/>
          </a:xfrm>
          <a:prstGeom prst="rect">
            <a:avLst/>
          </a:prstGeom>
          <a:solidFill>
            <a:srgbClr val="FFFFFF"/>
          </a:solidFill>
          <a:ln w="19050" cap="flat" cmpd="sng" algn="ctr">
            <a:solidFill>
              <a:srgbClr val="6482C3"/>
            </a:solidFill>
            <a:prstDash val="solid"/>
          </a:ln>
          <a:effectLst/>
        </p:spPr>
        <p:txBody>
          <a:bodyPr lIns="68576" tIns="34289" rIns="68576" bIns="34289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imulates glucose-dependen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ulin secretion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5215857" y="3180881"/>
            <a:ext cx="959988" cy="253914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</a:rPr>
              <a:t>Pancreas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429115" y="1478344"/>
            <a:ext cx="1406994" cy="284691"/>
          </a:xfrm>
          <a:prstGeom prst="rect">
            <a:avLst/>
          </a:prstGeom>
          <a:noFill/>
          <a:ln w="19050">
            <a:solidFill>
              <a:srgbClr val="43AC99"/>
            </a:solidFill>
          </a:ln>
        </p:spPr>
        <p:txBody>
          <a:bodyPr wrap="square" lIns="68576" tIns="34289" rIns="68576" bIns="34289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</a:rPr>
              <a:t>Meal ingested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666262" y="2128892"/>
            <a:ext cx="1121881" cy="253914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</a:rPr>
              <a:t>Stomach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7324518" y="3785469"/>
            <a:ext cx="918116" cy="253914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</a:rPr>
              <a:t>β</a:t>
            </a: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</a:rPr>
              <a:t>-cell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1323379" y="3522976"/>
            <a:ext cx="1171561" cy="438580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</a:rPr>
              <a:t>Larg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</a:rPr>
              <a:t>intestine</a:t>
            </a:r>
          </a:p>
        </p:txBody>
      </p:sp>
      <p:sp>
        <p:nvSpPr>
          <p:cNvPr id="62" name="Rectangle 61"/>
          <p:cNvSpPr/>
          <p:nvPr/>
        </p:nvSpPr>
        <p:spPr>
          <a:xfrm>
            <a:off x="5801378" y="1981967"/>
            <a:ext cx="2665639" cy="351000"/>
          </a:xfrm>
          <a:prstGeom prst="rect">
            <a:avLst/>
          </a:prstGeom>
          <a:solidFill>
            <a:srgbClr val="FFFFFF"/>
          </a:solidFill>
          <a:ln w="19050" cap="flat" cmpd="sng" algn="ctr">
            <a:solidFill>
              <a:srgbClr val="6482C3"/>
            </a:solidFill>
            <a:prstDash val="solid"/>
          </a:ln>
          <a:effectLst/>
        </p:spPr>
        <p:txBody>
          <a:bodyPr lIns="68576" tIns="34289" rIns="68576" bIns="34289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resses postprandial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lucagon secretion</a:t>
            </a:r>
          </a:p>
        </p:txBody>
      </p:sp>
      <p:sp>
        <p:nvSpPr>
          <p:cNvPr id="63" name="AutoShape 3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79842" y="2803100"/>
            <a:ext cx="498479" cy="536618"/>
          </a:xfrm>
          <a:prstGeom prst="rect">
            <a:avLst/>
          </a:prstGeom>
          <a:noFill/>
          <a:ln w="19050">
            <a:solidFill>
              <a:srgbClr val="43AC99"/>
            </a:solidFill>
            <a:round/>
            <a:headEnd type="none" w="med" len="med"/>
            <a:tailEnd type="arrow" w="med" len="med"/>
          </a:ln>
          <a:effectLst>
            <a:glow rad="25400">
              <a:srgbClr val="FFFFFF"/>
            </a:glo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53575E"/>
              </a:solidFill>
              <a:effectLst/>
              <a:uLnTx/>
              <a:uFillTx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64" name="TextBox 2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38282" y="2827490"/>
            <a:ext cx="2129296" cy="690127"/>
          </a:xfrm>
          <a:prstGeom prst="rect">
            <a:avLst/>
          </a:prstGeom>
          <a:solidFill>
            <a:srgbClr val="43AC99">
              <a:lumMod val="20000"/>
              <a:lumOff val="80000"/>
            </a:srgbClr>
          </a:solidFill>
          <a:ln w="19050">
            <a:noFill/>
            <a:miter lim="800000"/>
            <a:headEnd/>
            <a:tailEnd/>
          </a:ln>
          <a:extLst/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53575E"/>
              </a:solidFill>
              <a:effectLst/>
              <a:uLnTx/>
              <a:uFillTx/>
              <a:ea typeface="Arial Unicode MS" pitchFamily="34" charset="-128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2693436" y="3221969"/>
            <a:ext cx="2018988" cy="284691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</a:rPr>
              <a:t>Slows gastric emptying</a:t>
            </a:r>
          </a:p>
        </p:txBody>
      </p:sp>
      <p:cxnSp>
        <p:nvCxnSpPr>
          <p:cNvPr id="67" name="Straight Arrow Connector 66"/>
          <p:cNvCxnSpPr>
            <a:endCxn id="79" idx="1"/>
          </p:cNvCxnSpPr>
          <p:nvPr/>
        </p:nvCxnSpPr>
        <p:spPr>
          <a:xfrm>
            <a:off x="2273458" y="3081382"/>
            <a:ext cx="730507" cy="281"/>
          </a:xfrm>
          <a:prstGeom prst="straightConnector1">
            <a:avLst/>
          </a:prstGeom>
          <a:noFill/>
          <a:ln w="28575">
            <a:solidFill>
              <a:srgbClr val="43AC99"/>
            </a:solidFill>
            <a:round/>
            <a:headEnd type="none" w="med" len="med"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8" name="Picture 6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1825" y="2697949"/>
            <a:ext cx="1374226" cy="749634"/>
          </a:xfrm>
          <a:prstGeom prst="rect">
            <a:avLst/>
          </a:prstGeom>
        </p:spPr>
      </p:pic>
      <p:sp>
        <p:nvSpPr>
          <p:cNvPr id="69" name="AutoShape 3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808393" y="2861776"/>
            <a:ext cx="316950" cy="147872"/>
          </a:xfrm>
          <a:prstGeom prst="rect">
            <a:avLst/>
          </a:prstGeom>
          <a:noFill/>
          <a:ln w="19050">
            <a:solidFill>
              <a:srgbClr val="6482C3"/>
            </a:solidFill>
            <a:round/>
            <a:headEnd type="none" w="med" len="med"/>
            <a:tailEnd type="arrow" w="med" len="med"/>
          </a:ln>
          <a:effectLst>
            <a:glow rad="25400">
              <a:srgbClr val="FFFFFF"/>
            </a:glo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53575E"/>
              </a:solidFill>
              <a:effectLst/>
              <a:uLnTx/>
              <a:uFillTx/>
              <a:ea typeface="Arial Unicode MS" pitchFamily="34" charset="-128"/>
              <a:cs typeface="Arial" pitchFamily="34" charset="0"/>
            </a:endParaRPr>
          </a:p>
        </p:txBody>
      </p:sp>
      <p:pic>
        <p:nvPicPr>
          <p:cNvPr id="70" name="Picture 6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7823" y="3361592"/>
            <a:ext cx="678144" cy="425862"/>
          </a:xfrm>
          <a:prstGeom prst="rect">
            <a:avLst/>
          </a:prstGeom>
        </p:spPr>
      </p:pic>
      <p:sp>
        <p:nvSpPr>
          <p:cNvPr id="71" name="AutoShape 3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447823" y="3359507"/>
            <a:ext cx="678144" cy="430034"/>
          </a:xfrm>
          <a:prstGeom prst="rect">
            <a:avLst/>
          </a:prstGeom>
          <a:noFill/>
          <a:ln w="19050">
            <a:solidFill>
              <a:srgbClr val="6482C3"/>
            </a:solidFill>
            <a:round/>
            <a:headEnd type="none" w="med" len="med"/>
            <a:tailEnd type="arrow" w="med" len="med"/>
          </a:ln>
          <a:effectLst>
            <a:glow rad="25400">
              <a:srgbClr val="FFFFFF"/>
            </a:glo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53575E"/>
              </a:solidFill>
              <a:effectLst/>
              <a:uLnTx/>
              <a:uFillTx/>
              <a:ea typeface="Arial Unicode MS" pitchFamily="34" charset="-128"/>
              <a:cs typeface="Arial" pitchFamily="34" charset="0"/>
            </a:endParaRPr>
          </a:p>
        </p:txBody>
      </p:sp>
      <p:cxnSp>
        <p:nvCxnSpPr>
          <p:cNvPr id="72" name="Elbow Connector 71"/>
          <p:cNvCxnSpPr>
            <a:endCxn id="70" idx="1"/>
          </p:cNvCxnSpPr>
          <p:nvPr/>
        </p:nvCxnSpPr>
        <p:spPr>
          <a:xfrm rot="16200000" flipH="1">
            <a:off x="6925821" y="3052521"/>
            <a:ext cx="563050" cy="480955"/>
          </a:xfrm>
          <a:prstGeom prst="bentConnector2">
            <a:avLst/>
          </a:prstGeom>
          <a:noFill/>
          <a:ln w="25400" cap="flat" cmpd="sng" algn="ctr">
            <a:solidFill>
              <a:srgbClr val="6482C3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73" name="Straight Arrow Connector 72"/>
          <p:cNvCxnSpPr/>
          <p:nvPr/>
        </p:nvCxnSpPr>
        <p:spPr>
          <a:xfrm flipH="1" flipV="1">
            <a:off x="7135121" y="2410561"/>
            <a:ext cx="2" cy="339929"/>
          </a:xfrm>
          <a:prstGeom prst="straightConnector1">
            <a:avLst/>
          </a:prstGeom>
          <a:noFill/>
          <a:ln w="28575">
            <a:solidFill>
              <a:srgbClr val="6482C3"/>
            </a:solidFill>
            <a:round/>
            <a:headEnd type="none" w="med" len="med"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74" name="Group 73"/>
          <p:cNvGrpSpPr/>
          <p:nvPr/>
        </p:nvGrpSpPr>
        <p:grpSpPr>
          <a:xfrm>
            <a:off x="2727562" y="1933647"/>
            <a:ext cx="600493" cy="623666"/>
            <a:chOff x="2553733" y="1698650"/>
            <a:chExt cx="600493" cy="831554"/>
          </a:xfrm>
        </p:grpSpPr>
        <p:sp>
          <p:nvSpPr>
            <p:cNvPr id="75" name="Line 220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gray">
            <a:xfrm rot="16200000">
              <a:off x="3023181" y="2399235"/>
              <a:ext cx="261938" cy="0"/>
            </a:xfrm>
            <a:prstGeom prst="line">
              <a:avLst/>
            </a:prstGeom>
            <a:noFill/>
            <a:ln w="28575" algn="ctr">
              <a:solidFill>
                <a:schemeClr val="accent1"/>
              </a:solidFill>
              <a:round/>
              <a:headEnd/>
              <a:tailEnd/>
            </a:ln>
          </p:spPr>
          <p:txBody>
            <a:bodyPr wrap="none" lIns="68558" tIns="34280" rIns="68558" bIns="3428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53575E"/>
                </a:solidFill>
                <a:effectLst/>
                <a:uLnTx/>
                <a:uFillTx/>
                <a:cs typeface="Arial" charset="0"/>
              </a:endParaRPr>
            </a:p>
          </p:txBody>
        </p:sp>
        <p:cxnSp>
          <p:nvCxnSpPr>
            <p:cNvPr id="76" name="Elbow Connector 75"/>
            <p:cNvCxnSpPr/>
            <p:nvPr/>
          </p:nvCxnSpPr>
          <p:spPr>
            <a:xfrm rot="16200000" flipH="1">
              <a:off x="2497335" y="1755048"/>
              <a:ext cx="713290" cy="600493"/>
            </a:xfrm>
            <a:prstGeom prst="bentConnector3">
              <a:avLst>
                <a:gd name="adj1" fmla="val 99306"/>
              </a:avLst>
            </a:prstGeom>
            <a:noFill/>
            <a:ln w="28575" cap="flat" cmpd="sng" algn="ctr">
              <a:solidFill>
                <a:schemeClr val="accent1"/>
              </a:solidFill>
              <a:prstDash val="solid"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77" name="Straight Arrow Connector 76"/>
          <p:cNvCxnSpPr/>
          <p:nvPr/>
        </p:nvCxnSpPr>
        <p:spPr>
          <a:xfrm flipH="1">
            <a:off x="3702930" y="2623129"/>
            <a:ext cx="2" cy="339929"/>
          </a:xfrm>
          <a:prstGeom prst="straightConnector1">
            <a:avLst/>
          </a:prstGeom>
          <a:noFill/>
          <a:ln w="28575">
            <a:solidFill>
              <a:srgbClr val="F0414B"/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8" name="Straight Arrow Connector 77"/>
          <p:cNvCxnSpPr/>
          <p:nvPr/>
        </p:nvCxnSpPr>
        <p:spPr>
          <a:xfrm>
            <a:off x="1485386" y="1694749"/>
            <a:ext cx="0" cy="214727"/>
          </a:xfrm>
          <a:prstGeom prst="straightConnector1">
            <a:avLst/>
          </a:prstGeom>
          <a:noFill/>
          <a:ln w="28575">
            <a:solidFill>
              <a:srgbClr val="43AC99"/>
            </a:solidFill>
            <a:round/>
            <a:headEnd type="none" w="med" len="med"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9" name="TextBox 24"/>
          <p:cNvSpPr>
            <a:spLocks noChangeArrowheads="1"/>
          </p:cNvSpPr>
          <p:nvPr/>
        </p:nvSpPr>
        <p:spPr bwMode="auto">
          <a:xfrm>
            <a:off x="3003964" y="2961927"/>
            <a:ext cx="1397932" cy="239472"/>
          </a:xfrm>
          <a:prstGeom prst="rect">
            <a:avLst/>
          </a:prstGeom>
          <a:solidFill>
            <a:srgbClr val="FFFFFF"/>
          </a:solidFill>
          <a:ln w="19050" cap="flat" cmpd="sng" algn="ctr">
            <a:solidFill>
              <a:srgbClr val="43AC99"/>
            </a:solidFill>
            <a:prstDash val="soli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53575E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" pitchFamily="34" charset="0"/>
              </a:rPr>
              <a:t>Active GLP-1</a:t>
            </a:r>
          </a:p>
        </p:txBody>
      </p:sp>
      <p:sp>
        <p:nvSpPr>
          <p:cNvPr id="80" name="Rectangle 79"/>
          <p:cNvSpPr/>
          <p:nvPr/>
        </p:nvSpPr>
        <p:spPr>
          <a:xfrm>
            <a:off x="2192109" y="1727121"/>
            <a:ext cx="1107458" cy="401771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kern="0" noProof="0" dirty="0" smtClean="0">
                <a:solidFill>
                  <a:srgbClr val="FFFFFF"/>
                </a:solidFill>
                <a:latin typeface="Arial"/>
                <a:ea typeface="Arial Unicode MS" pitchFamily="34" charset="-128"/>
                <a:cs typeface="Arial" pitchFamily="34" charset="0"/>
              </a:rPr>
              <a:t>DPP-4 inhibitor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 pitchFamily="34" charset="-128"/>
              <a:cs typeface="Arial" pitchFamily="34" charset="0"/>
            </a:endParaRPr>
          </a:p>
        </p:txBody>
      </p:sp>
      <p:grpSp>
        <p:nvGrpSpPr>
          <p:cNvPr id="81" name="Group 80"/>
          <p:cNvGrpSpPr/>
          <p:nvPr/>
        </p:nvGrpSpPr>
        <p:grpSpPr>
          <a:xfrm>
            <a:off x="3339128" y="2215664"/>
            <a:ext cx="680781" cy="480060"/>
            <a:chOff x="3291963" y="1994755"/>
            <a:chExt cx="680781" cy="640080"/>
          </a:xfrm>
        </p:grpSpPr>
        <p:sp>
          <p:nvSpPr>
            <p:cNvPr id="82" name="TextBox 81"/>
            <p:cNvSpPr txBox="1"/>
            <p:nvPr/>
          </p:nvSpPr>
          <p:spPr>
            <a:xfrm>
              <a:off x="3332664" y="1994755"/>
              <a:ext cx="640080" cy="640080"/>
            </a:xfrm>
            <a:prstGeom prst="ellipse">
              <a:avLst/>
            </a:prstGeom>
            <a:solidFill>
              <a:srgbClr val="F0414B"/>
            </a:solidFill>
            <a:ln w="19050">
              <a:solidFill>
                <a:srgbClr val="F0414B"/>
              </a:solidFill>
            </a:ln>
          </p:spPr>
          <p:txBody>
            <a:bodyPr wrap="square" lIns="68576" tIns="34289" rIns="68576" bIns="34289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3291963" y="2154886"/>
              <a:ext cx="626581" cy="4103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DPP-4</a:t>
              </a:r>
            </a:p>
          </p:txBody>
        </p:sp>
      </p:grpSp>
      <p:cxnSp>
        <p:nvCxnSpPr>
          <p:cNvPr id="84" name="Elbow Connector 83"/>
          <p:cNvCxnSpPr>
            <a:stCxn id="82" idx="0"/>
            <a:endCxn id="50" idx="1"/>
          </p:cNvCxnSpPr>
          <p:nvPr/>
        </p:nvCxnSpPr>
        <p:spPr>
          <a:xfrm rot="5400000" flipH="1" flipV="1">
            <a:off x="3726249" y="1936872"/>
            <a:ext cx="252413" cy="305172"/>
          </a:xfrm>
          <a:prstGeom prst="bentConnector2">
            <a:avLst/>
          </a:prstGeom>
          <a:noFill/>
          <a:ln w="28575">
            <a:solidFill>
              <a:srgbClr val="F0414B"/>
            </a:solidFill>
            <a:prstDash val="sysDash"/>
            <a:round/>
            <a:headEnd type="none" w="med" len="med"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5" name="Straight Arrow Connector 84"/>
          <p:cNvCxnSpPr>
            <a:stCxn id="79" idx="3"/>
          </p:cNvCxnSpPr>
          <p:nvPr/>
        </p:nvCxnSpPr>
        <p:spPr>
          <a:xfrm flipV="1">
            <a:off x="4401895" y="3081382"/>
            <a:ext cx="1645920" cy="281"/>
          </a:xfrm>
          <a:prstGeom prst="straightConnector1">
            <a:avLst/>
          </a:prstGeom>
          <a:noFill/>
          <a:ln w="28575">
            <a:solidFill>
              <a:srgbClr val="43AC99"/>
            </a:solidFill>
            <a:round/>
            <a:headEnd type="none" w="med" len="med"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640300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en-GB" altLang="en-US" sz="2000" b="1" dirty="0" smtClean="0">
                <a:solidFill>
                  <a:srgbClr val="00142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LP-1 </a:t>
            </a:r>
            <a:r>
              <a:rPr lang="en-GB" altLang="en-US" sz="2000" b="1" dirty="0" err="1" smtClean="0">
                <a:solidFill>
                  <a:srgbClr val="00142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</a:t>
            </a:r>
            <a:endParaRPr lang="en-GB" sz="2000" b="1" dirty="0">
              <a:solidFill>
                <a:srgbClr val="00142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86193" y="1129922"/>
            <a:ext cx="6215133" cy="3447763"/>
            <a:chOff x="1194846" y="1298994"/>
            <a:chExt cx="6215133" cy="3447763"/>
          </a:xfrm>
        </p:grpSpPr>
        <p:sp>
          <p:nvSpPr>
            <p:cNvPr id="85" name="Freeform 114"/>
            <p:cNvSpPr>
              <a:spLocks/>
            </p:cNvSpPr>
            <p:nvPr/>
          </p:nvSpPr>
          <p:spPr bwMode="auto">
            <a:xfrm>
              <a:off x="3815893" y="1326757"/>
              <a:ext cx="1230863" cy="3420000"/>
            </a:xfrm>
            <a:custGeom>
              <a:avLst/>
              <a:gdLst>
                <a:gd name="T0" fmla="*/ 906 w 955"/>
                <a:gd name="T1" fmla="*/ 941 h 3007"/>
                <a:gd name="T2" fmla="*/ 892 w 955"/>
                <a:gd name="T3" fmla="*/ 654 h 3007"/>
                <a:gd name="T4" fmla="*/ 667 w 955"/>
                <a:gd name="T5" fmla="*/ 468 h 3007"/>
                <a:gd name="T6" fmla="*/ 573 w 955"/>
                <a:gd name="T7" fmla="*/ 314 h 3007"/>
                <a:gd name="T8" fmla="*/ 609 w 955"/>
                <a:gd name="T9" fmla="*/ 243 h 3007"/>
                <a:gd name="T10" fmla="*/ 589 w 955"/>
                <a:gd name="T11" fmla="*/ 186 h 3007"/>
                <a:gd name="T12" fmla="*/ 533 w 955"/>
                <a:gd name="T13" fmla="*/ 24 h 3007"/>
                <a:gd name="T14" fmla="*/ 382 w 955"/>
                <a:gd name="T15" fmla="*/ 30 h 3007"/>
                <a:gd name="T16" fmla="*/ 308 w 955"/>
                <a:gd name="T17" fmla="*/ 179 h 3007"/>
                <a:gd name="T18" fmla="*/ 341 w 955"/>
                <a:gd name="T19" fmla="*/ 277 h 3007"/>
                <a:gd name="T20" fmla="*/ 351 w 955"/>
                <a:gd name="T21" fmla="*/ 312 h 3007"/>
                <a:gd name="T22" fmla="*/ 343 w 955"/>
                <a:gd name="T23" fmla="*/ 434 h 3007"/>
                <a:gd name="T24" fmla="*/ 63 w 955"/>
                <a:gd name="T25" fmla="*/ 619 h 3007"/>
                <a:gd name="T26" fmla="*/ 19 w 955"/>
                <a:gd name="T27" fmla="*/ 1024 h 3007"/>
                <a:gd name="T28" fmla="*/ 49 w 955"/>
                <a:gd name="T29" fmla="*/ 1475 h 3007"/>
                <a:gd name="T30" fmla="*/ 60 w 955"/>
                <a:gd name="T31" fmla="*/ 1661 h 3007"/>
                <a:gd name="T32" fmla="*/ 109 w 955"/>
                <a:gd name="T33" fmla="*/ 1722 h 3007"/>
                <a:gd name="T34" fmla="*/ 144 w 955"/>
                <a:gd name="T35" fmla="*/ 1707 h 3007"/>
                <a:gd name="T36" fmla="*/ 141 w 955"/>
                <a:gd name="T37" fmla="*/ 1667 h 3007"/>
                <a:gd name="T38" fmla="*/ 113 w 955"/>
                <a:gd name="T39" fmla="*/ 1631 h 3007"/>
                <a:gd name="T40" fmla="*/ 132 w 955"/>
                <a:gd name="T41" fmla="*/ 1561 h 3007"/>
                <a:gd name="T42" fmla="*/ 186 w 955"/>
                <a:gd name="T43" fmla="*/ 1603 h 3007"/>
                <a:gd name="T44" fmla="*/ 137 w 955"/>
                <a:gd name="T45" fmla="*/ 1221 h 3007"/>
                <a:gd name="T46" fmla="*/ 189 w 955"/>
                <a:gd name="T47" fmla="*/ 848 h 3007"/>
                <a:gd name="T48" fmla="*/ 269 w 955"/>
                <a:gd name="T49" fmla="*/ 1096 h 3007"/>
                <a:gd name="T50" fmla="*/ 239 w 955"/>
                <a:gd name="T51" fmla="*/ 1282 h 3007"/>
                <a:gd name="T52" fmla="*/ 217 w 955"/>
                <a:gd name="T53" fmla="*/ 1724 h 3007"/>
                <a:gd name="T54" fmla="*/ 252 w 955"/>
                <a:gd name="T55" fmla="*/ 2385 h 3007"/>
                <a:gd name="T56" fmla="*/ 321 w 955"/>
                <a:gd name="T57" fmla="*/ 2785 h 3007"/>
                <a:gd name="T58" fmla="*/ 279 w 955"/>
                <a:gd name="T59" fmla="*/ 2899 h 3007"/>
                <a:gd name="T60" fmla="*/ 276 w 955"/>
                <a:gd name="T61" fmla="*/ 2961 h 3007"/>
                <a:gd name="T62" fmla="*/ 311 w 955"/>
                <a:gd name="T63" fmla="*/ 2991 h 3007"/>
                <a:gd name="T64" fmla="*/ 355 w 955"/>
                <a:gd name="T65" fmla="*/ 2977 h 3007"/>
                <a:gd name="T66" fmla="*/ 396 w 955"/>
                <a:gd name="T67" fmla="*/ 2995 h 3007"/>
                <a:gd name="T68" fmla="*/ 416 w 955"/>
                <a:gd name="T69" fmla="*/ 2877 h 3007"/>
                <a:gd name="T70" fmla="*/ 408 w 955"/>
                <a:gd name="T71" fmla="*/ 2577 h 3007"/>
                <a:gd name="T72" fmla="*/ 431 w 955"/>
                <a:gd name="T73" fmla="*/ 2067 h 3007"/>
                <a:gd name="T74" fmla="*/ 474 w 955"/>
                <a:gd name="T75" fmla="*/ 1672 h 3007"/>
                <a:gd name="T76" fmla="*/ 503 w 955"/>
                <a:gd name="T77" fmla="*/ 1654 h 3007"/>
                <a:gd name="T78" fmla="*/ 551 w 955"/>
                <a:gd name="T79" fmla="*/ 2026 h 3007"/>
                <a:gd name="T80" fmla="*/ 568 w 955"/>
                <a:gd name="T81" fmla="*/ 2357 h 3007"/>
                <a:gd name="T82" fmla="*/ 575 w 955"/>
                <a:gd name="T83" fmla="*/ 2747 h 3007"/>
                <a:gd name="T84" fmla="*/ 586 w 955"/>
                <a:gd name="T85" fmla="*/ 2876 h 3007"/>
                <a:gd name="T86" fmla="*/ 617 w 955"/>
                <a:gd name="T87" fmla="*/ 2961 h 3007"/>
                <a:gd name="T88" fmla="*/ 678 w 955"/>
                <a:gd name="T89" fmla="*/ 2957 h 3007"/>
                <a:gd name="T90" fmla="*/ 718 w 955"/>
                <a:gd name="T91" fmla="*/ 2945 h 3007"/>
                <a:gd name="T92" fmla="*/ 739 w 955"/>
                <a:gd name="T93" fmla="*/ 2913 h 3007"/>
                <a:gd name="T94" fmla="*/ 679 w 955"/>
                <a:gd name="T95" fmla="*/ 2721 h 3007"/>
                <a:gd name="T96" fmla="*/ 720 w 955"/>
                <a:gd name="T97" fmla="*/ 2121 h 3007"/>
                <a:gd name="T98" fmla="*/ 747 w 955"/>
                <a:gd name="T99" fmla="*/ 1381 h 3007"/>
                <a:gd name="T100" fmla="*/ 714 w 955"/>
                <a:gd name="T101" fmla="*/ 990 h 3007"/>
                <a:gd name="T102" fmla="*/ 808 w 955"/>
                <a:gd name="T103" fmla="*/ 1086 h 3007"/>
                <a:gd name="T104" fmla="*/ 854 w 955"/>
                <a:gd name="T105" fmla="*/ 1502 h 3007"/>
                <a:gd name="T106" fmla="*/ 837 w 955"/>
                <a:gd name="T107" fmla="*/ 1640 h 3007"/>
                <a:gd name="T108" fmla="*/ 878 w 955"/>
                <a:gd name="T109" fmla="*/ 1605 h 3007"/>
                <a:gd name="T110" fmla="*/ 840 w 955"/>
                <a:gd name="T111" fmla="*/ 1664 h 3007"/>
                <a:gd name="T112" fmla="*/ 892 w 955"/>
                <a:gd name="T113" fmla="*/ 1649 h 3007"/>
                <a:gd name="T114" fmla="*/ 865 w 955"/>
                <a:gd name="T115" fmla="*/ 1676 h 3007"/>
                <a:gd name="T116" fmla="*/ 886 w 955"/>
                <a:gd name="T117" fmla="*/ 1689 h 3007"/>
                <a:gd name="T118" fmla="*/ 859 w 955"/>
                <a:gd name="T119" fmla="*/ 1724 h 3007"/>
                <a:gd name="T120" fmla="*/ 927 w 955"/>
                <a:gd name="T121" fmla="*/ 1710 h 3007"/>
                <a:gd name="T122" fmla="*/ 936 w 955"/>
                <a:gd name="T123" fmla="*/ 1491 h 30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55" h="3007">
                  <a:moveTo>
                    <a:pt x="936" y="1491"/>
                  </a:moveTo>
                  <a:cubicBezTo>
                    <a:pt x="929" y="1465"/>
                    <a:pt x="944" y="1152"/>
                    <a:pt x="948" y="1116"/>
                  </a:cubicBezTo>
                  <a:cubicBezTo>
                    <a:pt x="951" y="1079"/>
                    <a:pt x="913" y="958"/>
                    <a:pt x="906" y="941"/>
                  </a:cubicBezTo>
                  <a:cubicBezTo>
                    <a:pt x="899" y="923"/>
                    <a:pt x="908" y="928"/>
                    <a:pt x="909" y="895"/>
                  </a:cubicBezTo>
                  <a:cubicBezTo>
                    <a:pt x="911" y="862"/>
                    <a:pt x="881" y="713"/>
                    <a:pt x="881" y="713"/>
                  </a:cubicBezTo>
                  <a:cubicBezTo>
                    <a:pt x="881" y="713"/>
                    <a:pt x="894" y="681"/>
                    <a:pt x="892" y="654"/>
                  </a:cubicBezTo>
                  <a:cubicBezTo>
                    <a:pt x="889" y="628"/>
                    <a:pt x="868" y="566"/>
                    <a:pt x="839" y="549"/>
                  </a:cubicBezTo>
                  <a:cubicBezTo>
                    <a:pt x="810" y="531"/>
                    <a:pt x="743" y="514"/>
                    <a:pt x="743" y="514"/>
                  </a:cubicBezTo>
                  <a:cubicBezTo>
                    <a:pt x="743" y="514"/>
                    <a:pt x="702" y="484"/>
                    <a:pt x="667" y="468"/>
                  </a:cubicBezTo>
                  <a:cubicBezTo>
                    <a:pt x="631" y="453"/>
                    <a:pt x="563" y="415"/>
                    <a:pt x="563" y="415"/>
                  </a:cubicBezTo>
                  <a:cubicBezTo>
                    <a:pt x="559" y="349"/>
                    <a:pt x="559" y="349"/>
                    <a:pt x="559" y="349"/>
                  </a:cubicBezTo>
                  <a:cubicBezTo>
                    <a:pt x="559" y="349"/>
                    <a:pt x="572" y="319"/>
                    <a:pt x="573" y="314"/>
                  </a:cubicBezTo>
                  <a:cubicBezTo>
                    <a:pt x="574" y="309"/>
                    <a:pt x="580" y="276"/>
                    <a:pt x="580" y="276"/>
                  </a:cubicBezTo>
                  <a:cubicBezTo>
                    <a:pt x="580" y="276"/>
                    <a:pt x="587" y="284"/>
                    <a:pt x="597" y="279"/>
                  </a:cubicBezTo>
                  <a:cubicBezTo>
                    <a:pt x="607" y="274"/>
                    <a:pt x="609" y="253"/>
                    <a:pt x="609" y="243"/>
                  </a:cubicBezTo>
                  <a:cubicBezTo>
                    <a:pt x="610" y="232"/>
                    <a:pt x="613" y="207"/>
                    <a:pt x="616" y="199"/>
                  </a:cubicBezTo>
                  <a:cubicBezTo>
                    <a:pt x="619" y="191"/>
                    <a:pt x="614" y="178"/>
                    <a:pt x="608" y="176"/>
                  </a:cubicBezTo>
                  <a:cubicBezTo>
                    <a:pt x="603" y="174"/>
                    <a:pt x="589" y="186"/>
                    <a:pt x="589" y="186"/>
                  </a:cubicBezTo>
                  <a:cubicBezTo>
                    <a:pt x="589" y="186"/>
                    <a:pt x="588" y="170"/>
                    <a:pt x="589" y="158"/>
                  </a:cubicBezTo>
                  <a:cubicBezTo>
                    <a:pt x="591" y="147"/>
                    <a:pt x="582" y="102"/>
                    <a:pt x="579" y="92"/>
                  </a:cubicBezTo>
                  <a:cubicBezTo>
                    <a:pt x="577" y="82"/>
                    <a:pt x="553" y="37"/>
                    <a:pt x="533" y="24"/>
                  </a:cubicBezTo>
                  <a:cubicBezTo>
                    <a:pt x="518" y="14"/>
                    <a:pt x="498" y="3"/>
                    <a:pt x="476" y="1"/>
                  </a:cubicBezTo>
                  <a:cubicBezTo>
                    <a:pt x="470" y="0"/>
                    <a:pt x="463" y="0"/>
                    <a:pt x="456" y="1"/>
                  </a:cubicBezTo>
                  <a:cubicBezTo>
                    <a:pt x="427" y="5"/>
                    <a:pt x="394" y="19"/>
                    <a:pt x="382" y="30"/>
                  </a:cubicBezTo>
                  <a:cubicBezTo>
                    <a:pt x="371" y="40"/>
                    <a:pt x="345" y="72"/>
                    <a:pt x="340" y="90"/>
                  </a:cubicBezTo>
                  <a:cubicBezTo>
                    <a:pt x="334" y="108"/>
                    <a:pt x="328" y="195"/>
                    <a:pt x="328" y="195"/>
                  </a:cubicBezTo>
                  <a:cubicBezTo>
                    <a:pt x="328" y="195"/>
                    <a:pt x="314" y="171"/>
                    <a:pt x="308" y="179"/>
                  </a:cubicBezTo>
                  <a:cubicBezTo>
                    <a:pt x="303" y="186"/>
                    <a:pt x="305" y="208"/>
                    <a:pt x="308" y="225"/>
                  </a:cubicBezTo>
                  <a:cubicBezTo>
                    <a:pt x="312" y="243"/>
                    <a:pt x="318" y="281"/>
                    <a:pt x="331" y="282"/>
                  </a:cubicBezTo>
                  <a:cubicBezTo>
                    <a:pt x="341" y="282"/>
                    <a:pt x="341" y="278"/>
                    <a:pt x="341" y="277"/>
                  </a:cubicBezTo>
                  <a:cubicBezTo>
                    <a:pt x="341" y="276"/>
                    <a:pt x="341" y="276"/>
                    <a:pt x="341" y="276"/>
                  </a:cubicBezTo>
                  <a:cubicBezTo>
                    <a:pt x="341" y="276"/>
                    <a:pt x="341" y="276"/>
                    <a:pt x="341" y="277"/>
                  </a:cubicBezTo>
                  <a:cubicBezTo>
                    <a:pt x="342" y="281"/>
                    <a:pt x="346" y="300"/>
                    <a:pt x="351" y="312"/>
                  </a:cubicBezTo>
                  <a:cubicBezTo>
                    <a:pt x="357" y="325"/>
                    <a:pt x="370" y="356"/>
                    <a:pt x="370" y="356"/>
                  </a:cubicBezTo>
                  <a:cubicBezTo>
                    <a:pt x="370" y="356"/>
                    <a:pt x="365" y="408"/>
                    <a:pt x="365" y="416"/>
                  </a:cubicBezTo>
                  <a:cubicBezTo>
                    <a:pt x="365" y="424"/>
                    <a:pt x="360" y="423"/>
                    <a:pt x="343" y="434"/>
                  </a:cubicBezTo>
                  <a:cubicBezTo>
                    <a:pt x="325" y="446"/>
                    <a:pt x="210" y="508"/>
                    <a:pt x="201" y="515"/>
                  </a:cubicBezTo>
                  <a:cubicBezTo>
                    <a:pt x="193" y="523"/>
                    <a:pt x="154" y="523"/>
                    <a:pt x="133" y="532"/>
                  </a:cubicBezTo>
                  <a:cubicBezTo>
                    <a:pt x="112" y="541"/>
                    <a:pt x="72" y="586"/>
                    <a:pt x="63" y="619"/>
                  </a:cubicBezTo>
                  <a:cubicBezTo>
                    <a:pt x="54" y="653"/>
                    <a:pt x="68" y="731"/>
                    <a:pt x="68" y="731"/>
                  </a:cubicBezTo>
                  <a:cubicBezTo>
                    <a:pt x="68" y="731"/>
                    <a:pt x="54" y="770"/>
                    <a:pt x="54" y="788"/>
                  </a:cubicBezTo>
                  <a:cubicBezTo>
                    <a:pt x="54" y="806"/>
                    <a:pt x="29" y="997"/>
                    <a:pt x="19" y="1024"/>
                  </a:cubicBezTo>
                  <a:cubicBezTo>
                    <a:pt x="8" y="1051"/>
                    <a:pt x="0" y="1099"/>
                    <a:pt x="0" y="1125"/>
                  </a:cubicBezTo>
                  <a:cubicBezTo>
                    <a:pt x="0" y="1152"/>
                    <a:pt x="2" y="1223"/>
                    <a:pt x="9" y="1249"/>
                  </a:cubicBezTo>
                  <a:cubicBezTo>
                    <a:pt x="16" y="1274"/>
                    <a:pt x="49" y="1419"/>
                    <a:pt x="49" y="1475"/>
                  </a:cubicBezTo>
                  <a:cubicBezTo>
                    <a:pt x="49" y="1531"/>
                    <a:pt x="39" y="1585"/>
                    <a:pt x="39" y="1594"/>
                  </a:cubicBezTo>
                  <a:cubicBezTo>
                    <a:pt x="40" y="1602"/>
                    <a:pt x="46" y="1612"/>
                    <a:pt x="51" y="1624"/>
                  </a:cubicBezTo>
                  <a:cubicBezTo>
                    <a:pt x="57" y="1637"/>
                    <a:pt x="58" y="1655"/>
                    <a:pt x="60" y="1661"/>
                  </a:cubicBezTo>
                  <a:cubicBezTo>
                    <a:pt x="62" y="1668"/>
                    <a:pt x="65" y="1675"/>
                    <a:pt x="70" y="1680"/>
                  </a:cubicBezTo>
                  <a:cubicBezTo>
                    <a:pt x="75" y="1684"/>
                    <a:pt x="83" y="1699"/>
                    <a:pt x="87" y="1703"/>
                  </a:cubicBezTo>
                  <a:cubicBezTo>
                    <a:pt x="92" y="1708"/>
                    <a:pt x="109" y="1722"/>
                    <a:pt x="109" y="1722"/>
                  </a:cubicBezTo>
                  <a:cubicBezTo>
                    <a:pt x="109" y="1722"/>
                    <a:pt x="114" y="1725"/>
                    <a:pt x="118" y="1720"/>
                  </a:cubicBezTo>
                  <a:cubicBezTo>
                    <a:pt x="122" y="1714"/>
                    <a:pt x="120" y="1706"/>
                    <a:pt x="120" y="1706"/>
                  </a:cubicBezTo>
                  <a:cubicBezTo>
                    <a:pt x="120" y="1706"/>
                    <a:pt x="140" y="1713"/>
                    <a:pt x="144" y="1707"/>
                  </a:cubicBezTo>
                  <a:cubicBezTo>
                    <a:pt x="149" y="1702"/>
                    <a:pt x="137" y="1689"/>
                    <a:pt x="137" y="1689"/>
                  </a:cubicBezTo>
                  <a:cubicBezTo>
                    <a:pt x="137" y="1689"/>
                    <a:pt x="152" y="1689"/>
                    <a:pt x="151" y="1678"/>
                  </a:cubicBezTo>
                  <a:cubicBezTo>
                    <a:pt x="150" y="1668"/>
                    <a:pt x="141" y="1667"/>
                    <a:pt x="141" y="1667"/>
                  </a:cubicBezTo>
                  <a:cubicBezTo>
                    <a:pt x="141" y="1667"/>
                    <a:pt x="141" y="1653"/>
                    <a:pt x="136" y="1648"/>
                  </a:cubicBezTo>
                  <a:cubicBezTo>
                    <a:pt x="130" y="1644"/>
                    <a:pt x="117" y="1638"/>
                    <a:pt x="117" y="1638"/>
                  </a:cubicBezTo>
                  <a:cubicBezTo>
                    <a:pt x="117" y="1638"/>
                    <a:pt x="117" y="1637"/>
                    <a:pt x="113" y="1631"/>
                  </a:cubicBezTo>
                  <a:cubicBezTo>
                    <a:pt x="110" y="1626"/>
                    <a:pt x="100" y="1616"/>
                    <a:pt x="100" y="1616"/>
                  </a:cubicBezTo>
                  <a:cubicBezTo>
                    <a:pt x="102" y="1584"/>
                    <a:pt x="102" y="1584"/>
                    <a:pt x="102" y="1584"/>
                  </a:cubicBezTo>
                  <a:cubicBezTo>
                    <a:pt x="132" y="1561"/>
                    <a:pt x="132" y="1561"/>
                    <a:pt x="132" y="1561"/>
                  </a:cubicBezTo>
                  <a:cubicBezTo>
                    <a:pt x="132" y="1561"/>
                    <a:pt x="140" y="1570"/>
                    <a:pt x="147" y="1588"/>
                  </a:cubicBezTo>
                  <a:cubicBezTo>
                    <a:pt x="154" y="1605"/>
                    <a:pt x="155" y="1617"/>
                    <a:pt x="170" y="1620"/>
                  </a:cubicBezTo>
                  <a:cubicBezTo>
                    <a:pt x="185" y="1623"/>
                    <a:pt x="190" y="1624"/>
                    <a:pt x="186" y="1603"/>
                  </a:cubicBezTo>
                  <a:cubicBezTo>
                    <a:pt x="183" y="1581"/>
                    <a:pt x="151" y="1521"/>
                    <a:pt x="147" y="1503"/>
                  </a:cubicBezTo>
                  <a:cubicBezTo>
                    <a:pt x="143" y="1485"/>
                    <a:pt x="126" y="1474"/>
                    <a:pt x="116" y="1454"/>
                  </a:cubicBezTo>
                  <a:cubicBezTo>
                    <a:pt x="105" y="1434"/>
                    <a:pt x="137" y="1266"/>
                    <a:pt x="137" y="1221"/>
                  </a:cubicBezTo>
                  <a:cubicBezTo>
                    <a:pt x="138" y="1175"/>
                    <a:pt x="130" y="1100"/>
                    <a:pt x="130" y="1081"/>
                  </a:cubicBezTo>
                  <a:cubicBezTo>
                    <a:pt x="129" y="1062"/>
                    <a:pt x="179" y="950"/>
                    <a:pt x="183" y="929"/>
                  </a:cubicBezTo>
                  <a:cubicBezTo>
                    <a:pt x="186" y="908"/>
                    <a:pt x="189" y="848"/>
                    <a:pt x="189" y="848"/>
                  </a:cubicBezTo>
                  <a:cubicBezTo>
                    <a:pt x="189" y="848"/>
                    <a:pt x="210" y="880"/>
                    <a:pt x="215" y="882"/>
                  </a:cubicBezTo>
                  <a:cubicBezTo>
                    <a:pt x="220" y="883"/>
                    <a:pt x="255" y="1000"/>
                    <a:pt x="260" y="1016"/>
                  </a:cubicBezTo>
                  <a:cubicBezTo>
                    <a:pt x="264" y="1032"/>
                    <a:pt x="266" y="1070"/>
                    <a:pt x="269" y="1096"/>
                  </a:cubicBezTo>
                  <a:cubicBezTo>
                    <a:pt x="273" y="1121"/>
                    <a:pt x="262" y="1149"/>
                    <a:pt x="257" y="1167"/>
                  </a:cubicBezTo>
                  <a:cubicBezTo>
                    <a:pt x="253" y="1186"/>
                    <a:pt x="250" y="1220"/>
                    <a:pt x="253" y="1234"/>
                  </a:cubicBezTo>
                  <a:cubicBezTo>
                    <a:pt x="255" y="1248"/>
                    <a:pt x="241" y="1261"/>
                    <a:pt x="239" y="1282"/>
                  </a:cubicBezTo>
                  <a:cubicBezTo>
                    <a:pt x="236" y="1303"/>
                    <a:pt x="229" y="1386"/>
                    <a:pt x="229" y="1402"/>
                  </a:cubicBezTo>
                  <a:cubicBezTo>
                    <a:pt x="229" y="1419"/>
                    <a:pt x="225" y="1435"/>
                    <a:pt x="219" y="1450"/>
                  </a:cubicBezTo>
                  <a:cubicBezTo>
                    <a:pt x="213" y="1464"/>
                    <a:pt x="217" y="1682"/>
                    <a:pt x="217" y="1724"/>
                  </a:cubicBezTo>
                  <a:cubicBezTo>
                    <a:pt x="217" y="1766"/>
                    <a:pt x="251" y="2053"/>
                    <a:pt x="257" y="2063"/>
                  </a:cubicBezTo>
                  <a:cubicBezTo>
                    <a:pt x="263" y="2074"/>
                    <a:pt x="260" y="2178"/>
                    <a:pt x="262" y="2206"/>
                  </a:cubicBezTo>
                  <a:cubicBezTo>
                    <a:pt x="265" y="2234"/>
                    <a:pt x="240" y="2333"/>
                    <a:pt x="252" y="2385"/>
                  </a:cubicBezTo>
                  <a:cubicBezTo>
                    <a:pt x="264" y="2438"/>
                    <a:pt x="304" y="2615"/>
                    <a:pt x="310" y="2651"/>
                  </a:cubicBezTo>
                  <a:cubicBezTo>
                    <a:pt x="316" y="2687"/>
                    <a:pt x="317" y="2743"/>
                    <a:pt x="317" y="2750"/>
                  </a:cubicBezTo>
                  <a:cubicBezTo>
                    <a:pt x="317" y="2756"/>
                    <a:pt x="317" y="2772"/>
                    <a:pt x="321" y="2785"/>
                  </a:cubicBezTo>
                  <a:cubicBezTo>
                    <a:pt x="325" y="2799"/>
                    <a:pt x="326" y="2789"/>
                    <a:pt x="321" y="2804"/>
                  </a:cubicBezTo>
                  <a:cubicBezTo>
                    <a:pt x="316" y="2819"/>
                    <a:pt x="316" y="2828"/>
                    <a:pt x="311" y="2840"/>
                  </a:cubicBezTo>
                  <a:cubicBezTo>
                    <a:pt x="305" y="2853"/>
                    <a:pt x="279" y="2896"/>
                    <a:pt x="279" y="2899"/>
                  </a:cubicBezTo>
                  <a:cubicBezTo>
                    <a:pt x="279" y="2902"/>
                    <a:pt x="272" y="2909"/>
                    <a:pt x="269" y="2917"/>
                  </a:cubicBezTo>
                  <a:cubicBezTo>
                    <a:pt x="267" y="2924"/>
                    <a:pt x="260" y="2951"/>
                    <a:pt x="265" y="2957"/>
                  </a:cubicBezTo>
                  <a:cubicBezTo>
                    <a:pt x="270" y="2964"/>
                    <a:pt x="276" y="2961"/>
                    <a:pt x="276" y="2961"/>
                  </a:cubicBezTo>
                  <a:cubicBezTo>
                    <a:pt x="276" y="2961"/>
                    <a:pt x="282" y="2974"/>
                    <a:pt x="286" y="2975"/>
                  </a:cubicBezTo>
                  <a:cubicBezTo>
                    <a:pt x="291" y="2977"/>
                    <a:pt x="296" y="2974"/>
                    <a:pt x="296" y="2974"/>
                  </a:cubicBezTo>
                  <a:cubicBezTo>
                    <a:pt x="296" y="2974"/>
                    <a:pt x="307" y="2991"/>
                    <a:pt x="311" y="2991"/>
                  </a:cubicBezTo>
                  <a:cubicBezTo>
                    <a:pt x="316" y="2991"/>
                    <a:pt x="322" y="2987"/>
                    <a:pt x="322" y="2987"/>
                  </a:cubicBezTo>
                  <a:cubicBezTo>
                    <a:pt x="322" y="2987"/>
                    <a:pt x="333" y="3002"/>
                    <a:pt x="348" y="2995"/>
                  </a:cubicBezTo>
                  <a:cubicBezTo>
                    <a:pt x="362" y="2988"/>
                    <a:pt x="355" y="2977"/>
                    <a:pt x="355" y="2977"/>
                  </a:cubicBezTo>
                  <a:cubicBezTo>
                    <a:pt x="357" y="2975"/>
                    <a:pt x="357" y="2975"/>
                    <a:pt x="357" y="2975"/>
                  </a:cubicBezTo>
                  <a:cubicBezTo>
                    <a:pt x="357" y="2975"/>
                    <a:pt x="358" y="2981"/>
                    <a:pt x="361" y="2988"/>
                  </a:cubicBezTo>
                  <a:cubicBezTo>
                    <a:pt x="364" y="2995"/>
                    <a:pt x="380" y="3007"/>
                    <a:pt x="396" y="2995"/>
                  </a:cubicBezTo>
                  <a:cubicBezTo>
                    <a:pt x="412" y="2983"/>
                    <a:pt x="411" y="2959"/>
                    <a:pt x="411" y="2959"/>
                  </a:cubicBezTo>
                  <a:cubicBezTo>
                    <a:pt x="411" y="2959"/>
                    <a:pt x="420" y="2952"/>
                    <a:pt x="422" y="2936"/>
                  </a:cubicBezTo>
                  <a:cubicBezTo>
                    <a:pt x="424" y="2920"/>
                    <a:pt x="416" y="2891"/>
                    <a:pt x="416" y="2877"/>
                  </a:cubicBezTo>
                  <a:cubicBezTo>
                    <a:pt x="416" y="2863"/>
                    <a:pt x="418" y="2801"/>
                    <a:pt x="425" y="2778"/>
                  </a:cubicBezTo>
                  <a:cubicBezTo>
                    <a:pt x="432" y="2754"/>
                    <a:pt x="428" y="2748"/>
                    <a:pt x="421" y="2721"/>
                  </a:cubicBezTo>
                  <a:cubicBezTo>
                    <a:pt x="415" y="2694"/>
                    <a:pt x="405" y="2630"/>
                    <a:pt x="408" y="2577"/>
                  </a:cubicBezTo>
                  <a:cubicBezTo>
                    <a:pt x="412" y="2524"/>
                    <a:pt x="432" y="2407"/>
                    <a:pt x="429" y="2355"/>
                  </a:cubicBezTo>
                  <a:cubicBezTo>
                    <a:pt x="427" y="2302"/>
                    <a:pt x="400" y="2224"/>
                    <a:pt x="400" y="2224"/>
                  </a:cubicBezTo>
                  <a:cubicBezTo>
                    <a:pt x="400" y="2224"/>
                    <a:pt x="427" y="2093"/>
                    <a:pt x="431" y="2067"/>
                  </a:cubicBezTo>
                  <a:cubicBezTo>
                    <a:pt x="435" y="2042"/>
                    <a:pt x="437" y="1949"/>
                    <a:pt x="437" y="1949"/>
                  </a:cubicBezTo>
                  <a:cubicBezTo>
                    <a:pt x="437" y="1949"/>
                    <a:pt x="454" y="1868"/>
                    <a:pt x="459" y="1836"/>
                  </a:cubicBezTo>
                  <a:cubicBezTo>
                    <a:pt x="464" y="1803"/>
                    <a:pt x="474" y="1672"/>
                    <a:pt x="474" y="1672"/>
                  </a:cubicBezTo>
                  <a:cubicBezTo>
                    <a:pt x="474" y="1672"/>
                    <a:pt x="475" y="1672"/>
                    <a:pt x="476" y="1672"/>
                  </a:cubicBezTo>
                  <a:cubicBezTo>
                    <a:pt x="478" y="1672"/>
                    <a:pt x="480" y="1672"/>
                    <a:pt x="483" y="1672"/>
                  </a:cubicBezTo>
                  <a:cubicBezTo>
                    <a:pt x="490" y="1672"/>
                    <a:pt x="503" y="1654"/>
                    <a:pt x="503" y="1654"/>
                  </a:cubicBezTo>
                  <a:cubicBezTo>
                    <a:pt x="503" y="1654"/>
                    <a:pt x="514" y="1808"/>
                    <a:pt x="524" y="1838"/>
                  </a:cubicBezTo>
                  <a:cubicBezTo>
                    <a:pt x="533" y="1867"/>
                    <a:pt x="544" y="1926"/>
                    <a:pt x="544" y="1926"/>
                  </a:cubicBezTo>
                  <a:cubicBezTo>
                    <a:pt x="544" y="1926"/>
                    <a:pt x="549" y="1994"/>
                    <a:pt x="551" y="2026"/>
                  </a:cubicBezTo>
                  <a:cubicBezTo>
                    <a:pt x="553" y="2059"/>
                    <a:pt x="567" y="2102"/>
                    <a:pt x="567" y="2102"/>
                  </a:cubicBezTo>
                  <a:cubicBezTo>
                    <a:pt x="567" y="2102"/>
                    <a:pt x="583" y="2200"/>
                    <a:pt x="585" y="2219"/>
                  </a:cubicBezTo>
                  <a:cubicBezTo>
                    <a:pt x="587" y="2237"/>
                    <a:pt x="558" y="2302"/>
                    <a:pt x="568" y="2357"/>
                  </a:cubicBezTo>
                  <a:cubicBezTo>
                    <a:pt x="579" y="2412"/>
                    <a:pt x="582" y="2482"/>
                    <a:pt x="589" y="2499"/>
                  </a:cubicBezTo>
                  <a:cubicBezTo>
                    <a:pt x="596" y="2516"/>
                    <a:pt x="587" y="2686"/>
                    <a:pt x="584" y="2701"/>
                  </a:cubicBezTo>
                  <a:cubicBezTo>
                    <a:pt x="581" y="2716"/>
                    <a:pt x="574" y="2731"/>
                    <a:pt x="575" y="2747"/>
                  </a:cubicBezTo>
                  <a:cubicBezTo>
                    <a:pt x="576" y="2763"/>
                    <a:pt x="582" y="2770"/>
                    <a:pt x="582" y="2780"/>
                  </a:cubicBezTo>
                  <a:cubicBezTo>
                    <a:pt x="582" y="2789"/>
                    <a:pt x="585" y="2827"/>
                    <a:pt x="586" y="2842"/>
                  </a:cubicBezTo>
                  <a:cubicBezTo>
                    <a:pt x="587" y="2856"/>
                    <a:pt x="586" y="2862"/>
                    <a:pt x="586" y="2876"/>
                  </a:cubicBezTo>
                  <a:cubicBezTo>
                    <a:pt x="586" y="2891"/>
                    <a:pt x="588" y="2913"/>
                    <a:pt x="591" y="2921"/>
                  </a:cubicBezTo>
                  <a:cubicBezTo>
                    <a:pt x="593" y="2929"/>
                    <a:pt x="590" y="2936"/>
                    <a:pt x="592" y="2943"/>
                  </a:cubicBezTo>
                  <a:cubicBezTo>
                    <a:pt x="595" y="2950"/>
                    <a:pt x="606" y="2960"/>
                    <a:pt x="617" y="2961"/>
                  </a:cubicBezTo>
                  <a:cubicBezTo>
                    <a:pt x="628" y="2962"/>
                    <a:pt x="646" y="2951"/>
                    <a:pt x="646" y="2951"/>
                  </a:cubicBezTo>
                  <a:cubicBezTo>
                    <a:pt x="646" y="2951"/>
                    <a:pt x="650" y="2965"/>
                    <a:pt x="663" y="2966"/>
                  </a:cubicBezTo>
                  <a:cubicBezTo>
                    <a:pt x="676" y="2967"/>
                    <a:pt x="678" y="2957"/>
                    <a:pt x="678" y="2957"/>
                  </a:cubicBezTo>
                  <a:cubicBezTo>
                    <a:pt x="678" y="2957"/>
                    <a:pt x="686" y="2965"/>
                    <a:pt x="695" y="2960"/>
                  </a:cubicBezTo>
                  <a:cubicBezTo>
                    <a:pt x="704" y="2956"/>
                    <a:pt x="705" y="2948"/>
                    <a:pt x="705" y="2948"/>
                  </a:cubicBezTo>
                  <a:cubicBezTo>
                    <a:pt x="705" y="2948"/>
                    <a:pt x="712" y="2949"/>
                    <a:pt x="718" y="2945"/>
                  </a:cubicBezTo>
                  <a:cubicBezTo>
                    <a:pt x="724" y="2941"/>
                    <a:pt x="723" y="2938"/>
                    <a:pt x="723" y="2938"/>
                  </a:cubicBezTo>
                  <a:cubicBezTo>
                    <a:pt x="723" y="2938"/>
                    <a:pt x="727" y="2939"/>
                    <a:pt x="732" y="2936"/>
                  </a:cubicBezTo>
                  <a:cubicBezTo>
                    <a:pt x="737" y="2934"/>
                    <a:pt x="741" y="2927"/>
                    <a:pt x="739" y="2913"/>
                  </a:cubicBezTo>
                  <a:cubicBezTo>
                    <a:pt x="737" y="2899"/>
                    <a:pt x="709" y="2852"/>
                    <a:pt x="702" y="2844"/>
                  </a:cubicBezTo>
                  <a:cubicBezTo>
                    <a:pt x="695" y="2835"/>
                    <a:pt x="688" y="2819"/>
                    <a:pt x="681" y="2801"/>
                  </a:cubicBezTo>
                  <a:cubicBezTo>
                    <a:pt x="675" y="2782"/>
                    <a:pt x="681" y="2742"/>
                    <a:pt x="679" y="2721"/>
                  </a:cubicBezTo>
                  <a:cubicBezTo>
                    <a:pt x="679" y="2721"/>
                    <a:pt x="682" y="2695"/>
                    <a:pt x="684" y="2665"/>
                  </a:cubicBezTo>
                  <a:cubicBezTo>
                    <a:pt x="686" y="2635"/>
                    <a:pt x="740" y="2408"/>
                    <a:pt x="738" y="2326"/>
                  </a:cubicBezTo>
                  <a:cubicBezTo>
                    <a:pt x="736" y="2243"/>
                    <a:pt x="720" y="2145"/>
                    <a:pt x="720" y="2121"/>
                  </a:cubicBezTo>
                  <a:cubicBezTo>
                    <a:pt x="720" y="2097"/>
                    <a:pt x="768" y="1859"/>
                    <a:pt x="766" y="1787"/>
                  </a:cubicBezTo>
                  <a:cubicBezTo>
                    <a:pt x="764" y="1715"/>
                    <a:pt x="761" y="1460"/>
                    <a:pt x="748" y="1444"/>
                  </a:cubicBezTo>
                  <a:cubicBezTo>
                    <a:pt x="736" y="1429"/>
                    <a:pt x="747" y="1381"/>
                    <a:pt x="747" y="1381"/>
                  </a:cubicBezTo>
                  <a:cubicBezTo>
                    <a:pt x="747" y="1381"/>
                    <a:pt x="726" y="1242"/>
                    <a:pt x="724" y="1233"/>
                  </a:cubicBezTo>
                  <a:cubicBezTo>
                    <a:pt x="722" y="1223"/>
                    <a:pt x="724" y="1152"/>
                    <a:pt x="704" y="1117"/>
                  </a:cubicBezTo>
                  <a:cubicBezTo>
                    <a:pt x="684" y="1082"/>
                    <a:pt x="711" y="1015"/>
                    <a:pt x="714" y="990"/>
                  </a:cubicBezTo>
                  <a:cubicBezTo>
                    <a:pt x="718" y="965"/>
                    <a:pt x="743" y="885"/>
                    <a:pt x="743" y="885"/>
                  </a:cubicBezTo>
                  <a:cubicBezTo>
                    <a:pt x="743" y="885"/>
                    <a:pt x="748" y="925"/>
                    <a:pt x="756" y="954"/>
                  </a:cubicBezTo>
                  <a:cubicBezTo>
                    <a:pt x="764" y="983"/>
                    <a:pt x="808" y="1086"/>
                    <a:pt x="808" y="1086"/>
                  </a:cubicBezTo>
                  <a:cubicBezTo>
                    <a:pt x="808" y="1086"/>
                    <a:pt x="802" y="1178"/>
                    <a:pt x="807" y="1201"/>
                  </a:cubicBezTo>
                  <a:cubicBezTo>
                    <a:pt x="812" y="1225"/>
                    <a:pt x="866" y="1472"/>
                    <a:pt x="866" y="1472"/>
                  </a:cubicBezTo>
                  <a:cubicBezTo>
                    <a:pt x="866" y="1472"/>
                    <a:pt x="858" y="1489"/>
                    <a:pt x="854" y="1502"/>
                  </a:cubicBezTo>
                  <a:cubicBezTo>
                    <a:pt x="849" y="1516"/>
                    <a:pt x="846" y="1555"/>
                    <a:pt x="842" y="1571"/>
                  </a:cubicBezTo>
                  <a:cubicBezTo>
                    <a:pt x="838" y="1586"/>
                    <a:pt x="829" y="1603"/>
                    <a:pt x="827" y="1611"/>
                  </a:cubicBezTo>
                  <a:cubicBezTo>
                    <a:pt x="825" y="1619"/>
                    <a:pt x="823" y="1638"/>
                    <a:pt x="837" y="1640"/>
                  </a:cubicBezTo>
                  <a:cubicBezTo>
                    <a:pt x="852" y="1641"/>
                    <a:pt x="847" y="1636"/>
                    <a:pt x="854" y="1626"/>
                  </a:cubicBezTo>
                  <a:cubicBezTo>
                    <a:pt x="862" y="1616"/>
                    <a:pt x="874" y="1590"/>
                    <a:pt x="874" y="1590"/>
                  </a:cubicBezTo>
                  <a:cubicBezTo>
                    <a:pt x="878" y="1605"/>
                    <a:pt x="878" y="1605"/>
                    <a:pt x="878" y="1605"/>
                  </a:cubicBezTo>
                  <a:cubicBezTo>
                    <a:pt x="873" y="1630"/>
                    <a:pt x="873" y="1630"/>
                    <a:pt x="873" y="1630"/>
                  </a:cubicBezTo>
                  <a:cubicBezTo>
                    <a:pt x="873" y="1630"/>
                    <a:pt x="863" y="1637"/>
                    <a:pt x="860" y="1641"/>
                  </a:cubicBezTo>
                  <a:cubicBezTo>
                    <a:pt x="856" y="1644"/>
                    <a:pt x="843" y="1657"/>
                    <a:pt x="840" y="1664"/>
                  </a:cubicBezTo>
                  <a:cubicBezTo>
                    <a:pt x="832" y="1684"/>
                    <a:pt x="850" y="1676"/>
                    <a:pt x="856" y="1672"/>
                  </a:cubicBezTo>
                  <a:cubicBezTo>
                    <a:pt x="857" y="1671"/>
                    <a:pt x="859" y="1670"/>
                    <a:pt x="860" y="1669"/>
                  </a:cubicBezTo>
                  <a:cubicBezTo>
                    <a:pt x="864" y="1666"/>
                    <a:pt x="892" y="1649"/>
                    <a:pt x="892" y="1649"/>
                  </a:cubicBezTo>
                  <a:cubicBezTo>
                    <a:pt x="892" y="1649"/>
                    <a:pt x="894" y="1653"/>
                    <a:pt x="889" y="1657"/>
                  </a:cubicBezTo>
                  <a:cubicBezTo>
                    <a:pt x="883" y="1661"/>
                    <a:pt x="885" y="1660"/>
                    <a:pt x="876" y="1665"/>
                  </a:cubicBezTo>
                  <a:cubicBezTo>
                    <a:pt x="868" y="1671"/>
                    <a:pt x="865" y="1676"/>
                    <a:pt x="865" y="1676"/>
                  </a:cubicBezTo>
                  <a:cubicBezTo>
                    <a:pt x="865" y="1676"/>
                    <a:pt x="853" y="1678"/>
                    <a:pt x="848" y="1685"/>
                  </a:cubicBezTo>
                  <a:cubicBezTo>
                    <a:pt x="832" y="1708"/>
                    <a:pt x="857" y="1700"/>
                    <a:pt x="864" y="1699"/>
                  </a:cubicBezTo>
                  <a:cubicBezTo>
                    <a:pt x="868" y="1699"/>
                    <a:pt x="886" y="1689"/>
                    <a:pt x="886" y="1689"/>
                  </a:cubicBezTo>
                  <a:cubicBezTo>
                    <a:pt x="882" y="1699"/>
                    <a:pt x="882" y="1699"/>
                    <a:pt x="882" y="1699"/>
                  </a:cubicBezTo>
                  <a:cubicBezTo>
                    <a:pt x="882" y="1699"/>
                    <a:pt x="863" y="1703"/>
                    <a:pt x="859" y="1710"/>
                  </a:cubicBezTo>
                  <a:cubicBezTo>
                    <a:pt x="855" y="1717"/>
                    <a:pt x="858" y="1721"/>
                    <a:pt x="859" y="1724"/>
                  </a:cubicBezTo>
                  <a:cubicBezTo>
                    <a:pt x="861" y="1728"/>
                    <a:pt x="892" y="1716"/>
                    <a:pt x="892" y="1716"/>
                  </a:cubicBezTo>
                  <a:cubicBezTo>
                    <a:pt x="892" y="1716"/>
                    <a:pt x="892" y="1733"/>
                    <a:pt x="901" y="1734"/>
                  </a:cubicBezTo>
                  <a:cubicBezTo>
                    <a:pt x="910" y="1736"/>
                    <a:pt x="925" y="1710"/>
                    <a:pt x="927" y="1710"/>
                  </a:cubicBezTo>
                  <a:cubicBezTo>
                    <a:pt x="930" y="1711"/>
                    <a:pt x="943" y="1674"/>
                    <a:pt x="947" y="1667"/>
                  </a:cubicBezTo>
                  <a:cubicBezTo>
                    <a:pt x="950" y="1660"/>
                    <a:pt x="948" y="1616"/>
                    <a:pt x="952" y="1605"/>
                  </a:cubicBezTo>
                  <a:cubicBezTo>
                    <a:pt x="955" y="1594"/>
                    <a:pt x="943" y="1516"/>
                    <a:pt x="936" y="1491"/>
                  </a:cubicBezTo>
                  <a:close/>
                </a:path>
              </a:pathLst>
            </a:custGeom>
            <a:solidFill>
              <a:srgbClr val="CCE6EB"/>
            </a:solidFill>
            <a:ln>
              <a:noFill/>
            </a:ln>
            <a:effectLst>
              <a:innerShdw blurRad="76200" dist="19050" dir="13800000">
                <a:prstClr val="black">
                  <a:alpha val="16000"/>
                </a:prstClr>
              </a:inn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457106"/>
              <a:endParaRPr lang="en-GB" dirty="0">
                <a:solidFill>
                  <a:srgbClr val="001965"/>
                </a:solidFill>
              </a:endParaRP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1194846" y="1298994"/>
              <a:ext cx="3260862" cy="499512"/>
              <a:chOff x="1194846" y="1298994"/>
              <a:chExt cx="3260862" cy="499512"/>
            </a:xfrm>
          </p:grpSpPr>
          <p:grpSp>
            <p:nvGrpSpPr>
              <p:cNvPr id="182" name="Group 181"/>
              <p:cNvGrpSpPr/>
              <p:nvPr/>
            </p:nvGrpSpPr>
            <p:grpSpPr>
              <a:xfrm flipH="1">
                <a:off x="1259203" y="1473575"/>
                <a:ext cx="3196505" cy="118076"/>
                <a:chOff x="5999594" y="1788921"/>
                <a:chExt cx="4262006" cy="157435"/>
              </a:xfrm>
            </p:grpSpPr>
            <p:sp>
              <p:nvSpPr>
                <p:cNvPr id="159" name="Oval 158"/>
                <p:cNvSpPr>
                  <a:spLocks noChangeArrowheads="1"/>
                </p:cNvSpPr>
                <p:nvPr/>
              </p:nvSpPr>
              <p:spPr bwMode="auto">
                <a:xfrm>
                  <a:off x="5999594" y="1788921"/>
                  <a:ext cx="157435" cy="157435"/>
                </a:xfrm>
                <a:prstGeom prst="ellipse">
                  <a:avLst/>
                </a:prstGeom>
                <a:solidFill>
                  <a:srgbClr val="6675A3">
                    <a:alpha val="35000"/>
                  </a:srgbClr>
                </a:solidFill>
                <a:ln>
                  <a:noFill/>
                </a:ln>
                <a:extLst/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350">
                    <a:solidFill>
                      <a:srgbClr val="001965"/>
                    </a:solidFill>
                  </a:endParaRPr>
                </a:p>
              </p:txBody>
            </p:sp>
            <p:sp>
              <p:nvSpPr>
                <p:cNvPr id="126" name="Freeform 125"/>
                <p:cNvSpPr/>
                <p:nvPr/>
              </p:nvSpPr>
              <p:spPr>
                <a:xfrm>
                  <a:off x="6081486" y="1871271"/>
                  <a:ext cx="4180114" cy="0"/>
                </a:xfrm>
                <a:custGeom>
                  <a:avLst/>
                  <a:gdLst>
                    <a:gd name="connsiteX0" fmla="*/ 4180114 w 4180114"/>
                    <a:gd name="connsiteY0" fmla="*/ 0 h 130629"/>
                    <a:gd name="connsiteX1" fmla="*/ 1574800 w 4180114"/>
                    <a:gd name="connsiteY1" fmla="*/ 0 h 130629"/>
                    <a:gd name="connsiteX2" fmla="*/ 0 w 4180114"/>
                    <a:gd name="connsiteY2" fmla="*/ 130629 h 1306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180114" h="130629">
                      <a:moveTo>
                        <a:pt x="4180114" y="0"/>
                      </a:moveTo>
                      <a:lnTo>
                        <a:pt x="1574800" y="0"/>
                      </a:lnTo>
                      <a:lnTo>
                        <a:pt x="0" y="130629"/>
                      </a:lnTo>
                    </a:path>
                  </a:pathLst>
                </a:custGeom>
                <a:noFill/>
                <a:ln w="19050" cap="flat">
                  <a:solidFill>
                    <a:srgbClr val="6675A3"/>
                  </a:solidFill>
                  <a:prstDash val="solid"/>
                  <a:round/>
                  <a:headEnd type="none"/>
                  <a:tailEnd type="oval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106"/>
                  <a:endParaRPr lang="en-GB">
                    <a:solidFill>
                      <a:srgbClr val="001965"/>
                    </a:solidFill>
                  </a:endParaRPr>
                </a:p>
              </p:txBody>
            </p:sp>
          </p:grpSp>
          <p:sp>
            <p:nvSpPr>
              <p:cNvPr id="17" name="TextBox 16"/>
              <p:cNvSpPr txBox="1"/>
              <p:nvPr/>
            </p:nvSpPr>
            <p:spPr>
              <a:xfrm>
                <a:off x="1194846" y="1298994"/>
                <a:ext cx="908262" cy="253916"/>
              </a:xfrm>
              <a:prstGeom prst="rect">
                <a:avLst/>
              </a:prstGeom>
              <a:noFill/>
            </p:spPr>
            <p:txBody>
              <a:bodyPr wrap="none" rIns="0" rtlCol="0">
                <a:spAutoFit/>
              </a:bodyPr>
              <a:lstStyle/>
              <a:p>
                <a:pPr algn="r" defTabSz="457106"/>
                <a:r>
                  <a:rPr lang="nl-NL" sz="1050" b="1" dirty="0" smtClean="0">
                    <a:solidFill>
                      <a:srgbClr val="72B5CC"/>
                    </a:solidFill>
                  </a:rPr>
                  <a:t>HERSENEN</a:t>
                </a:r>
                <a:endParaRPr lang="en-GB" sz="1050" b="1" dirty="0">
                  <a:solidFill>
                    <a:srgbClr val="72B5CC"/>
                  </a:solidFill>
                </a:endParaRPr>
              </a:p>
            </p:txBody>
          </p:sp>
          <p:grpSp>
            <p:nvGrpSpPr>
              <p:cNvPr id="96" name="Group 95"/>
              <p:cNvGrpSpPr/>
              <p:nvPr/>
            </p:nvGrpSpPr>
            <p:grpSpPr>
              <a:xfrm>
                <a:off x="3416190" y="1336544"/>
                <a:ext cx="368589" cy="361691"/>
                <a:chOff x="6521392" y="1619129"/>
                <a:chExt cx="719535" cy="706068"/>
              </a:xfrm>
            </p:grpSpPr>
            <p:sp>
              <p:nvSpPr>
                <p:cNvPr id="91" name="Freeform 90"/>
                <p:cNvSpPr>
                  <a:spLocks/>
                </p:cNvSpPr>
                <p:nvPr/>
              </p:nvSpPr>
              <p:spPr bwMode="auto">
                <a:xfrm>
                  <a:off x="6521392" y="1619129"/>
                  <a:ext cx="719535" cy="706068"/>
                </a:xfrm>
                <a:custGeom>
                  <a:avLst/>
                  <a:gdLst>
                    <a:gd name="T0" fmla="*/ 414 w 454"/>
                    <a:gd name="T1" fmla="*/ 445 h 445"/>
                    <a:gd name="T2" fmla="*/ 40 w 454"/>
                    <a:gd name="T3" fmla="*/ 445 h 445"/>
                    <a:gd name="T4" fmla="*/ 0 w 454"/>
                    <a:gd name="T5" fmla="*/ 405 h 445"/>
                    <a:gd name="T6" fmla="*/ 0 w 454"/>
                    <a:gd name="T7" fmla="*/ 40 h 445"/>
                    <a:gd name="T8" fmla="*/ 40 w 454"/>
                    <a:gd name="T9" fmla="*/ 0 h 445"/>
                    <a:gd name="T10" fmla="*/ 414 w 454"/>
                    <a:gd name="T11" fmla="*/ 0 h 445"/>
                    <a:gd name="T12" fmla="*/ 454 w 454"/>
                    <a:gd name="T13" fmla="*/ 40 h 445"/>
                    <a:gd name="T14" fmla="*/ 454 w 454"/>
                    <a:gd name="T15" fmla="*/ 405 h 445"/>
                    <a:gd name="T16" fmla="*/ 414 w 454"/>
                    <a:gd name="T17" fmla="*/ 445 h 4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54" h="445">
                      <a:moveTo>
                        <a:pt x="414" y="445"/>
                      </a:moveTo>
                      <a:cubicBezTo>
                        <a:pt x="40" y="445"/>
                        <a:pt x="40" y="445"/>
                        <a:pt x="40" y="445"/>
                      </a:cubicBezTo>
                      <a:cubicBezTo>
                        <a:pt x="18" y="445"/>
                        <a:pt x="0" y="427"/>
                        <a:pt x="0" y="405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18"/>
                        <a:pt x="18" y="0"/>
                        <a:pt x="40" y="0"/>
                      </a:cubicBezTo>
                      <a:cubicBezTo>
                        <a:pt x="414" y="0"/>
                        <a:pt x="414" y="0"/>
                        <a:pt x="414" y="0"/>
                      </a:cubicBezTo>
                      <a:cubicBezTo>
                        <a:pt x="436" y="0"/>
                        <a:pt x="454" y="18"/>
                        <a:pt x="454" y="40"/>
                      </a:cubicBezTo>
                      <a:cubicBezTo>
                        <a:pt x="454" y="405"/>
                        <a:pt x="454" y="405"/>
                        <a:pt x="454" y="405"/>
                      </a:cubicBezTo>
                      <a:cubicBezTo>
                        <a:pt x="454" y="427"/>
                        <a:pt x="436" y="445"/>
                        <a:pt x="414" y="445"/>
                      </a:cubicBezTo>
                      <a:close/>
                    </a:path>
                  </a:pathLst>
                </a:custGeom>
                <a:solidFill>
                  <a:srgbClr val="72B5CC"/>
                </a:solidFill>
                <a:ln>
                  <a:noFill/>
                </a:ln>
                <a:effectLst>
                  <a:innerShdw blurRad="76200" dist="19050" dir="13800000">
                    <a:prstClr val="black">
                      <a:alpha val="16000"/>
                    </a:prstClr>
                  </a:innerShdw>
                </a:effectLst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106"/>
                  <a:endParaRPr lang="en-GB">
                    <a:solidFill>
                      <a:srgbClr val="001965"/>
                    </a:solidFill>
                  </a:endParaRPr>
                </a:p>
              </p:txBody>
            </p:sp>
            <p:sp>
              <p:nvSpPr>
                <p:cNvPr id="21" name="Freeform 5"/>
                <p:cNvSpPr>
                  <a:spLocks/>
                </p:cNvSpPr>
                <p:nvPr/>
              </p:nvSpPr>
              <p:spPr bwMode="auto">
                <a:xfrm>
                  <a:off x="6640147" y="1710695"/>
                  <a:ext cx="482024" cy="522937"/>
                </a:xfrm>
                <a:custGeom>
                  <a:avLst/>
                  <a:gdLst>
                    <a:gd name="T0" fmla="*/ 214 w 271"/>
                    <a:gd name="T1" fmla="*/ 208 h 295"/>
                    <a:gd name="T2" fmla="*/ 255 w 271"/>
                    <a:gd name="T3" fmla="*/ 242 h 295"/>
                    <a:gd name="T4" fmla="*/ 179 w 271"/>
                    <a:gd name="T5" fmla="*/ 275 h 295"/>
                    <a:gd name="T6" fmla="*/ 189 w 271"/>
                    <a:gd name="T7" fmla="*/ 264 h 295"/>
                    <a:gd name="T8" fmla="*/ 205 w 271"/>
                    <a:gd name="T9" fmla="*/ 284 h 295"/>
                    <a:gd name="T10" fmla="*/ 203 w 271"/>
                    <a:gd name="T11" fmla="*/ 224 h 295"/>
                    <a:gd name="T12" fmla="*/ 160 w 271"/>
                    <a:gd name="T13" fmla="*/ 222 h 295"/>
                    <a:gd name="T14" fmla="*/ 171 w 271"/>
                    <a:gd name="T15" fmla="*/ 173 h 295"/>
                    <a:gd name="T16" fmla="*/ 181 w 271"/>
                    <a:gd name="T17" fmla="*/ 116 h 295"/>
                    <a:gd name="T18" fmla="*/ 238 w 271"/>
                    <a:gd name="T19" fmla="*/ 99 h 295"/>
                    <a:gd name="T20" fmla="*/ 167 w 271"/>
                    <a:gd name="T21" fmla="*/ 97 h 295"/>
                    <a:gd name="T22" fmla="*/ 170 w 271"/>
                    <a:gd name="T23" fmla="*/ 41 h 295"/>
                    <a:gd name="T24" fmla="*/ 163 w 271"/>
                    <a:gd name="T25" fmla="*/ 109 h 295"/>
                    <a:gd name="T26" fmla="*/ 140 w 271"/>
                    <a:gd name="T27" fmla="*/ 210 h 295"/>
                    <a:gd name="T28" fmla="*/ 135 w 271"/>
                    <a:gd name="T29" fmla="*/ 286 h 295"/>
                    <a:gd name="T30" fmla="*/ 120 w 271"/>
                    <a:gd name="T31" fmla="*/ 232 h 295"/>
                    <a:gd name="T32" fmla="*/ 131 w 271"/>
                    <a:gd name="T33" fmla="*/ 133 h 295"/>
                    <a:gd name="T34" fmla="*/ 123 w 271"/>
                    <a:gd name="T35" fmla="*/ 52 h 295"/>
                    <a:gd name="T36" fmla="*/ 115 w 271"/>
                    <a:gd name="T37" fmla="*/ 64 h 295"/>
                    <a:gd name="T38" fmla="*/ 39 w 271"/>
                    <a:gd name="T39" fmla="*/ 100 h 295"/>
                    <a:gd name="T40" fmla="*/ 81 w 271"/>
                    <a:gd name="T41" fmla="*/ 115 h 295"/>
                    <a:gd name="T42" fmla="*/ 110 w 271"/>
                    <a:gd name="T43" fmla="*/ 167 h 295"/>
                    <a:gd name="T44" fmla="*/ 120 w 271"/>
                    <a:gd name="T45" fmla="*/ 216 h 295"/>
                    <a:gd name="T46" fmla="*/ 69 w 271"/>
                    <a:gd name="T47" fmla="*/ 223 h 295"/>
                    <a:gd name="T48" fmla="*/ 40 w 271"/>
                    <a:gd name="T49" fmla="*/ 259 h 295"/>
                    <a:gd name="T50" fmla="*/ 83 w 271"/>
                    <a:gd name="T51" fmla="*/ 270 h 295"/>
                    <a:gd name="T52" fmla="*/ 98 w 271"/>
                    <a:gd name="T53" fmla="*/ 263 h 295"/>
                    <a:gd name="T54" fmla="*/ 11 w 271"/>
                    <a:gd name="T55" fmla="*/ 225 h 295"/>
                    <a:gd name="T56" fmla="*/ 48 w 271"/>
                    <a:gd name="T57" fmla="*/ 211 h 295"/>
                    <a:gd name="T58" fmla="*/ 19 w 271"/>
                    <a:gd name="T59" fmla="*/ 170 h 295"/>
                    <a:gd name="T60" fmla="*/ 28 w 271"/>
                    <a:gd name="T61" fmla="*/ 144 h 295"/>
                    <a:gd name="T62" fmla="*/ 63 w 271"/>
                    <a:gd name="T63" fmla="*/ 175 h 295"/>
                    <a:gd name="T64" fmla="*/ 91 w 271"/>
                    <a:gd name="T65" fmla="*/ 148 h 295"/>
                    <a:gd name="T66" fmla="*/ 6 w 271"/>
                    <a:gd name="T67" fmla="*/ 101 h 295"/>
                    <a:gd name="T68" fmla="*/ 97 w 271"/>
                    <a:gd name="T69" fmla="*/ 49 h 295"/>
                    <a:gd name="T70" fmla="*/ 46 w 271"/>
                    <a:gd name="T71" fmla="*/ 52 h 295"/>
                    <a:gd name="T72" fmla="*/ 72 w 271"/>
                    <a:gd name="T73" fmla="*/ 80 h 295"/>
                    <a:gd name="T74" fmla="*/ 64 w 271"/>
                    <a:gd name="T75" fmla="*/ 27 h 295"/>
                    <a:gd name="T76" fmla="*/ 86 w 271"/>
                    <a:gd name="T77" fmla="*/ 20 h 295"/>
                    <a:gd name="T78" fmla="*/ 110 w 271"/>
                    <a:gd name="T79" fmla="*/ 29 h 295"/>
                    <a:gd name="T80" fmla="*/ 121 w 271"/>
                    <a:gd name="T81" fmla="*/ 7 h 295"/>
                    <a:gd name="T82" fmla="*/ 160 w 271"/>
                    <a:gd name="T83" fmla="*/ 35 h 295"/>
                    <a:gd name="T84" fmla="*/ 194 w 271"/>
                    <a:gd name="T85" fmla="*/ 2 h 295"/>
                    <a:gd name="T86" fmla="*/ 176 w 271"/>
                    <a:gd name="T87" fmla="*/ 33 h 295"/>
                    <a:gd name="T88" fmla="*/ 248 w 271"/>
                    <a:gd name="T89" fmla="*/ 66 h 295"/>
                    <a:gd name="T90" fmla="*/ 182 w 271"/>
                    <a:gd name="T91" fmla="*/ 77 h 295"/>
                    <a:gd name="T92" fmla="*/ 232 w 271"/>
                    <a:gd name="T93" fmla="*/ 49 h 295"/>
                    <a:gd name="T94" fmla="*/ 169 w 271"/>
                    <a:gd name="T95" fmla="*/ 79 h 295"/>
                    <a:gd name="T96" fmla="*/ 267 w 271"/>
                    <a:gd name="T97" fmla="*/ 111 h 295"/>
                    <a:gd name="T98" fmla="*/ 183 w 271"/>
                    <a:gd name="T99" fmla="*/ 172 h 295"/>
                    <a:gd name="T100" fmla="*/ 205 w 271"/>
                    <a:gd name="T101" fmla="*/ 174 h 295"/>
                    <a:gd name="T102" fmla="*/ 248 w 271"/>
                    <a:gd name="T103" fmla="*/ 148 h 295"/>
                    <a:gd name="T104" fmla="*/ 255 w 271"/>
                    <a:gd name="T105" fmla="*/ 169 h 2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71" h="295">
                      <a:moveTo>
                        <a:pt x="265" y="208"/>
                      </a:moveTo>
                      <a:cubicBezTo>
                        <a:pt x="257" y="215"/>
                        <a:pt x="248" y="219"/>
                        <a:pt x="237" y="218"/>
                      </a:cubicBezTo>
                      <a:cubicBezTo>
                        <a:pt x="233" y="217"/>
                        <a:pt x="229" y="215"/>
                        <a:pt x="226" y="212"/>
                      </a:cubicBezTo>
                      <a:cubicBezTo>
                        <a:pt x="224" y="210"/>
                        <a:pt x="221" y="208"/>
                        <a:pt x="219" y="206"/>
                      </a:cubicBezTo>
                      <a:cubicBezTo>
                        <a:pt x="216" y="204"/>
                        <a:pt x="214" y="205"/>
                        <a:pt x="214" y="208"/>
                      </a:cubicBezTo>
                      <a:cubicBezTo>
                        <a:pt x="213" y="213"/>
                        <a:pt x="214" y="217"/>
                        <a:pt x="218" y="220"/>
                      </a:cubicBezTo>
                      <a:cubicBezTo>
                        <a:pt x="225" y="228"/>
                        <a:pt x="234" y="230"/>
                        <a:pt x="244" y="230"/>
                      </a:cubicBezTo>
                      <a:cubicBezTo>
                        <a:pt x="250" y="229"/>
                        <a:pt x="255" y="228"/>
                        <a:pt x="260" y="225"/>
                      </a:cubicBezTo>
                      <a:cubicBezTo>
                        <a:pt x="261" y="225"/>
                        <a:pt x="261" y="225"/>
                        <a:pt x="262" y="225"/>
                      </a:cubicBezTo>
                      <a:cubicBezTo>
                        <a:pt x="265" y="232"/>
                        <a:pt x="262" y="239"/>
                        <a:pt x="255" y="242"/>
                      </a:cubicBezTo>
                      <a:cubicBezTo>
                        <a:pt x="250" y="245"/>
                        <a:pt x="244" y="246"/>
                        <a:pt x="239" y="246"/>
                      </a:cubicBezTo>
                      <a:cubicBezTo>
                        <a:pt x="227" y="247"/>
                        <a:pt x="215" y="248"/>
                        <a:pt x="203" y="249"/>
                      </a:cubicBezTo>
                      <a:cubicBezTo>
                        <a:pt x="197" y="249"/>
                        <a:pt x="191" y="250"/>
                        <a:pt x="185" y="253"/>
                      </a:cubicBezTo>
                      <a:cubicBezTo>
                        <a:pt x="180" y="255"/>
                        <a:pt x="177" y="259"/>
                        <a:pt x="174" y="264"/>
                      </a:cubicBezTo>
                      <a:cubicBezTo>
                        <a:pt x="172" y="269"/>
                        <a:pt x="174" y="273"/>
                        <a:pt x="179" y="275"/>
                      </a:cubicBezTo>
                      <a:cubicBezTo>
                        <a:pt x="182" y="277"/>
                        <a:pt x="186" y="277"/>
                        <a:pt x="190" y="276"/>
                      </a:cubicBezTo>
                      <a:cubicBezTo>
                        <a:pt x="191" y="276"/>
                        <a:pt x="192" y="275"/>
                        <a:pt x="192" y="274"/>
                      </a:cubicBezTo>
                      <a:cubicBezTo>
                        <a:pt x="192" y="273"/>
                        <a:pt x="191" y="272"/>
                        <a:pt x="191" y="271"/>
                      </a:cubicBezTo>
                      <a:cubicBezTo>
                        <a:pt x="190" y="271"/>
                        <a:pt x="189" y="270"/>
                        <a:pt x="189" y="270"/>
                      </a:cubicBezTo>
                      <a:cubicBezTo>
                        <a:pt x="186" y="268"/>
                        <a:pt x="186" y="266"/>
                        <a:pt x="189" y="264"/>
                      </a:cubicBezTo>
                      <a:cubicBezTo>
                        <a:pt x="191" y="263"/>
                        <a:pt x="193" y="262"/>
                        <a:pt x="195" y="262"/>
                      </a:cubicBezTo>
                      <a:cubicBezTo>
                        <a:pt x="204" y="259"/>
                        <a:pt x="213" y="259"/>
                        <a:pt x="223" y="258"/>
                      </a:cubicBezTo>
                      <a:cubicBezTo>
                        <a:pt x="226" y="258"/>
                        <a:pt x="229" y="258"/>
                        <a:pt x="233" y="258"/>
                      </a:cubicBezTo>
                      <a:cubicBezTo>
                        <a:pt x="233" y="258"/>
                        <a:pt x="233" y="258"/>
                        <a:pt x="233" y="258"/>
                      </a:cubicBezTo>
                      <a:cubicBezTo>
                        <a:pt x="225" y="269"/>
                        <a:pt x="217" y="278"/>
                        <a:pt x="205" y="284"/>
                      </a:cubicBezTo>
                      <a:cubicBezTo>
                        <a:pt x="186" y="295"/>
                        <a:pt x="167" y="285"/>
                        <a:pt x="160" y="272"/>
                      </a:cubicBezTo>
                      <a:cubicBezTo>
                        <a:pt x="156" y="266"/>
                        <a:pt x="155" y="259"/>
                        <a:pt x="157" y="252"/>
                      </a:cubicBezTo>
                      <a:cubicBezTo>
                        <a:pt x="159" y="243"/>
                        <a:pt x="164" y="235"/>
                        <a:pt x="171" y="230"/>
                      </a:cubicBezTo>
                      <a:cubicBezTo>
                        <a:pt x="178" y="225"/>
                        <a:pt x="185" y="223"/>
                        <a:pt x="193" y="224"/>
                      </a:cubicBezTo>
                      <a:cubicBezTo>
                        <a:pt x="196" y="224"/>
                        <a:pt x="200" y="224"/>
                        <a:pt x="203" y="224"/>
                      </a:cubicBezTo>
                      <a:cubicBezTo>
                        <a:pt x="204" y="224"/>
                        <a:pt x="206" y="223"/>
                        <a:pt x="207" y="221"/>
                      </a:cubicBezTo>
                      <a:cubicBezTo>
                        <a:pt x="208" y="219"/>
                        <a:pt x="207" y="218"/>
                        <a:pt x="205" y="217"/>
                      </a:cubicBezTo>
                      <a:cubicBezTo>
                        <a:pt x="199" y="210"/>
                        <a:pt x="191" y="208"/>
                        <a:pt x="183" y="211"/>
                      </a:cubicBezTo>
                      <a:cubicBezTo>
                        <a:pt x="176" y="213"/>
                        <a:pt x="170" y="216"/>
                        <a:pt x="164" y="221"/>
                      </a:cubicBezTo>
                      <a:cubicBezTo>
                        <a:pt x="163" y="222"/>
                        <a:pt x="162" y="222"/>
                        <a:pt x="160" y="222"/>
                      </a:cubicBezTo>
                      <a:cubicBezTo>
                        <a:pt x="153" y="220"/>
                        <a:pt x="151" y="218"/>
                        <a:pt x="152" y="210"/>
                      </a:cubicBezTo>
                      <a:cubicBezTo>
                        <a:pt x="153" y="199"/>
                        <a:pt x="158" y="190"/>
                        <a:pt x="168" y="185"/>
                      </a:cubicBezTo>
                      <a:cubicBezTo>
                        <a:pt x="170" y="184"/>
                        <a:pt x="173" y="183"/>
                        <a:pt x="175" y="182"/>
                      </a:cubicBezTo>
                      <a:cubicBezTo>
                        <a:pt x="178" y="181"/>
                        <a:pt x="178" y="178"/>
                        <a:pt x="176" y="176"/>
                      </a:cubicBezTo>
                      <a:cubicBezTo>
                        <a:pt x="174" y="175"/>
                        <a:pt x="172" y="174"/>
                        <a:pt x="171" y="173"/>
                      </a:cubicBezTo>
                      <a:cubicBezTo>
                        <a:pt x="168" y="170"/>
                        <a:pt x="164" y="168"/>
                        <a:pt x="161" y="166"/>
                      </a:cubicBezTo>
                      <a:cubicBezTo>
                        <a:pt x="156" y="162"/>
                        <a:pt x="153" y="157"/>
                        <a:pt x="153" y="151"/>
                      </a:cubicBezTo>
                      <a:cubicBezTo>
                        <a:pt x="152" y="147"/>
                        <a:pt x="152" y="142"/>
                        <a:pt x="152" y="137"/>
                      </a:cubicBezTo>
                      <a:cubicBezTo>
                        <a:pt x="152" y="131"/>
                        <a:pt x="155" y="126"/>
                        <a:pt x="161" y="122"/>
                      </a:cubicBezTo>
                      <a:cubicBezTo>
                        <a:pt x="167" y="118"/>
                        <a:pt x="174" y="116"/>
                        <a:pt x="181" y="116"/>
                      </a:cubicBezTo>
                      <a:cubicBezTo>
                        <a:pt x="191" y="115"/>
                        <a:pt x="201" y="115"/>
                        <a:pt x="210" y="114"/>
                      </a:cubicBezTo>
                      <a:cubicBezTo>
                        <a:pt x="218" y="114"/>
                        <a:pt x="225" y="113"/>
                        <a:pt x="232" y="111"/>
                      </a:cubicBezTo>
                      <a:cubicBezTo>
                        <a:pt x="234" y="110"/>
                        <a:pt x="235" y="109"/>
                        <a:pt x="237" y="108"/>
                      </a:cubicBezTo>
                      <a:cubicBezTo>
                        <a:pt x="239" y="106"/>
                        <a:pt x="240" y="104"/>
                        <a:pt x="240" y="102"/>
                      </a:cubicBezTo>
                      <a:cubicBezTo>
                        <a:pt x="239" y="101"/>
                        <a:pt x="239" y="99"/>
                        <a:pt x="238" y="99"/>
                      </a:cubicBezTo>
                      <a:cubicBezTo>
                        <a:pt x="237" y="98"/>
                        <a:pt x="235" y="99"/>
                        <a:pt x="234" y="99"/>
                      </a:cubicBezTo>
                      <a:cubicBezTo>
                        <a:pt x="231" y="103"/>
                        <a:pt x="227" y="103"/>
                        <a:pt x="223" y="103"/>
                      </a:cubicBezTo>
                      <a:cubicBezTo>
                        <a:pt x="213" y="104"/>
                        <a:pt x="203" y="104"/>
                        <a:pt x="194" y="104"/>
                      </a:cubicBezTo>
                      <a:cubicBezTo>
                        <a:pt x="191" y="104"/>
                        <a:pt x="188" y="104"/>
                        <a:pt x="185" y="105"/>
                      </a:cubicBezTo>
                      <a:cubicBezTo>
                        <a:pt x="177" y="106"/>
                        <a:pt x="171" y="103"/>
                        <a:pt x="167" y="97"/>
                      </a:cubicBezTo>
                      <a:cubicBezTo>
                        <a:pt x="160" y="90"/>
                        <a:pt x="158" y="82"/>
                        <a:pt x="157" y="73"/>
                      </a:cubicBezTo>
                      <a:cubicBezTo>
                        <a:pt x="157" y="68"/>
                        <a:pt x="157" y="64"/>
                        <a:pt x="158" y="60"/>
                      </a:cubicBezTo>
                      <a:cubicBezTo>
                        <a:pt x="159" y="55"/>
                        <a:pt x="161" y="52"/>
                        <a:pt x="165" y="50"/>
                      </a:cubicBezTo>
                      <a:cubicBezTo>
                        <a:pt x="167" y="49"/>
                        <a:pt x="169" y="47"/>
                        <a:pt x="171" y="46"/>
                      </a:cubicBezTo>
                      <a:cubicBezTo>
                        <a:pt x="173" y="44"/>
                        <a:pt x="172" y="43"/>
                        <a:pt x="170" y="41"/>
                      </a:cubicBezTo>
                      <a:cubicBezTo>
                        <a:pt x="168" y="39"/>
                        <a:pt x="165" y="39"/>
                        <a:pt x="162" y="40"/>
                      </a:cubicBezTo>
                      <a:cubicBezTo>
                        <a:pt x="156" y="42"/>
                        <a:pt x="153" y="47"/>
                        <a:pt x="150" y="52"/>
                      </a:cubicBezTo>
                      <a:cubicBezTo>
                        <a:pt x="146" y="62"/>
                        <a:pt x="146" y="72"/>
                        <a:pt x="149" y="83"/>
                      </a:cubicBezTo>
                      <a:cubicBezTo>
                        <a:pt x="151" y="93"/>
                        <a:pt x="156" y="102"/>
                        <a:pt x="165" y="108"/>
                      </a:cubicBezTo>
                      <a:cubicBezTo>
                        <a:pt x="164" y="109"/>
                        <a:pt x="163" y="109"/>
                        <a:pt x="163" y="109"/>
                      </a:cubicBezTo>
                      <a:cubicBezTo>
                        <a:pt x="149" y="114"/>
                        <a:pt x="142" y="124"/>
                        <a:pt x="141" y="139"/>
                      </a:cubicBezTo>
                      <a:cubicBezTo>
                        <a:pt x="141" y="149"/>
                        <a:pt x="142" y="159"/>
                        <a:pt x="147" y="168"/>
                      </a:cubicBezTo>
                      <a:cubicBezTo>
                        <a:pt x="149" y="172"/>
                        <a:pt x="152" y="176"/>
                        <a:pt x="156" y="179"/>
                      </a:cubicBezTo>
                      <a:cubicBezTo>
                        <a:pt x="155" y="180"/>
                        <a:pt x="155" y="180"/>
                        <a:pt x="154" y="181"/>
                      </a:cubicBezTo>
                      <a:cubicBezTo>
                        <a:pt x="146" y="189"/>
                        <a:pt x="141" y="198"/>
                        <a:pt x="140" y="210"/>
                      </a:cubicBezTo>
                      <a:cubicBezTo>
                        <a:pt x="139" y="220"/>
                        <a:pt x="143" y="228"/>
                        <a:pt x="153" y="232"/>
                      </a:cubicBezTo>
                      <a:cubicBezTo>
                        <a:pt x="151" y="237"/>
                        <a:pt x="149" y="241"/>
                        <a:pt x="147" y="246"/>
                      </a:cubicBezTo>
                      <a:cubicBezTo>
                        <a:pt x="144" y="257"/>
                        <a:pt x="144" y="268"/>
                        <a:pt x="150" y="278"/>
                      </a:cubicBezTo>
                      <a:cubicBezTo>
                        <a:pt x="150" y="279"/>
                        <a:pt x="150" y="280"/>
                        <a:pt x="150" y="281"/>
                      </a:cubicBezTo>
                      <a:cubicBezTo>
                        <a:pt x="147" y="286"/>
                        <a:pt x="141" y="288"/>
                        <a:pt x="135" y="286"/>
                      </a:cubicBezTo>
                      <a:cubicBezTo>
                        <a:pt x="130" y="285"/>
                        <a:pt x="126" y="283"/>
                        <a:pt x="124" y="279"/>
                      </a:cubicBezTo>
                      <a:cubicBezTo>
                        <a:pt x="123" y="278"/>
                        <a:pt x="123" y="277"/>
                        <a:pt x="124" y="277"/>
                      </a:cubicBezTo>
                      <a:cubicBezTo>
                        <a:pt x="130" y="262"/>
                        <a:pt x="128" y="247"/>
                        <a:pt x="120" y="234"/>
                      </a:cubicBezTo>
                      <a:cubicBezTo>
                        <a:pt x="120" y="233"/>
                        <a:pt x="120" y="233"/>
                        <a:pt x="119" y="233"/>
                      </a:cubicBezTo>
                      <a:cubicBezTo>
                        <a:pt x="120" y="232"/>
                        <a:pt x="120" y="232"/>
                        <a:pt x="120" y="232"/>
                      </a:cubicBezTo>
                      <a:cubicBezTo>
                        <a:pt x="130" y="228"/>
                        <a:pt x="133" y="219"/>
                        <a:pt x="133" y="210"/>
                      </a:cubicBezTo>
                      <a:cubicBezTo>
                        <a:pt x="132" y="201"/>
                        <a:pt x="127" y="188"/>
                        <a:pt x="117" y="179"/>
                      </a:cubicBezTo>
                      <a:cubicBezTo>
                        <a:pt x="118" y="178"/>
                        <a:pt x="119" y="177"/>
                        <a:pt x="120" y="175"/>
                      </a:cubicBezTo>
                      <a:cubicBezTo>
                        <a:pt x="127" y="168"/>
                        <a:pt x="130" y="159"/>
                        <a:pt x="131" y="149"/>
                      </a:cubicBezTo>
                      <a:cubicBezTo>
                        <a:pt x="131" y="144"/>
                        <a:pt x="131" y="139"/>
                        <a:pt x="131" y="133"/>
                      </a:cubicBezTo>
                      <a:cubicBezTo>
                        <a:pt x="129" y="121"/>
                        <a:pt x="122" y="114"/>
                        <a:pt x="111" y="109"/>
                      </a:cubicBezTo>
                      <a:cubicBezTo>
                        <a:pt x="110" y="109"/>
                        <a:pt x="109" y="109"/>
                        <a:pt x="108" y="108"/>
                      </a:cubicBezTo>
                      <a:cubicBezTo>
                        <a:pt x="109" y="107"/>
                        <a:pt x="110" y="106"/>
                        <a:pt x="111" y="105"/>
                      </a:cubicBezTo>
                      <a:cubicBezTo>
                        <a:pt x="119" y="97"/>
                        <a:pt x="124" y="88"/>
                        <a:pt x="125" y="77"/>
                      </a:cubicBezTo>
                      <a:cubicBezTo>
                        <a:pt x="126" y="69"/>
                        <a:pt x="126" y="60"/>
                        <a:pt x="123" y="52"/>
                      </a:cubicBezTo>
                      <a:cubicBezTo>
                        <a:pt x="120" y="48"/>
                        <a:pt x="118" y="44"/>
                        <a:pt x="113" y="41"/>
                      </a:cubicBezTo>
                      <a:cubicBezTo>
                        <a:pt x="109" y="39"/>
                        <a:pt x="106" y="39"/>
                        <a:pt x="102" y="41"/>
                      </a:cubicBezTo>
                      <a:cubicBezTo>
                        <a:pt x="100" y="43"/>
                        <a:pt x="100" y="44"/>
                        <a:pt x="102" y="46"/>
                      </a:cubicBezTo>
                      <a:cubicBezTo>
                        <a:pt x="103" y="47"/>
                        <a:pt x="104" y="48"/>
                        <a:pt x="105" y="49"/>
                      </a:cubicBezTo>
                      <a:cubicBezTo>
                        <a:pt x="112" y="52"/>
                        <a:pt x="115" y="57"/>
                        <a:pt x="115" y="64"/>
                      </a:cubicBezTo>
                      <a:cubicBezTo>
                        <a:pt x="116" y="76"/>
                        <a:pt x="114" y="87"/>
                        <a:pt x="107" y="96"/>
                      </a:cubicBezTo>
                      <a:cubicBezTo>
                        <a:pt x="102" y="102"/>
                        <a:pt x="96" y="105"/>
                        <a:pt x="87" y="105"/>
                      </a:cubicBezTo>
                      <a:cubicBezTo>
                        <a:pt x="76" y="104"/>
                        <a:pt x="65" y="104"/>
                        <a:pt x="54" y="104"/>
                      </a:cubicBezTo>
                      <a:cubicBezTo>
                        <a:pt x="51" y="104"/>
                        <a:pt x="48" y="103"/>
                        <a:pt x="44" y="102"/>
                      </a:cubicBezTo>
                      <a:cubicBezTo>
                        <a:pt x="42" y="102"/>
                        <a:pt x="41" y="100"/>
                        <a:pt x="39" y="100"/>
                      </a:cubicBezTo>
                      <a:cubicBezTo>
                        <a:pt x="38" y="99"/>
                        <a:pt x="36" y="98"/>
                        <a:pt x="35" y="99"/>
                      </a:cubicBezTo>
                      <a:cubicBezTo>
                        <a:pt x="34" y="99"/>
                        <a:pt x="33" y="100"/>
                        <a:pt x="33" y="102"/>
                      </a:cubicBezTo>
                      <a:cubicBezTo>
                        <a:pt x="32" y="104"/>
                        <a:pt x="34" y="107"/>
                        <a:pt x="36" y="108"/>
                      </a:cubicBezTo>
                      <a:cubicBezTo>
                        <a:pt x="40" y="111"/>
                        <a:pt x="45" y="113"/>
                        <a:pt x="49" y="113"/>
                      </a:cubicBezTo>
                      <a:cubicBezTo>
                        <a:pt x="60" y="114"/>
                        <a:pt x="70" y="114"/>
                        <a:pt x="81" y="115"/>
                      </a:cubicBezTo>
                      <a:cubicBezTo>
                        <a:pt x="88" y="115"/>
                        <a:pt x="95" y="116"/>
                        <a:pt x="101" y="118"/>
                      </a:cubicBezTo>
                      <a:cubicBezTo>
                        <a:pt x="105" y="118"/>
                        <a:pt x="108" y="120"/>
                        <a:pt x="112" y="122"/>
                      </a:cubicBezTo>
                      <a:cubicBezTo>
                        <a:pt x="117" y="125"/>
                        <a:pt x="121" y="131"/>
                        <a:pt x="121" y="137"/>
                      </a:cubicBezTo>
                      <a:cubicBezTo>
                        <a:pt x="121" y="143"/>
                        <a:pt x="120" y="148"/>
                        <a:pt x="119" y="154"/>
                      </a:cubicBezTo>
                      <a:cubicBezTo>
                        <a:pt x="118" y="160"/>
                        <a:pt x="115" y="164"/>
                        <a:pt x="110" y="167"/>
                      </a:cubicBezTo>
                      <a:cubicBezTo>
                        <a:pt x="107" y="169"/>
                        <a:pt x="103" y="172"/>
                        <a:pt x="99" y="174"/>
                      </a:cubicBezTo>
                      <a:cubicBezTo>
                        <a:pt x="98" y="175"/>
                        <a:pt x="97" y="176"/>
                        <a:pt x="96" y="177"/>
                      </a:cubicBezTo>
                      <a:cubicBezTo>
                        <a:pt x="94" y="179"/>
                        <a:pt x="95" y="181"/>
                        <a:pt x="97" y="182"/>
                      </a:cubicBezTo>
                      <a:cubicBezTo>
                        <a:pt x="100" y="183"/>
                        <a:pt x="103" y="185"/>
                        <a:pt x="105" y="186"/>
                      </a:cubicBezTo>
                      <a:cubicBezTo>
                        <a:pt x="116" y="191"/>
                        <a:pt x="122" y="204"/>
                        <a:pt x="120" y="216"/>
                      </a:cubicBezTo>
                      <a:cubicBezTo>
                        <a:pt x="119" y="219"/>
                        <a:pt x="117" y="220"/>
                        <a:pt x="115" y="221"/>
                      </a:cubicBezTo>
                      <a:cubicBezTo>
                        <a:pt x="112" y="222"/>
                        <a:pt x="109" y="222"/>
                        <a:pt x="107" y="220"/>
                      </a:cubicBezTo>
                      <a:cubicBezTo>
                        <a:pt x="100" y="214"/>
                        <a:pt x="93" y="211"/>
                        <a:pt x="85" y="210"/>
                      </a:cubicBezTo>
                      <a:cubicBezTo>
                        <a:pt x="78" y="209"/>
                        <a:pt x="71" y="212"/>
                        <a:pt x="67" y="217"/>
                      </a:cubicBezTo>
                      <a:cubicBezTo>
                        <a:pt x="64" y="220"/>
                        <a:pt x="65" y="223"/>
                        <a:pt x="69" y="223"/>
                      </a:cubicBezTo>
                      <a:cubicBezTo>
                        <a:pt x="72" y="224"/>
                        <a:pt x="75" y="224"/>
                        <a:pt x="78" y="224"/>
                      </a:cubicBezTo>
                      <a:cubicBezTo>
                        <a:pt x="97" y="222"/>
                        <a:pt x="107" y="232"/>
                        <a:pt x="113" y="245"/>
                      </a:cubicBezTo>
                      <a:cubicBezTo>
                        <a:pt x="123" y="266"/>
                        <a:pt x="109" y="282"/>
                        <a:pt x="95" y="287"/>
                      </a:cubicBezTo>
                      <a:cubicBezTo>
                        <a:pt x="84" y="291"/>
                        <a:pt x="73" y="289"/>
                        <a:pt x="64" y="282"/>
                      </a:cubicBezTo>
                      <a:cubicBezTo>
                        <a:pt x="54" y="276"/>
                        <a:pt x="47" y="268"/>
                        <a:pt x="40" y="259"/>
                      </a:cubicBezTo>
                      <a:cubicBezTo>
                        <a:pt x="40" y="258"/>
                        <a:pt x="40" y="258"/>
                        <a:pt x="40" y="258"/>
                      </a:cubicBezTo>
                      <a:cubicBezTo>
                        <a:pt x="41" y="258"/>
                        <a:pt x="43" y="258"/>
                        <a:pt x="45" y="258"/>
                      </a:cubicBezTo>
                      <a:cubicBezTo>
                        <a:pt x="55" y="259"/>
                        <a:pt x="65" y="259"/>
                        <a:pt x="75" y="261"/>
                      </a:cubicBezTo>
                      <a:cubicBezTo>
                        <a:pt x="78" y="262"/>
                        <a:pt x="80" y="263"/>
                        <a:pt x="83" y="264"/>
                      </a:cubicBezTo>
                      <a:cubicBezTo>
                        <a:pt x="86" y="266"/>
                        <a:pt x="86" y="268"/>
                        <a:pt x="83" y="270"/>
                      </a:cubicBezTo>
                      <a:cubicBezTo>
                        <a:pt x="83" y="271"/>
                        <a:pt x="82" y="271"/>
                        <a:pt x="81" y="272"/>
                      </a:cubicBezTo>
                      <a:cubicBezTo>
                        <a:pt x="81" y="272"/>
                        <a:pt x="80" y="273"/>
                        <a:pt x="80" y="274"/>
                      </a:cubicBezTo>
                      <a:cubicBezTo>
                        <a:pt x="81" y="275"/>
                        <a:pt x="81" y="276"/>
                        <a:pt x="82" y="276"/>
                      </a:cubicBezTo>
                      <a:cubicBezTo>
                        <a:pt x="87" y="277"/>
                        <a:pt x="91" y="277"/>
                        <a:pt x="95" y="275"/>
                      </a:cubicBezTo>
                      <a:cubicBezTo>
                        <a:pt x="99" y="272"/>
                        <a:pt x="100" y="268"/>
                        <a:pt x="98" y="263"/>
                      </a:cubicBezTo>
                      <a:cubicBezTo>
                        <a:pt x="94" y="257"/>
                        <a:pt x="89" y="252"/>
                        <a:pt x="82" y="251"/>
                      </a:cubicBezTo>
                      <a:cubicBezTo>
                        <a:pt x="76" y="249"/>
                        <a:pt x="70" y="249"/>
                        <a:pt x="64" y="248"/>
                      </a:cubicBezTo>
                      <a:cubicBezTo>
                        <a:pt x="53" y="247"/>
                        <a:pt x="41" y="247"/>
                        <a:pt x="30" y="246"/>
                      </a:cubicBezTo>
                      <a:cubicBezTo>
                        <a:pt x="26" y="245"/>
                        <a:pt x="21" y="244"/>
                        <a:pt x="16" y="242"/>
                      </a:cubicBezTo>
                      <a:cubicBezTo>
                        <a:pt x="11" y="239"/>
                        <a:pt x="8" y="233"/>
                        <a:pt x="11" y="225"/>
                      </a:cubicBezTo>
                      <a:cubicBezTo>
                        <a:pt x="16" y="227"/>
                        <a:pt x="20" y="228"/>
                        <a:pt x="25" y="229"/>
                      </a:cubicBezTo>
                      <a:cubicBezTo>
                        <a:pt x="35" y="231"/>
                        <a:pt x="45" y="229"/>
                        <a:pt x="53" y="222"/>
                      </a:cubicBezTo>
                      <a:cubicBezTo>
                        <a:pt x="57" y="218"/>
                        <a:pt x="60" y="214"/>
                        <a:pt x="59" y="208"/>
                      </a:cubicBezTo>
                      <a:cubicBezTo>
                        <a:pt x="58" y="205"/>
                        <a:pt x="56" y="204"/>
                        <a:pt x="54" y="206"/>
                      </a:cubicBezTo>
                      <a:cubicBezTo>
                        <a:pt x="52" y="207"/>
                        <a:pt x="50" y="209"/>
                        <a:pt x="48" y="211"/>
                      </a:cubicBezTo>
                      <a:cubicBezTo>
                        <a:pt x="40" y="218"/>
                        <a:pt x="32" y="220"/>
                        <a:pt x="22" y="216"/>
                      </a:cubicBezTo>
                      <a:cubicBezTo>
                        <a:pt x="18" y="215"/>
                        <a:pt x="14" y="213"/>
                        <a:pt x="11" y="211"/>
                      </a:cubicBezTo>
                      <a:cubicBezTo>
                        <a:pt x="2" y="205"/>
                        <a:pt x="0" y="195"/>
                        <a:pt x="3" y="186"/>
                      </a:cubicBezTo>
                      <a:cubicBezTo>
                        <a:pt x="6" y="178"/>
                        <a:pt x="11" y="173"/>
                        <a:pt x="18" y="169"/>
                      </a:cubicBezTo>
                      <a:cubicBezTo>
                        <a:pt x="18" y="169"/>
                        <a:pt x="18" y="170"/>
                        <a:pt x="19" y="170"/>
                      </a:cubicBezTo>
                      <a:cubicBezTo>
                        <a:pt x="22" y="173"/>
                        <a:pt x="24" y="175"/>
                        <a:pt x="27" y="177"/>
                      </a:cubicBezTo>
                      <a:cubicBezTo>
                        <a:pt x="29" y="178"/>
                        <a:pt x="31" y="178"/>
                        <a:pt x="32" y="176"/>
                      </a:cubicBezTo>
                      <a:cubicBezTo>
                        <a:pt x="34" y="174"/>
                        <a:pt x="34" y="171"/>
                        <a:pt x="32" y="169"/>
                      </a:cubicBezTo>
                      <a:cubicBezTo>
                        <a:pt x="30" y="168"/>
                        <a:pt x="28" y="166"/>
                        <a:pt x="27" y="165"/>
                      </a:cubicBezTo>
                      <a:cubicBezTo>
                        <a:pt x="21" y="159"/>
                        <a:pt x="22" y="150"/>
                        <a:pt x="28" y="144"/>
                      </a:cubicBezTo>
                      <a:cubicBezTo>
                        <a:pt x="28" y="144"/>
                        <a:pt x="29" y="143"/>
                        <a:pt x="30" y="143"/>
                      </a:cubicBezTo>
                      <a:cubicBezTo>
                        <a:pt x="39" y="143"/>
                        <a:pt x="48" y="143"/>
                        <a:pt x="57" y="143"/>
                      </a:cubicBezTo>
                      <a:cubicBezTo>
                        <a:pt x="61" y="143"/>
                        <a:pt x="65" y="144"/>
                        <a:pt x="68" y="145"/>
                      </a:cubicBezTo>
                      <a:cubicBezTo>
                        <a:pt x="76" y="148"/>
                        <a:pt x="80" y="157"/>
                        <a:pt x="78" y="164"/>
                      </a:cubicBezTo>
                      <a:cubicBezTo>
                        <a:pt x="76" y="170"/>
                        <a:pt x="70" y="175"/>
                        <a:pt x="63" y="175"/>
                      </a:cubicBezTo>
                      <a:cubicBezTo>
                        <a:pt x="61" y="175"/>
                        <a:pt x="59" y="175"/>
                        <a:pt x="58" y="175"/>
                      </a:cubicBezTo>
                      <a:cubicBezTo>
                        <a:pt x="57" y="175"/>
                        <a:pt x="56" y="176"/>
                        <a:pt x="55" y="176"/>
                      </a:cubicBezTo>
                      <a:cubicBezTo>
                        <a:pt x="55" y="177"/>
                        <a:pt x="55" y="179"/>
                        <a:pt x="56" y="179"/>
                      </a:cubicBezTo>
                      <a:cubicBezTo>
                        <a:pt x="60" y="185"/>
                        <a:pt x="68" y="188"/>
                        <a:pt x="75" y="186"/>
                      </a:cubicBezTo>
                      <a:cubicBezTo>
                        <a:pt x="89" y="181"/>
                        <a:pt x="98" y="161"/>
                        <a:pt x="91" y="148"/>
                      </a:cubicBezTo>
                      <a:cubicBezTo>
                        <a:pt x="87" y="140"/>
                        <a:pt x="80" y="136"/>
                        <a:pt x="72" y="133"/>
                      </a:cubicBezTo>
                      <a:cubicBezTo>
                        <a:pt x="66" y="131"/>
                        <a:pt x="59" y="130"/>
                        <a:pt x="53" y="130"/>
                      </a:cubicBezTo>
                      <a:cubicBezTo>
                        <a:pt x="46" y="130"/>
                        <a:pt x="39" y="131"/>
                        <a:pt x="32" y="130"/>
                      </a:cubicBezTo>
                      <a:cubicBezTo>
                        <a:pt x="24" y="130"/>
                        <a:pt x="16" y="127"/>
                        <a:pt x="10" y="120"/>
                      </a:cubicBezTo>
                      <a:cubicBezTo>
                        <a:pt x="5" y="114"/>
                        <a:pt x="4" y="108"/>
                        <a:pt x="6" y="101"/>
                      </a:cubicBezTo>
                      <a:cubicBezTo>
                        <a:pt x="11" y="90"/>
                        <a:pt x="22" y="84"/>
                        <a:pt x="33" y="84"/>
                      </a:cubicBezTo>
                      <a:cubicBezTo>
                        <a:pt x="41" y="85"/>
                        <a:pt x="49" y="87"/>
                        <a:pt x="56" y="89"/>
                      </a:cubicBezTo>
                      <a:cubicBezTo>
                        <a:pt x="64" y="91"/>
                        <a:pt x="72" y="93"/>
                        <a:pt x="80" y="93"/>
                      </a:cubicBezTo>
                      <a:cubicBezTo>
                        <a:pt x="87" y="92"/>
                        <a:pt x="93" y="91"/>
                        <a:pt x="99" y="86"/>
                      </a:cubicBezTo>
                      <a:cubicBezTo>
                        <a:pt x="109" y="76"/>
                        <a:pt x="108" y="58"/>
                        <a:pt x="97" y="49"/>
                      </a:cubicBezTo>
                      <a:cubicBezTo>
                        <a:pt x="91" y="45"/>
                        <a:pt x="84" y="43"/>
                        <a:pt x="76" y="41"/>
                      </a:cubicBezTo>
                      <a:cubicBezTo>
                        <a:pt x="67" y="39"/>
                        <a:pt x="57" y="40"/>
                        <a:pt x="47" y="42"/>
                      </a:cubicBezTo>
                      <a:cubicBezTo>
                        <a:pt x="46" y="43"/>
                        <a:pt x="44" y="43"/>
                        <a:pt x="43" y="44"/>
                      </a:cubicBezTo>
                      <a:cubicBezTo>
                        <a:pt x="41" y="45"/>
                        <a:pt x="40" y="48"/>
                        <a:pt x="41" y="50"/>
                      </a:cubicBezTo>
                      <a:cubicBezTo>
                        <a:pt x="41" y="51"/>
                        <a:pt x="43" y="52"/>
                        <a:pt x="46" y="52"/>
                      </a:cubicBezTo>
                      <a:cubicBezTo>
                        <a:pt x="53" y="52"/>
                        <a:pt x="60" y="52"/>
                        <a:pt x="67" y="52"/>
                      </a:cubicBezTo>
                      <a:cubicBezTo>
                        <a:pt x="71" y="52"/>
                        <a:pt x="76" y="53"/>
                        <a:pt x="81" y="54"/>
                      </a:cubicBezTo>
                      <a:cubicBezTo>
                        <a:pt x="86" y="55"/>
                        <a:pt x="90" y="59"/>
                        <a:pt x="93" y="64"/>
                      </a:cubicBezTo>
                      <a:cubicBezTo>
                        <a:pt x="97" y="71"/>
                        <a:pt x="93" y="79"/>
                        <a:pt x="85" y="80"/>
                      </a:cubicBezTo>
                      <a:cubicBezTo>
                        <a:pt x="80" y="81"/>
                        <a:pt x="76" y="80"/>
                        <a:pt x="72" y="80"/>
                      </a:cubicBezTo>
                      <a:cubicBezTo>
                        <a:pt x="62" y="77"/>
                        <a:pt x="52" y="75"/>
                        <a:pt x="42" y="73"/>
                      </a:cubicBezTo>
                      <a:cubicBezTo>
                        <a:pt x="36" y="72"/>
                        <a:pt x="31" y="72"/>
                        <a:pt x="26" y="72"/>
                      </a:cubicBezTo>
                      <a:cubicBezTo>
                        <a:pt x="25" y="68"/>
                        <a:pt x="23" y="64"/>
                        <a:pt x="23" y="60"/>
                      </a:cubicBezTo>
                      <a:cubicBezTo>
                        <a:pt x="22" y="54"/>
                        <a:pt x="25" y="49"/>
                        <a:pt x="29" y="44"/>
                      </a:cubicBezTo>
                      <a:cubicBezTo>
                        <a:pt x="39" y="35"/>
                        <a:pt x="50" y="29"/>
                        <a:pt x="64" y="27"/>
                      </a:cubicBezTo>
                      <a:cubicBezTo>
                        <a:pt x="69" y="27"/>
                        <a:pt x="74" y="28"/>
                        <a:pt x="80" y="29"/>
                      </a:cubicBezTo>
                      <a:cubicBezTo>
                        <a:pt x="84" y="31"/>
                        <a:pt x="88" y="32"/>
                        <a:pt x="93" y="33"/>
                      </a:cubicBezTo>
                      <a:cubicBezTo>
                        <a:pt x="93" y="34"/>
                        <a:pt x="94" y="34"/>
                        <a:pt x="95" y="33"/>
                      </a:cubicBezTo>
                      <a:cubicBezTo>
                        <a:pt x="99" y="33"/>
                        <a:pt x="100" y="32"/>
                        <a:pt x="97" y="29"/>
                      </a:cubicBezTo>
                      <a:cubicBezTo>
                        <a:pt x="94" y="24"/>
                        <a:pt x="90" y="22"/>
                        <a:pt x="86" y="20"/>
                      </a:cubicBezTo>
                      <a:cubicBezTo>
                        <a:pt x="79" y="17"/>
                        <a:pt x="73" y="15"/>
                        <a:pt x="65" y="15"/>
                      </a:cubicBezTo>
                      <a:cubicBezTo>
                        <a:pt x="64" y="15"/>
                        <a:pt x="64" y="15"/>
                        <a:pt x="62" y="15"/>
                      </a:cubicBezTo>
                      <a:cubicBezTo>
                        <a:pt x="67" y="8"/>
                        <a:pt x="72" y="3"/>
                        <a:pt x="80" y="2"/>
                      </a:cubicBezTo>
                      <a:cubicBezTo>
                        <a:pt x="88" y="1"/>
                        <a:pt x="95" y="2"/>
                        <a:pt x="102" y="6"/>
                      </a:cubicBezTo>
                      <a:cubicBezTo>
                        <a:pt x="111" y="11"/>
                        <a:pt x="114" y="20"/>
                        <a:pt x="110" y="29"/>
                      </a:cubicBezTo>
                      <a:cubicBezTo>
                        <a:pt x="109" y="30"/>
                        <a:pt x="109" y="30"/>
                        <a:pt x="109" y="31"/>
                      </a:cubicBezTo>
                      <a:cubicBezTo>
                        <a:pt x="109" y="32"/>
                        <a:pt x="109" y="34"/>
                        <a:pt x="110" y="34"/>
                      </a:cubicBezTo>
                      <a:cubicBezTo>
                        <a:pt x="111" y="35"/>
                        <a:pt x="112" y="35"/>
                        <a:pt x="113" y="34"/>
                      </a:cubicBezTo>
                      <a:cubicBezTo>
                        <a:pt x="122" y="29"/>
                        <a:pt x="125" y="21"/>
                        <a:pt x="120" y="12"/>
                      </a:cubicBezTo>
                      <a:cubicBezTo>
                        <a:pt x="119" y="10"/>
                        <a:pt x="120" y="9"/>
                        <a:pt x="121" y="7"/>
                      </a:cubicBezTo>
                      <a:cubicBezTo>
                        <a:pt x="124" y="4"/>
                        <a:pt x="127" y="3"/>
                        <a:pt x="131" y="3"/>
                      </a:cubicBezTo>
                      <a:cubicBezTo>
                        <a:pt x="139" y="2"/>
                        <a:pt x="147" y="3"/>
                        <a:pt x="154" y="7"/>
                      </a:cubicBezTo>
                      <a:cubicBezTo>
                        <a:pt x="154" y="7"/>
                        <a:pt x="154" y="7"/>
                        <a:pt x="154" y="7"/>
                      </a:cubicBezTo>
                      <a:cubicBezTo>
                        <a:pt x="153" y="11"/>
                        <a:pt x="151" y="14"/>
                        <a:pt x="151" y="18"/>
                      </a:cubicBezTo>
                      <a:cubicBezTo>
                        <a:pt x="149" y="25"/>
                        <a:pt x="154" y="32"/>
                        <a:pt x="160" y="35"/>
                      </a:cubicBezTo>
                      <a:cubicBezTo>
                        <a:pt x="160" y="35"/>
                        <a:pt x="162" y="35"/>
                        <a:pt x="163" y="34"/>
                      </a:cubicBezTo>
                      <a:cubicBezTo>
                        <a:pt x="163" y="33"/>
                        <a:pt x="164" y="32"/>
                        <a:pt x="163" y="31"/>
                      </a:cubicBezTo>
                      <a:cubicBezTo>
                        <a:pt x="163" y="28"/>
                        <a:pt x="162" y="26"/>
                        <a:pt x="161" y="24"/>
                      </a:cubicBezTo>
                      <a:cubicBezTo>
                        <a:pt x="160" y="17"/>
                        <a:pt x="162" y="12"/>
                        <a:pt x="168" y="8"/>
                      </a:cubicBezTo>
                      <a:cubicBezTo>
                        <a:pt x="176" y="2"/>
                        <a:pt x="185" y="0"/>
                        <a:pt x="194" y="2"/>
                      </a:cubicBezTo>
                      <a:cubicBezTo>
                        <a:pt x="201" y="4"/>
                        <a:pt x="206" y="9"/>
                        <a:pt x="210" y="15"/>
                      </a:cubicBezTo>
                      <a:cubicBezTo>
                        <a:pt x="208" y="15"/>
                        <a:pt x="207" y="15"/>
                        <a:pt x="206" y="15"/>
                      </a:cubicBezTo>
                      <a:cubicBezTo>
                        <a:pt x="197" y="15"/>
                        <a:pt x="189" y="18"/>
                        <a:pt x="181" y="23"/>
                      </a:cubicBezTo>
                      <a:cubicBezTo>
                        <a:pt x="178" y="25"/>
                        <a:pt x="176" y="27"/>
                        <a:pt x="174" y="30"/>
                      </a:cubicBezTo>
                      <a:cubicBezTo>
                        <a:pt x="173" y="32"/>
                        <a:pt x="174" y="33"/>
                        <a:pt x="176" y="33"/>
                      </a:cubicBezTo>
                      <a:cubicBezTo>
                        <a:pt x="179" y="33"/>
                        <a:pt x="182" y="33"/>
                        <a:pt x="184" y="33"/>
                      </a:cubicBezTo>
                      <a:cubicBezTo>
                        <a:pt x="187" y="32"/>
                        <a:pt x="189" y="31"/>
                        <a:pt x="191" y="30"/>
                      </a:cubicBezTo>
                      <a:cubicBezTo>
                        <a:pt x="202" y="26"/>
                        <a:pt x="213" y="26"/>
                        <a:pt x="223" y="31"/>
                      </a:cubicBezTo>
                      <a:cubicBezTo>
                        <a:pt x="231" y="35"/>
                        <a:pt x="238" y="39"/>
                        <a:pt x="244" y="45"/>
                      </a:cubicBezTo>
                      <a:cubicBezTo>
                        <a:pt x="250" y="51"/>
                        <a:pt x="252" y="58"/>
                        <a:pt x="248" y="66"/>
                      </a:cubicBezTo>
                      <a:cubicBezTo>
                        <a:pt x="248" y="68"/>
                        <a:pt x="248" y="71"/>
                        <a:pt x="246" y="72"/>
                      </a:cubicBezTo>
                      <a:cubicBezTo>
                        <a:pt x="245" y="73"/>
                        <a:pt x="243" y="72"/>
                        <a:pt x="241" y="72"/>
                      </a:cubicBezTo>
                      <a:cubicBezTo>
                        <a:pt x="232" y="72"/>
                        <a:pt x="224" y="75"/>
                        <a:pt x="215" y="77"/>
                      </a:cubicBezTo>
                      <a:cubicBezTo>
                        <a:pt x="208" y="78"/>
                        <a:pt x="202" y="79"/>
                        <a:pt x="195" y="80"/>
                      </a:cubicBezTo>
                      <a:cubicBezTo>
                        <a:pt x="190" y="81"/>
                        <a:pt x="185" y="81"/>
                        <a:pt x="182" y="77"/>
                      </a:cubicBezTo>
                      <a:cubicBezTo>
                        <a:pt x="178" y="74"/>
                        <a:pt x="177" y="70"/>
                        <a:pt x="179" y="65"/>
                      </a:cubicBezTo>
                      <a:cubicBezTo>
                        <a:pt x="182" y="59"/>
                        <a:pt x="186" y="56"/>
                        <a:pt x="192" y="54"/>
                      </a:cubicBezTo>
                      <a:cubicBezTo>
                        <a:pt x="201" y="52"/>
                        <a:pt x="210" y="51"/>
                        <a:pt x="219" y="52"/>
                      </a:cubicBezTo>
                      <a:cubicBezTo>
                        <a:pt x="222" y="52"/>
                        <a:pt x="224" y="52"/>
                        <a:pt x="227" y="52"/>
                      </a:cubicBezTo>
                      <a:cubicBezTo>
                        <a:pt x="230" y="52"/>
                        <a:pt x="231" y="51"/>
                        <a:pt x="232" y="49"/>
                      </a:cubicBezTo>
                      <a:cubicBezTo>
                        <a:pt x="232" y="47"/>
                        <a:pt x="231" y="44"/>
                        <a:pt x="229" y="44"/>
                      </a:cubicBezTo>
                      <a:cubicBezTo>
                        <a:pt x="225" y="42"/>
                        <a:pt x="221" y="41"/>
                        <a:pt x="218" y="41"/>
                      </a:cubicBezTo>
                      <a:cubicBezTo>
                        <a:pt x="206" y="39"/>
                        <a:pt x="195" y="40"/>
                        <a:pt x="184" y="45"/>
                      </a:cubicBezTo>
                      <a:cubicBezTo>
                        <a:pt x="179" y="47"/>
                        <a:pt x="175" y="49"/>
                        <a:pt x="172" y="53"/>
                      </a:cubicBezTo>
                      <a:cubicBezTo>
                        <a:pt x="166" y="61"/>
                        <a:pt x="165" y="69"/>
                        <a:pt x="169" y="79"/>
                      </a:cubicBezTo>
                      <a:cubicBezTo>
                        <a:pt x="172" y="87"/>
                        <a:pt x="179" y="91"/>
                        <a:pt x="188" y="92"/>
                      </a:cubicBezTo>
                      <a:cubicBezTo>
                        <a:pt x="197" y="93"/>
                        <a:pt x="207" y="91"/>
                        <a:pt x="216" y="89"/>
                      </a:cubicBezTo>
                      <a:cubicBezTo>
                        <a:pt x="222" y="88"/>
                        <a:pt x="228" y="86"/>
                        <a:pt x="235" y="85"/>
                      </a:cubicBezTo>
                      <a:cubicBezTo>
                        <a:pt x="244" y="83"/>
                        <a:pt x="252" y="84"/>
                        <a:pt x="259" y="91"/>
                      </a:cubicBezTo>
                      <a:cubicBezTo>
                        <a:pt x="265" y="96"/>
                        <a:pt x="269" y="103"/>
                        <a:pt x="267" y="111"/>
                      </a:cubicBezTo>
                      <a:cubicBezTo>
                        <a:pt x="266" y="118"/>
                        <a:pt x="262" y="122"/>
                        <a:pt x="256" y="125"/>
                      </a:cubicBezTo>
                      <a:cubicBezTo>
                        <a:pt x="250" y="129"/>
                        <a:pt x="243" y="131"/>
                        <a:pt x="236" y="130"/>
                      </a:cubicBezTo>
                      <a:cubicBezTo>
                        <a:pt x="226" y="130"/>
                        <a:pt x="216" y="130"/>
                        <a:pt x="207" y="132"/>
                      </a:cubicBezTo>
                      <a:cubicBezTo>
                        <a:pt x="199" y="133"/>
                        <a:pt x="192" y="137"/>
                        <a:pt x="186" y="142"/>
                      </a:cubicBezTo>
                      <a:cubicBezTo>
                        <a:pt x="179" y="149"/>
                        <a:pt x="177" y="161"/>
                        <a:pt x="183" y="172"/>
                      </a:cubicBezTo>
                      <a:cubicBezTo>
                        <a:pt x="187" y="179"/>
                        <a:pt x="192" y="185"/>
                        <a:pt x="200" y="186"/>
                      </a:cubicBezTo>
                      <a:cubicBezTo>
                        <a:pt x="207" y="188"/>
                        <a:pt x="212" y="184"/>
                        <a:pt x="217" y="179"/>
                      </a:cubicBezTo>
                      <a:cubicBezTo>
                        <a:pt x="217" y="179"/>
                        <a:pt x="217" y="177"/>
                        <a:pt x="217" y="176"/>
                      </a:cubicBezTo>
                      <a:cubicBezTo>
                        <a:pt x="217" y="176"/>
                        <a:pt x="215" y="175"/>
                        <a:pt x="215" y="175"/>
                      </a:cubicBezTo>
                      <a:cubicBezTo>
                        <a:pt x="211" y="175"/>
                        <a:pt x="208" y="175"/>
                        <a:pt x="205" y="174"/>
                      </a:cubicBezTo>
                      <a:cubicBezTo>
                        <a:pt x="200" y="173"/>
                        <a:pt x="196" y="169"/>
                        <a:pt x="194" y="163"/>
                      </a:cubicBezTo>
                      <a:cubicBezTo>
                        <a:pt x="193" y="157"/>
                        <a:pt x="195" y="152"/>
                        <a:pt x="200" y="148"/>
                      </a:cubicBezTo>
                      <a:cubicBezTo>
                        <a:pt x="205" y="144"/>
                        <a:pt x="210" y="143"/>
                        <a:pt x="216" y="143"/>
                      </a:cubicBezTo>
                      <a:cubicBezTo>
                        <a:pt x="224" y="143"/>
                        <a:pt x="232" y="144"/>
                        <a:pt x="240" y="143"/>
                      </a:cubicBezTo>
                      <a:cubicBezTo>
                        <a:pt x="244" y="143"/>
                        <a:pt x="246" y="145"/>
                        <a:pt x="248" y="148"/>
                      </a:cubicBezTo>
                      <a:cubicBezTo>
                        <a:pt x="251" y="153"/>
                        <a:pt x="250" y="161"/>
                        <a:pt x="245" y="166"/>
                      </a:cubicBezTo>
                      <a:cubicBezTo>
                        <a:pt x="244" y="167"/>
                        <a:pt x="243" y="168"/>
                        <a:pt x="241" y="169"/>
                      </a:cubicBezTo>
                      <a:cubicBezTo>
                        <a:pt x="239" y="170"/>
                        <a:pt x="239" y="172"/>
                        <a:pt x="239" y="174"/>
                      </a:cubicBezTo>
                      <a:cubicBezTo>
                        <a:pt x="240" y="177"/>
                        <a:pt x="242" y="178"/>
                        <a:pt x="245" y="177"/>
                      </a:cubicBezTo>
                      <a:cubicBezTo>
                        <a:pt x="249" y="175"/>
                        <a:pt x="252" y="172"/>
                        <a:pt x="255" y="169"/>
                      </a:cubicBezTo>
                      <a:cubicBezTo>
                        <a:pt x="264" y="175"/>
                        <a:pt x="271" y="183"/>
                        <a:pt x="271" y="194"/>
                      </a:cubicBezTo>
                      <a:cubicBezTo>
                        <a:pt x="271" y="199"/>
                        <a:pt x="269" y="204"/>
                        <a:pt x="265" y="20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106"/>
                  <a:endParaRPr lang="en-GB">
                    <a:solidFill>
                      <a:srgbClr val="001965"/>
                    </a:solidFill>
                  </a:endParaRPr>
                </a:p>
              </p:txBody>
            </p:sp>
          </p:grpSp>
          <p:sp>
            <p:nvSpPr>
              <p:cNvPr id="112" name="Rectangle 111"/>
              <p:cNvSpPr/>
              <p:nvPr/>
            </p:nvSpPr>
            <p:spPr>
              <a:xfrm>
                <a:off x="1194846" y="1544590"/>
                <a:ext cx="1929354" cy="2539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457106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B7FF"/>
                  </a:buClr>
                  <a:buSzPct val="120000"/>
                  <a:defRPr/>
                </a:pPr>
                <a:r>
                  <a:rPr lang="en-GB" sz="1050" dirty="0" err="1" smtClean="0">
                    <a:solidFill>
                      <a:srgbClr val="000000"/>
                    </a:solidFill>
                  </a:rPr>
                  <a:t>Verminderd</a:t>
                </a:r>
                <a:r>
                  <a:rPr lang="en-GB" sz="1050" dirty="0" smtClean="0">
                    <a:solidFill>
                      <a:srgbClr val="000000"/>
                    </a:solidFill>
                  </a:rPr>
                  <a:t> </a:t>
                </a:r>
                <a:r>
                  <a:rPr lang="en-GB" sz="1050" dirty="0" err="1">
                    <a:solidFill>
                      <a:srgbClr val="000000"/>
                    </a:solidFill>
                  </a:rPr>
                  <a:t>hongergevoel</a:t>
                </a:r>
                <a:endParaRPr lang="en-GB" sz="105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" name="Group 4"/>
            <p:cNvGrpSpPr/>
            <p:nvPr/>
          </p:nvGrpSpPr>
          <p:grpSpPr>
            <a:xfrm>
              <a:off x="1227392" y="2437297"/>
              <a:ext cx="3263085" cy="655232"/>
              <a:chOff x="1227392" y="2437297"/>
              <a:chExt cx="3263085" cy="655232"/>
            </a:xfrm>
          </p:grpSpPr>
          <p:sp>
            <p:nvSpPr>
              <p:cNvPr id="53" name="TextBox 52"/>
              <p:cNvSpPr txBox="1"/>
              <p:nvPr/>
            </p:nvSpPr>
            <p:spPr>
              <a:xfrm>
                <a:off x="1309942" y="2437297"/>
                <a:ext cx="1212833" cy="253916"/>
              </a:xfrm>
              <a:prstGeom prst="rect">
                <a:avLst/>
              </a:prstGeom>
              <a:noFill/>
            </p:spPr>
            <p:txBody>
              <a:bodyPr wrap="none" lIns="0" rtlCol="0">
                <a:spAutoFit/>
              </a:bodyPr>
              <a:lstStyle/>
              <a:p>
                <a:pPr defTabSz="457106"/>
                <a:r>
                  <a:rPr lang="en-GB" sz="1050" b="1" dirty="0" smtClean="0">
                    <a:solidFill>
                      <a:srgbClr val="72B5CC"/>
                    </a:solidFill>
                  </a:rPr>
                  <a:t>ALVLEESKLIER</a:t>
                </a:r>
                <a:endParaRPr lang="en-GB" sz="1050" b="1" dirty="0">
                  <a:solidFill>
                    <a:srgbClr val="72B5CC"/>
                  </a:solidFill>
                </a:endParaRPr>
              </a:p>
            </p:txBody>
          </p:sp>
          <p:grpSp>
            <p:nvGrpSpPr>
              <p:cNvPr id="187" name="Group 186"/>
              <p:cNvGrpSpPr/>
              <p:nvPr/>
            </p:nvGrpSpPr>
            <p:grpSpPr>
              <a:xfrm>
                <a:off x="1307124" y="2668645"/>
                <a:ext cx="3183353" cy="323255"/>
                <a:chOff x="1930400" y="3382349"/>
                <a:chExt cx="4244470" cy="431006"/>
              </a:xfrm>
            </p:grpSpPr>
            <p:sp>
              <p:nvSpPr>
                <p:cNvPr id="171" name="Freeform 170"/>
                <p:cNvSpPr/>
                <p:nvPr/>
              </p:nvSpPr>
              <p:spPr>
                <a:xfrm>
                  <a:off x="1930400" y="3382349"/>
                  <a:ext cx="4165599" cy="350519"/>
                </a:xfrm>
                <a:custGeom>
                  <a:avLst/>
                  <a:gdLst>
                    <a:gd name="connsiteX0" fmla="*/ 0 w 4442460"/>
                    <a:gd name="connsiteY0" fmla="*/ 0 h 1303020"/>
                    <a:gd name="connsiteX1" fmla="*/ 3139440 w 4442460"/>
                    <a:gd name="connsiteY1" fmla="*/ 0 h 1303020"/>
                    <a:gd name="connsiteX2" fmla="*/ 4442460 w 4442460"/>
                    <a:gd name="connsiteY2" fmla="*/ 1303020 h 1303020"/>
                    <a:gd name="connsiteX0" fmla="*/ 0 w 4709160"/>
                    <a:gd name="connsiteY0" fmla="*/ 0 h 350520"/>
                    <a:gd name="connsiteX1" fmla="*/ 3139440 w 4709160"/>
                    <a:gd name="connsiteY1" fmla="*/ 0 h 350520"/>
                    <a:gd name="connsiteX2" fmla="*/ 4709160 w 4709160"/>
                    <a:gd name="connsiteY2" fmla="*/ 350520 h 350520"/>
                    <a:gd name="connsiteX0" fmla="*/ 0 w 4709160"/>
                    <a:gd name="connsiteY0" fmla="*/ 0 h 350520"/>
                    <a:gd name="connsiteX1" fmla="*/ 2967154 w 4709160"/>
                    <a:gd name="connsiteY1" fmla="*/ 0 h 350520"/>
                    <a:gd name="connsiteX2" fmla="*/ 4709160 w 4709160"/>
                    <a:gd name="connsiteY2" fmla="*/ 350520 h 3505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709160" h="350520">
                      <a:moveTo>
                        <a:pt x="0" y="0"/>
                      </a:moveTo>
                      <a:lnTo>
                        <a:pt x="2967154" y="0"/>
                      </a:lnTo>
                      <a:lnTo>
                        <a:pt x="4709160" y="350520"/>
                      </a:lnTo>
                    </a:path>
                  </a:pathLst>
                </a:custGeom>
                <a:noFill/>
                <a:ln w="19050" cap="flat">
                  <a:solidFill>
                    <a:srgbClr val="6675A3"/>
                  </a:solidFill>
                  <a:prstDash val="solid"/>
                  <a:round/>
                  <a:headEnd type="none"/>
                  <a:tailEnd type="oval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rtlCol="0" anchor="ctr"/>
                <a:lstStyle/>
                <a:p>
                  <a:pPr algn="ctr" defTabSz="457106"/>
                  <a:endParaRPr lang="en-GB">
                    <a:solidFill>
                      <a:srgbClr val="001965"/>
                    </a:solidFill>
                  </a:endParaRPr>
                </a:p>
              </p:txBody>
            </p:sp>
            <p:sp>
              <p:nvSpPr>
                <p:cNvPr id="174" name="Oval 173"/>
                <p:cNvSpPr>
                  <a:spLocks noChangeArrowheads="1"/>
                </p:cNvSpPr>
                <p:nvPr/>
              </p:nvSpPr>
              <p:spPr bwMode="auto">
                <a:xfrm>
                  <a:off x="6017435" y="3655920"/>
                  <a:ext cx="157435" cy="157435"/>
                </a:xfrm>
                <a:prstGeom prst="ellipse">
                  <a:avLst/>
                </a:prstGeom>
                <a:solidFill>
                  <a:srgbClr val="6675A3">
                    <a:alpha val="35000"/>
                  </a:srgbClr>
                </a:solidFill>
                <a:ln>
                  <a:noFill/>
                </a:ln>
                <a:extLst/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350">
                    <a:solidFill>
                      <a:srgbClr val="001965"/>
                    </a:solidFill>
                  </a:endParaRPr>
                </a:p>
              </p:txBody>
            </p:sp>
          </p:grpSp>
          <p:grpSp>
            <p:nvGrpSpPr>
              <p:cNvPr id="120" name="Group 119"/>
              <p:cNvGrpSpPr/>
              <p:nvPr/>
            </p:nvGrpSpPr>
            <p:grpSpPr>
              <a:xfrm>
                <a:off x="3427556" y="2565856"/>
                <a:ext cx="368589" cy="361691"/>
                <a:chOff x="4281471" y="3680875"/>
                <a:chExt cx="491452" cy="482254"/>
              </a:xfrm>
            </p:grpSpPr>
            <p:sp>
              <p:nvSpPr>
                <p:cNvPr id="154" name="Freeform 153"/>
                <p:cNvSpPr>
                  <a:spLocks/>
                </p:cNvSpPr>
                <p:nvPr/>
              </p:nvSpPr>
              <p:spPr bwMode="auto">
                <a:xfrm>
                  <a:off x="4281471" y="3680875"/>
                  <a:ext cx="491452" cy="482254"/>
                </a:xfrm>
                <a:custGeom>
                  <a:avLst/>
                  <a:gdLst>
                    <a:gd name="T0" fmla="*/ 414 w 454"/>
                    <a:gd name="T1" fmla="*/ 445 h 445"/>
                    <a:gd name="T2" fmla="*/ 40 w 454"/>
                    <a:gd name="T3" fmla="*/ 445 h 445"/>
                    <a:gd name="T4" fmla="*/ 0 w 454"/>
                    <a:gd name="T5" fmla="*/ 405 h 445"/>
                    <a:gd name="T6" fmla="*/ 0 w 454"/>
                    <a:gd name="T7" fmla="*/ 40 h 445"/>
                    <a:gd name="T8" fmla="*/ 40 w 454"/>
                    <a:gd name="T9" fmla="*/ 0 h 445"/>
                    <a:gd name="T10" fmla="*/ 414 w 454"/>
                    <a:gd name="T11" fmla="*/ 0 h 445"/>
                    <a:gd name="T12" fmla="*/ 454 w 454"/>
                    <a:gd name="T13" fmla="*/ 40 h 445"/>
                    <a:gd name="T14" fmla="*/ 454 w 454"/>
                    <a:gd name="T15" fmla="*/ 405 h 445"/>
                    <a:gd name="T16" fmla="*/ 414 w 454"/>
                    <a:gd name="T17" fmla="*/ 445 h 4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54" h="445">
                      <a:moveTo>
                        <a:pt x="414" y="445"/>
                      </a:moveTo>
                      <a:cubicBezTo>
                        <a:pt x="40" y="445"/>
                        <a:pt x="40" y="445"/>
                        <a:pt x="40" y="445"/>
                      </a:cubicBezTo>
                      <a:cubicBezTo>
                        <a:pt x="18" y="445"/>
                        <a:pt x="0" y="427"/>
                        <a:pt x="0" y="405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18"/>
                        <a:pt x="18" y="0"/>
                        <a:pt x="40" y="0"/>
                      </a:cubicBezTo>
                      <a:cubicBezTo>
                        <a:pt x="414" y="0"/>
                        <a:pt x="414" y="0"/>
                        <a:pt x="414" y="0"/>
                      </a:cubicBezTo>
                      <a:cubicBezTo>
                        <a:pt x="436" y="0"/>
                        <a:pt x="454" y="18"/>
                        <a:pt x="454" y="40"/>
                      </a:cubicBezTo>
                      <a:cubicBezTo>
                        <a:pt x="454" y="405"/>
                        <a:pt x="454" y="405"/>
                        <a:pt x="454" y="405"/>
                      </a:cubicBezTo>
                      <a:cubicBezTo>
                        <a:pt x="454" y="427"/>
                        <a:pt x="436" y="445"/>
                        <a:pt x="414" y="445"/>
                      </a:cubicBezTo>
                      <a:close/>
                    </a:path>
                  </a:pathLst>
                </a:custGeom>
                <a:solidFill>
                  <a:srgbClr val="72B5CC"/>
                </a:solidFill>
                <a:ln>
                  <a:noFill/>
                </a:ln>
                <a:effectLst>
                  <a:innerShdw blurRad="76200" dist="19050" dir="13800000">
                    <a:prstClr val="black">
                      <a:alpha val="16000"/>
                    </a:prstClr>
                  </a:innerShdw>
                </a:effectLst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106"/>
                  <a:endParaRPr lang="en-GB">
                    <a:solidFill>
                      <a:srgbClr val="001965"/>
                    </a:solidFill>
                  </a:endParaRPr>
                </a:p>
              </p:txBody>
            </p:sp>
            <p:sp>
              <p:nvSpPr>
                <p:cNvPr id="49" name="Freeform 22"/>
                <p:cNvSpPr>
                  <a:spLocks/>
                </p:cNvSpPr>
                <p:nvPr/>
              </p:nvSpPr>
              <p:spPr bwMode="auto">
                <a:xfrm>
                  <a:off x="4316666" y="3795391"/>
                  <a:ext cx="421063" cy="253223"/>
                </a:xfrm>
                <a:custGeom>
                  <a:avLst/>
                  <a:gdLst>
                    <a:gd name="T0" fmla="*/ 1289 w 1398"/>
                    <a:gd name="T1" fmla="*/ 18 h 839"/>
                    <a:gd name="T2" fmla="*/ 1235 w 1398"/>
                    <a:gd name="T3" fmla="*/ 18 h 839"/>
                    <a:gd name="T4" fmla="*/ 1151 w 1398"/>
                    <a:gd name="T5" fmla="*/ 28 h 839"/>
                    <a:gd name="T6" fmla="*/ 1085 w 1398"/>
                    <a:gd name="T7" fmla="*/ 40 h 839"/>
                    <a:gd name="T8" fmla="*/ 1005 w 1398"/>
                    <a:gd name="T9" fmla="*/ 67 h 839"/>
                    <a:gd name="T10" fmla="*/ 936 w 1398"/>
                    <a:gd name="T11" fmla="*/ 73 h 839"/>
                    <a:gd name="T12" fmla="*/ 880 w 1398"/>
                    <a:gd name="T13" fmla="*/ 67 h 839"/>
                    <a:gd name="T14" fmla="*/ 777 w 1398"/>
                    <a:gd name="T15" fmla="*/ 84 h 839"/>
                    <a:gd name="T16" fmla="*/ 686 w 1398"/>
                    <a:gd name="T17" fmla="*/ 104 h 839"/>
                    <a:gd name="T18" fmla="*/ 577 w 1398"/>
                    <a:gd name="T19" fmla="*/ 114 h 839"/>
                    <a:gd name="T20" fmla="*/ 519 w 1398"/>
                    <a:gd name="T21" fmla="*/ 114 h 839"/>
                    <a:gd name="T22" fmla="*/ 456 w 1398"/>
                    <a:gd name="T23" fmla="*/ 124 h 839"/>
                    <a:gd name="T24" fmla="*/ 365 w 1398"/>
                    <a:gd name="T25" fmla="*/ 124 h 839"/>
                    <a:gd name="T26" fmla="*/ 261 w 1398"/>
                    <a:gd name="T27" fmla="*/ 149 h 839"/>
                    <a:gd name="T28" fmla="*/ 164 w 1398"/>
                    <a:gd name="T29" fmla="*/ 200 h 839"/>
                    <a:gd name="T30" fmla="*/ 120 w 1398"/>
                    <a:gd name="T31" fmla="*/ 237 h 839"/>
                    <a:gd name="T32" fmla="*/ 33 w 1398"/>
                    <a:gd name="T33" fmla="*/ 405 h 839"/>
                    <a:gd name="T34" fmla="*/ 20 w 1398"/>
                    <a:gd name="T35" fmla="*/ 508 h 839"/>
                    <a:gd name="T36" fmla="*/ 18 w 1398"/>
                    <a:gd name="T37" fmla="*/ 590 h 839"/>
                    <a:gd name="T38" fmla="*/ 73 w 1398"/>
                    <a:gd name="T39" fmla="*/ 728 h 839"/>
                    <a:gd name="T40" fmla="*/ 122 w 1398"/>
                    <a:gd name="T41" fmla="*/ 766 h 839"/>
                    <a:gd name="T42" fmla="*/ 267 w 1398"/>
                    <a:gd name="T43" fmla="*/ 828 h 839"/>
                    <a:gd name="T44" fmla="*/ 440 w 1398"/>
                    <a:gd name="T45" fmla="*/ 809 h 839"/>
                    <a:gd name="T46" fmla="*/ 526 w 1398"/>
                    <a:gd name="T47" fmla="*/ 745 h 839"/>
                    <a:gd name="T48" fmla="*/ 543 w 1398"/>
                    <a:gd name="T49" fmla="*/ 629 h 839"/>
                    <a:gd name="T50" fmla="*/ 525 w 1398"/>
                    <a:gd name="T51" fmla="*/ 532 h 839"/>
                    <a:gd name="T52" fmla="*/ 671 w 1398"/>
                    <a:gd name="T53" fmla="*/ 485 h 839"/>
                    <a:gd name="T54" fmla="*/ 738 w 1398"/>
                    <a:gd name="T55" fmla="*/ 460 h 839"/>
                    <a:gd name="T56" fmla="*/ 775 w 1398"/>
                    <a:gd name="T57" fmla="*/ 440 h 839"/>
                    <a:gd name="T58" fmla="*/ 888 w 1398"/>
                    <a:gd name="T59" fmla="*/ 394 h 839"/>
                    <a:gd name="T60" fmla="*/ 965 w 1398"/>
                    <a:gd name="T61" fmla="*/ 353 h 839"/>
                    <a:gd name="T62" fmla="*/ 1037 w 1398"/>
                    <a:gd name="T63" fmla="*/ 321 h 839"/>
                    <a:gd name="T64" fmla="*/ 1143 w 1398"/>
                    <a:gd name="T65" fmla="*/ 283 h 839"/>
                    <a:gd name="T66" fmla="*/ 1256 w 1398"/>
                    <a:gd name="T67" fmla="*/ 247 h 839"/>
                    <a:gd name="T68" fmla="*/ 1333 w 1398"/>
                    <a:gd name="T69" fmla="*/ 187 h 839"/>
                    <a:gd name="T70" fmla="*/ 1389 w 1398"/>
                    <a:gd name="T71" fmla="*/ 32 h 8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398" h="839">
                      <a:moveTo>
                        <a:pt x="1389" y="32"/>
                      </a:moveTo>
                      <a:cubicBezTo>
                        <a:pt x="1376" y="6"/>
                        <a:pt x="1332" y="0"/>
                        <a:pt x="1289" y="18"/>
                      </a:cubicBezTo>
                      <a:cubicBezTo>
                        <a:pt x="1280" y="17"/>
                        <a:pt x="1271" y="16"/>
                        <a:pt x="1262" y="16"/>
                      </a:cubicBezTo>
                      <a:cubicBezTo>
                        <a:pt x="1252" y="16"/>
                        <a:pt x="1243" y="17"/>
                        <a:pt x="1235" y="18"/>
                      </a:cubicBezTo>
                      <a:cubicBezTo>
                        <a:pt x="1227" y="17"/>
                        <a:pt x="1218" y="16"/>
                        <a:pt x="1208" y="16"/>
                      </a:cubicBezTo>
                      <a:cubicBezTo>
                        <a:pt x="1187" y="16"/>
                        <a:pt x="1167" y="20"/>
                        <a:pt x="1151" y="28"/>
                      </a:cubicBezTo>
                      <a:cubicBezTo>
                        <a:pt x="1135" y="30"/>
                        <a:pt x="1120" y="35"/>
                        <a:pt x="1109" y="42"/>
                      </a:cubicBezTo>
                      <a:cubicBezTo>
                        <a:pt x="1101" y="41"/>
                        <a:pt x="1093" y="40"/>
                        <a:pt x="1085" y="40"/>
                      </a:cubicBezTo>
                      <a:cubicBezTo>
                        <a:pt x="1053" y="40"/>
                        <a:pt x="1024" y="51"/>
                        <a:pt x="1008" y="67"/>
                      </a:cubicBezTo>
                      <a:cubicBezTo>
                        <a:pt x="1007" y="67"/>
                        <a:pt x="1006" y="67"/>
                        <a:pt x="1005" y="67"/>
                      </a:cubicBezTo>
                      <a:cubicBezTo>
                        <a:pt x="988" y="67"/>
                        <a:pt x="972" y="70"/>
                        <a:pt x="958" y="75"/>
                      </a:cubicBezTo>
                      <a:cubicBezTo>
                        <a:pt x="951" y="74"/>
                        <a:pt x="943" y="73"/>
                        <a:pt x="936" y="73"/>
                      </a:cubicBezTo>
                      <a:cubicBezTo>
                        <a:pt x="931" y="73"/>
                        <a:pt x="927" y="73"/>
                        <a:pt x="923" y="73"/>
                      </a:cubicBezTo>
                      <a:cubicBezTo>
                        <a:pt x="911" y="69"/>
                        <a:pt x="896" y="67"/>
                        <a:pt x="880" y="67"/>
                      </a:cubicBezTo>
                      <a:cubicBezTo>
                        <a:pt x="852" y="67"/>
                        <a:pt x="826" y="75"/>
                        <a:pt x="809" y="88"/>
                      </a:cubicBezTo>
                      <a:cubicBezTo>
                        <a:pt x="799" y="85"/>
                        <a:pt x="789" y="84"/>
                        <a:pt x="777" y="84"/>
                      </a:cubicBezTo>
                      <a:cubicBezTo>
                        <a:pt x="749" y="84"/>
                        <a:pt x="723" y="92"/>
                        <a:pt x="707" y="105"/>
                      </a:cubicBezTo>
                      <a:cubicBezTo>
                        <a:pt x="700" y="104"/>
                        <a:pt x="693" y="104"/>
                        <a:pt x="686" y="104"/>
                      </a:cubicBezTo>
                      <a:cubicBezTo>
                        <a:pt x="661" y="104"/>
                        <a:pt x="637" y="110"/>
                        <a:pt x="621" y="121"/>
                      </a:cubicBezTo>
                      <a:cubicBezTo>
                        <a:pt x="608" y="116"/>
                        <a:pt x="593" y="114"/>
                        <a:pt x="577" y="114"/>
                      </a:cubicBezTo>
                      <a:cubicBezTo>
                        <a:pt x="567" y="114"/>
                        <a:pt x="557" y="115"/>
                        <a:pt x="548" y="117"/>
                      </a:cubicBezTo>
                      <a:cubicBezTo>
                        <a:pt x="539" y="115"/>
                        <a:pt x="529" y="114"/>
                        <a:pt x="519" y="114"/>
                      </a:cubicBezTo>
                      <a:cubicBezTo>
                        <a:pt x="499" y="114"/>
                        <a:pt x="481" y="118"/>
                        <a:pt x="466" y="124"/>
                      </a:cubicBezTo>
                      <a:cubicBezTo>
                        <a:pt x="463" y="124"/>
                        <a:pt x="460" y="124"/>
                        <a:pt x="456" y="124"/>
                      </a:cubicBezTo>
                      <a:cubicBezTo>
                        <a:pt x="439" y="124"/>
                        <a:pt x="424" y="127"/>
                        <a:pt x="411" y="132"/>
                      </a:cubicBezTo>
                      <a:cubicBezTo>
                        <a:pt x="397" y="127"/>
                        <a:pt x="382" y="124"/>
                        <a:pt x="365" y="124"/>
                      </a:cubicBezTo>
                      <a:cubicBezTo>
                        <a:pt x="339" y="124"/>
                        <a:pt x="316" y="131"/>
                        <a:pt x="299" y="142"/>
                      </a:cubicBezTo>
                      <a:cubicBezTo>
                        <a:pt x="287" y="142"/>
                        <a:pt x="274" y="145"/>
                        <a:pt x="261" y="149"/>
                      </a:cubicBezTo>
                      <a:cubicBezTo>
                        <a:pt x="237" y="157"/>
                        <a:pt x="217" y="169"/>
                        <a:pt x="204" y="184"/>
                      </a:cubicBezTo>
                      <a:cubicBezTo>
                        <a:pt x="191" y="187"/>
                        <a:pt x="177" y="192"/>
                        <a:pt x="164" y="200"/>
                      </a:cubicBezTo>
                      <a:cubicBezTo>
                        <a:pt x="148" y="209"/>
                        <a:pt x="135" y="221"/>
                        <a:pt x="126" y="233"/>
                      </a:cubicBezTo>
                      <a:cubicBezTo>
                        <a:pt x="124" y="234"/>
                        <a:pt x="122" y="236"/>
                        <a:pt x="120" y="237"/>
                      </a:cubicBezTo>
                      <a:cubicBezTo>
                        <a:pt x="78" y="262"/>
                        <a:pt x="56" y="303"/>
                        <a:pt x="70" y="330"/>
                      </a:cubicBezTo>
                      <a:cubicBezTo>
                        <a:pt x="42" y="353"/>
                        <a:pt x="27" y="383"/>
                        <a:pt x="33" y="405"/>
                      </a:cubicBezTo>
                      <a:cubicBezTo>
                        <a:pt x="33" y="406"/>
                        <a:pt x="32" y="406"/>
                        <a:pt x="32" y="407"/>
                      </a:cubicBezTo>
                      <a:cubicBezTo>
                        <a:pt x="6" y="444"/>
                        <a:pt x="1" y="487"/>
                        <a:pt x="20" y="508"/>
                      </a:cubicBezTo>
                      <a:cubicBezTo>
                        <a:pt x="5" y="539"/>
                        <a:pt x="5" y="571"/>
                        <a:pt x="20" y="588"/>
                      </a:cubicBezTo>
                      <a:cubicBezTo>
                        <a:pt x="19" y="589"/>
                        <a:pt x="18" y="589"/>
                        <a:pt x="18" y="590"/>
                      </a:cubicBezTo>
                      <a:cubicBezTo>
                        <a:pt x="0" y="611"/>
                        <a:pt x="9" y="649"/>
                        <a:pt x="37" y="680"/>
                      </a:cubicBezTo>
                      <a:cubicBezTo>
                        <a:pt x="43" y="696"/>
                        <a:pt x="55" y="714"/>
                        <a:pt x="73" y="728"/>
                      </a:cubicBezTo>
                      <a:cubicBezTo>
                        <a:pt x="83" y="737"/>
                        <a:pt x="94" y="744"/>
                        <a:pt x="105" y="749"/>
                      </a:cubicBezTo>
                      <a:cubicBezTo>
                        <a:pt x="110" y="755"/>
                        <a:pt x="115" y="761"/>
                        <a:pt x="122" y="766"/>
                      </a:cubicBezTo>
                      <a:cubicBezTo>
                        <a:pt x="148" y="789"/>
                        <a:pt x="179" y="799"/>
                        <a:pt x="203" y="795"/>
                      </a:cubicBezTo>
                      <a:cubicBezTo>
                        <a:pt x="217" y="810"/>
                        <a:pt x="240" y="822"/>
                        <a:pt x="267" y="828"/>
                      </a:cubicBezTo>
                      <a:cubicBezTo>
                        <a:pt x="295" y="835"/>
                        <a:pt x="321" y="834"/>
                        <a:pt x="341" y="827"/>
                      </a:cubicBezTo>
                      <a:cubicBezTo>
                        <a:pt x="364" y="839"/>
                        <a:pt x="403" y="832"/>
                        <a:pt x="440" y="809"/>
                      </a:cubicBezTo>
                      <a:cubicBezTo>
                        <a:pt x="459" y="796"/>
                        <a:pt x="475" y="781"/>
                        <a:pt x="484" y="765"/>
                      </a:cubicBezTo>
                      <a:cubicBezTo>
                        <a:pt x="498" y="761"/>
                        <a:pt x="513" y="754"/>
                        <a:pt x="526" y="745"/>
                      </a:cubicBezTo>
                      <a:cubicBezTo>
                        <a:pt x="572" y="716"/>
                        <a:pt x="594" y="672"/>
                        <a:pt x="578" y="646"/>
                      </a:cubicBezTo>
                      <a:cubicBezTo>
                        <a:pt x="571" y="635"/>
                        <a:pt x="559" y="630"/>
                        <a:pt x="543" y="629"/>
                      </a:cubicBezTo>
                      <a:cubicBezTo>
                        <a:pt x="552" y="605"/>
                        <a:pt x="533" y="571"/>
                        <a:pt x="497" y="547"/>
                      </a:cubicBezTo>
                      <a:cubicBezTo>
                        <a:pt x="507" y="543"/>
                        <a:pt x="516" y="538"/>
                        <a:pt x="525" y="532"/>
                      </a:cubicBezTo>
                      <a:cubicBezTo>
                        <a:pt x="545" y="532"/>
                        <a:pt x="569" y="524"/>
                        <a:pt x="590" y="509"/>
                      </a:cubicBezTo>
                      <a:cubicBezTo>
                        <a:pt x="613" y="514"/>
                        <a:pt x="644" y="506"/>
                        <a:pt x="671" y="485"/>
                      </a:cubicBezTo>
                      <a:cubicBezTo>
                        <a:pt x="671" y="485"/>
                        <a:pt x="671" y="485"/>
                        <a:pt x="671" y="485"/>
                      </a:cubicBezTo>
                      <a:cubicBezTo>
                        <a:pt x="692" y="485"/>
                        <a:pt x="716" y="477"/>
                        <a:pt x="738" y="460"/>
                      </a:cubicBezTo>
                      <a:cubicBezTo>
                        <a:pt x="739" y="460"/>
                        <a:pt x="739" y="460"/>
                        <a:pt x="740" y="459"/>
                      </a:cubicBezTo>
                      <a:cubicBezTo>
                        <a:pt x="752" y="455"/>
                        <a:pt x="764" y="449"/>
                        <a:pt x="775" y="440"/>
                      </a:cubicBezTo>
                      <a:cubicBezTo>
                        <a:pt x="785" y="433"/>
                        <a:pt x="794" y="424"/>
                        <a:pt x="801" y="415"/>
                      </a:cubicBezTo>
                      <a:cubicBezTo>
                        <a:pt x="824" y="423"/>
                        <a:pt x="858" y="415"/>
                        <a:pt x="888" y="394"/>
                      </a:cubicBezTo>
                      <a:cubicBezTo>
                        <a:pt x="907" y="392"/>
                        <a:pt x="928" y="384"/>
                        <a:pt x="947" y="369"/>
                      </a:cubicBezTo>
                      <a:cubicBezTo>
                        <a:pt x="954" y="364"/>
                        <a:pt x="960" y="359"/>
                        <a:pt x="965" y="353"/>
                      </a:cubicBezTo>
                      <a:cubicBezTo>
                        <a:pt x="985" y="352"/>
                        <a:pt x="1007" y="344"/>
                        <a:pt x="1028" y="329"/>
                      </a:cubicBezTo>
                      <a:cubicBezTo>
                        <a:pt x="1031" y="326"/>
                        <a:pt x="1034" y="324"/>
                        <a:pt x="1037" y="321"/>
                      </a:cubicBezTo>
                      <a:cubicBezTo>
                        <a:pt x="1051" y="318"/>
                        <a:pt x="1065" y="312"/>
                        <a:pt x="1079" y="303"/>
                      </a:cubicBezTo>
                      <a:cubicBezTo>
                        <a:pt x="1098" y="304"/>
                        <a:pt x="1121" y="297"/>
                        <a:pt x="1143" y="283"/>
                      </a:cubicBezTo>
                      <a:cubicBezTo>
                        <a:pt x="1157" y="283"/>
                        <a:pt x="1172" y="280"/>
                        <a:pt x="1187" y="272"/>
                      </a:cubicBezTo>
                      <a:cubicBezTo>
                        <a:pt x="1208" y="272"/>
                        <a:pt x="1233" y="264"/>
                        <a:pt x="1256" y="247"/>
                      </a:cubicBezTo>
                      <a:cubicBezTo>
                        <a:pt x="1271" y="236"/>
                        <a:pt x="1283" y="222"/>
                        <a:pt x="1291" y="208"/>
                      </a:cubicBezTo>
                      <a:cubicBezTo>
                        <a:pt x="1305" y="204"/>
                        <a:pt x="1320" y="197"/>
                        <a:pt x="1333" y="187"/>
                      </a:cubicBezTo>
                      <a:cubicBezTo>
                        <a:pt x="1372" y="159"/>
                        <a:pt x="1389" y="117"/>
                        <a:pt x="1375" y="91"/>
                      </a:cubicBezTo>
                      <a:cubicBezTo>
                        <a:pt x="1391" y="72"/>
                        <a:pt x="1398" y="50"/>
                        <a:pt x="1389" y="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106"/>
                  <a:endParaRPr lang="en-GB">
                    <a:solidFill>
                      <a:srgbClr val="001965"/>
                    </a:solidFill>
                  </a:endParaRPr>
                </a:p>
              </p:txBody>
            </p:sp>
          </p:grpSp>
          <p:sp>
            <p:nvSpPr>
              <p:cNvPr id="108" name="Rectangle 107"/>
              <p:cNvSpPr/>
              <p:nvPr/>
            </p:nvSpPr>
            <p:spPr>
              <a:xfrm>
                <a:off x="1227392" y="2677031"/>
                <a:ext cx="2188798" cy="4154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457106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B7FF"/>
                  </a:buClr>
                  <a:buSzPct val="120000"/>
                  <a:defRPr/>
                </a:pPr>
                <a:r>
                  <a:rPr lang="en-GB" sz="1050" dirty="0">
                    <a:solidFill>
                      <a:srgbClr val="000000"/>
                    </a:solidFill>
                  </a:rPr>
                  <a:t>Glucose-</a:t>
                </a:r>
                <a:r>
                  <a:rPr lang="en-GB" sz="1050" dirty="0" err="1">
                    <a:solidFill>
                      <a:srgbClr val="000000"/>
                    </a:solidFill>
                  </a:rPr>
                  <a:t>afhankelijke</a:t>
                </a:r>
                <a:r>
                  <a:rPr lang="en-GB" sz="1050" dirty="0">
                    <a:solidFill>
                      <a:srgbClr val="000000"/>
                    </a:solidFill>
                  </a:rPr>
                  <a:t> </a:t>
                </a:r>
                <a:r>
                  <a:rPr lang="en-GB" sz="1050" dirty="0" err="1" smtClean="0">
                    <a:solidFill>
                      <a:srgbClr val="000000"/>
                    </a:solidFill>
                  </a:rPr>
                  <a:t>insuline</a:t>
                </a:r>
                <a:r>
                  <a:rPr lang="en-GB" sz="1050" dirty="0" smtClean="0">
                    <a:solidFill>
                      <a:srgbClr val="000000"/>
                    </a:solidFill>
                  </a:rPr>
                  <a:t>- </a:t>
                </a:r>
                <a:r>
                  <a:rPr lang="en-GB" sz="1050" dirty="0">
                    <a:solidFill>
                      <a:srgbClr val="000000"/>
                    </a:solidFill>
                  </a:rPr>
                  <a:t>en </a:t>
                </a:r>
                <a:r>
                  <a:rPr lang="en-GB" sz="1050" dirty="0" err="1" smtClean="0">
                    <a:solidFill>
                      <a:srgbClr val="000000"/>
                    </a:solidFill>
                  </a:rPr>
                  <a:t>glucagonsecretie</a:t>
                </a:r>
                <a:endParaRPr lang="en-GB" sz="105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1227392" y="2968311"/>
              <a:ext cx="3263085" cy="1270700"/>
              <a:chOff x="1227392" y="2968311"/>
              <a:chExt cx="3263085" cy="1270700"/>
            </a:xfrm>
          </p:grpSpPr>
          <p:grpSp>
            <p:nvGrpSpPr>
              <p:cNvPr id="186" name="Group 185"/>
              <p:cNvGrpSpPr/>
              <p:nvPr/>
            </p:nvGrpSpPr>
            <p:grpSpPr>
              <a:xfrm>
                <a:off x="1307124" y="2968311"/>
                <a:ext cx="3183353" cy="998964"/>
                <a:chOff x="1930400" y="3781904"/>
                <a:chExt cx="4244470" cy="1331952"/>
              </a:xfrm>
            </p:grpSpPr>
            <p:sp>
              <p:nvSpPr>
                <p:cNvPr id="172" name="Freeform 171"/>
                <p:cNvSpPr/>
                <p:nvPr/>
              </p:nvSpPr>
              <p:spPr>
                <a:xfrm>
                  <a:off x="1930400" y="3862051"/>
                  <a:ext cx="4165599" cy="1251805"/>
                </a:xfrm>
                <a:custGeom>
                  <a:avLst/>
                  <a:gdLst>
                    <a:gd name="connsiteX0" fmla="*/ 0 w 4442460"/>
                    <a:gd name="connsiteY0" fmla="*/ 0 h 1303020"/>
                    <a:gd name="connsiteX1" fmla="*/ 3139440 w 4442460"/>
                    <a:gd name="connsiteY1" fmla="*/ 0 h 1303020"/>
                    <a:gd name="connsiteX2" fmla="*/ 4442460 w 4442460"/>
                    <a:gd name="connsiteY2" fmla="*/ 1303020 h 1303020"/>
                    <a:gd name="connsiteX0" fmla="*/ 0 w 4709160"/>
                    <a:gd name="connsiteY0" fmla="*/ 0 h 350520"/>
                    <a:gd name="connsiteX1" fmla="*/ 3139440 w 4709160"/>
                    <a:gd name="connsiteY1" fmla="*/ 0 h 350520"/>
                    <a:gd name="connsiteX2" fmla="*/ 4709160 w 4709160"/>
                    <a:gd name="connsiteY2" fmla="*/ 350520 h 350520"/>
                    <a:gd name="connsiteX0" fmla="*/ 0 w 4709160"/>
                    <a:gd name="connsiteY0" fmla="*/ 1691640 h 1691640"/>
                    <a:gd name="connsiteX1" fmla="*/ 3139440 w 4709160"/>
                    <a:gd name="connsiteY1" fmla="*/ 1691640 h 1691640"/>
                    <a:gd name="connsiteX2" fmla="*/ 4709160 w 4709160"/>
                    <a:gd name="connsiteY2" fmla="*/ 0 h 1691640"/>
                    <a:gd name="connsiteX0" fmla="*/ 0 w 4709160"/>
                    <a:gd name="connsiteY0" fmla="*/ 1691640 h 1699260"/>
                    <a:gd name="connsiteX1" fmla="*/ 2949925 w 4709160"/>
                    <a:gd name="connsiteY1" fmla="*/ 1699260 h 1699260"/>
                    <a:gd name="connsiteX2" fmla="*/ 4709160 w 4709160"/>
                    <a:gd name="connsiteY2" fmla="*/ 0 h 16992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709160" h="1699260">
                      <a:moveTo>
                        <a:pt x="0" y="1691640"/>
                      </a:moveTo>
                      <a:lnTo>
                        <a:pt x="2949925" y="1699260"/>
                      </a:lnTo>
                      <a:lnTo>
                        <a:pt x="4709160" y="0"/>
                      </a:lnTo>
                    </a:path>
                  </a:pathLst>
                </a:custGeom>
                <a:noFill/>
                <a:ln w="19050" cap="flat">
                  <a:solidFill>
                    <a:srgbClr val="6675A3"/>
                  </a:solidFill>
                  <a:prstDash val="solid"/>
                  <a:round/>
                  <a:headEnd type="none"/>
                  <a:tailEnd type="oval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rtlCol="0" anchor="ctr"/>
                <a:lstStyle/>
                <a:p>
                  <a:pPr algn="ctr" defTabSz="457106"/>
                  <a:endParaRPr lang="en-GB" dirty="0">
                    <a:solidFill>
                      <a:srgbClr val="001965"/>
                    </a:solidFill>
                  </a:endParaRPr>
                </a:p>
              </p:txBody>
            </p:sp>
            <p:sp>
              <p:nvSpPr>
                <p:cNvPr id="175" name="Oval 174"/>
                <p:cNvSpPr>
                  <a:spLocks noChangeArrowheads="1"/>
                </p:cNvSpPr>
                <p:nvPr/>
              </p:nvSpPr>
              <p:spPr bwMode="auto">
                <a:xfrm>
                  <a:off x="6017435" y="3781904"/>
                  <a:ext cx="157435" cy="157435"/>
                </a:xfrm>
                <a:prstGeom prst="ellipse">
                  <a:avLst/>
                </a:prstGeom>
                <a:solidFill>
                  <a:srgbClr val="6675A3">
                    <a:alpha val="35000"/>
                  </a:srgbClr>
                </a:solidFill>
                <a:ln>
                  <a:noFill/>
                </a:ln>
                <a:extLst/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350">
                    <a:solidFill>
                      <a:srgbClr val="001965"/>
                    </a:solidFill>
                  </a:endParaRPr>
                </a:p>
              </p:txBody>
            </p:sp>
          </p:grpSp>
          <p:sp>
            <p:nvSpPr>
              <p:cNvPr id="54" name="TextBox 53"/>
              <p:cNvSpPr txBox="1"/>
              <p:nvPr/>
            </p:nvSpPr>
            <p:spPr>
              <a:xfrm>
                <a:off x="1307124" y="3718200"/>
                <a:ext cx="1628010" cy="253916"/>
              </a:xfrm>
              <a:prstGeom prst="rect">
                <a:avLst/>
              </a:prstGeom>
              <a:noFill/>
            </p:spPr>
            <p:txBody>
              <a:bodyPr wrap="none" lIns="0" rtlCol="0">
                <a:spAutoFit/>
              </a:bodyPr>
              <a:lstStyle/>
              <a:p>
                <a:pPr defTabSz="457106"/>
                <a:r>
                  <a:rPr lang="en-GB" sz="1050" b="1" dirty="0" smtClean="0">
                    <a:solidFill>
                      <a:srgbClr val="72B5CC"/>
                    </a:solidFill>
                  </a:rPr>
                  <a:t>MAAGDARMSTELSEL</a:t>
                </a:r>
                <a:endParaRPr lang="en-GB" sz="1050" b="1" dirty="0">
                  <a:solidFill>
                    <a:srgbClr val="72B5CC"/>
                  </a:solidFill>
                </a:endParaRPr>
              </a:p>
            </p:txBody>
          </p:sp>
          <p:grpSp>
            <p:nvGrpSpPr>
              <p:cNvPr id="119" name="Group 118"/>
              <p:cNvGrpSpPr/>
              <p:nvPr/>
            </p:nvGrpSpPr>
            <p:grpSpPr>
              <a:xfrm>
                <a:off x="3416190" y="3488342"/>
                <a:ext cx="368589" cy="361691"/>
                <a:chOff x="4548662" y="5189986"/>
                <a:chExt cx="491452" cy="482254"/>
              </a:xfrm>
            </p:grpSpPr>
            <p:sp>
              <p:nvSpPr>
                <p:cNvPr id="147" name="Freeform 146"/>
                <p:cNvSpPr>
                  <a:spLocks/>
                </p:cNvSpPr>
                <p:nvPr/>
              </p:nvSpPr>
              <p:spPr bwMode="auto">
                <a:xfrm>
                  <a:off x="4548662" y="5189986"/>
                  <a:ext cx="491452" cy="482254"/>
                </a:xfrm>
                <a:custGeom>
                  <a:avLst/>
                  <a:gdLst>
                    <a:gd name="T0" fmla="*/ 414 w 454"/>
                    <a:gd name="T1" fmla="*/ 445 h 445"/>
                    <a:gd name="T2" fmla="*/ 40 w 454"/>
                    <a:gd name="T3" fmla="*/ 445 h 445"/>
                    <a:gd name="T4" fmla="*/ 0 w 454"/>
                    <a:gd name="T5" fmla="*/ 405 h 445"/>
                    <a:gd name="T6" fmla="*/ 0 w 454"/>
                    <a:gd name="T7" fmla="*/ 40 h 445"/>
                    <a:gd name="T8" fmla="*/ 40 w 454"/>
                    <a:gd name="T9" fmla="*/ 0 h 445"/>
                    <a:gd name="T10" fmla="*/ 414 w 454"/>
                    <a:gd name="T11" fmla="*/ 0 h 445"/>
                    <a:gd name="T12" fmla="*/ 454 w 454"/>
                    <a:gd name="T13" fmla="*/ 40 h 445"/>
                    <a:gd name="T14" fmla="*/ 454 w 454"/>
                    <a:gd name="T15" fmla="*/ 405 h 445"/>
                    <a:gd name="T16" fmla="*/ 414 w 454"/>
                    <a:gd name="T17" fmla="*/ 445 h 4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54" h="445">
                      <a:moveTo>
                        <a:pt x="414" y="445"/>
                      </a:moveTo>
                      <a:cubicBezTo>
                        <a:pt x="40" y="445"/>
                        <a:pt x="40" y="445"/>
                        <a:pt x="40" y="445"/>
                      </a:cubicBezTo>
                      <a:cubicBezTo>
                        <a:pt x="18" y="445"/>
                        <a:pt x="0" y="427"/>
                        <a:pt x="0" y="405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18"/>
                        <a:pt x="18" y="0"/>
                        <a:pt x="40" y="0"/>
                      </a:cubicBezTo>
                      <a:cubicBezTo>
                        <a:pt x="414" y="0"/>
                        <a:pt x="414" y="0"/>
                        <a:pt x="414" y="0"/>
                      </a:cubicBezTo>
                      <a:cubicBezTo>
                        <a:pt x="436" y="0"/>
                        <a:pt x="454" y="18"/>
                        <a:pt x="454" y="40"/>
                      </a:cubicBezTo>
                      <a:cubicBezTo>
                        <a:pt x="454" y="405"/>
                        <a:pt x="454" y="405"/>
                        <a:pt x="454" y="405"/>
                      </a:cubicBezTo>
                      <a:cubicBezTo>
                        <a:pt x="454" y="427"/>
                        <a:pt x="436" y="445"/>
                        <a:pt x="414" y="445"/>
                      </a:cubicBezTo>
                      <a:close/>
                    </a:path>
                  </a:pathLst>
                </a:custGeom>
                <a:solidFill>
                  <a:srgbClr val="72B5CC"/>
                </a:solidFill>
                <a:ln>
                  <a:noFill/>
                </a:ln>
                <a:effectLst>
                  <a:innerShdw blurRad="76200" dist="19050" dir="13800000">
                    <a:prstClr val="black">
                      <a:alpha val="16000"/>
                    </a:prstClr>
                  </a:innerShdw>
                </a:effectLst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106"/>
                  <a:endParaRPr lang="en-GB">
                    <a:solidFill>
                      <a:srgbClr val="001965"/>
                    </a:solidFill>
                  </a:endParaRPr>
                </a:p>
              </p:txBody>
            </p:sp>
            <p:sp>
              <p:nvSpPr>
                <p:cNvPr id="58" name="Freeform 26"/>
                <p:cNvSpPr>
                  <a:spLocks/>
                </p:cNvSpPr>
                <p:nvPr/>
              </p:nvSpPr>
              <p:spPr bwMode="auto">
                <a:xfrm>
                  <a:off x="4606964" y="5237579"/>
                  <a:ext cx="374849" cy="387068"/>
                </a:xfrm>
                <a:custGeom>
                  <a:avLst/>
                  <a:gdLst>
                    <a:gd name="T0" fmla="*/ 465 w 478"/>
                    <a:gd name="T1" fmla="*/ 219 h 494"/>
                    <a:gd name="T2" fmla="*/ 478 w 478"/>
                    <a:gd name="T3" fmla="*/ 185 h 494"/>
                    <a:gd name="T4" fmla="*/ 475 w 478"/>
                    <a:gd name="T5" fmla="*/ 117 h 494"/>
                    <a:gd name="T6" fmla="*/ 458 w 478"/>
                    <a:gd name="T7" fmla="*/ 82 h 494"/>
                    <a:gd name="T8" fmla="*/ 458 w 478"/>
                    <a:gd name="T9" fmla="*/ 38 h 494"/>
                    <a:gd name="T10" fmla="*/ 386 w 478"/>
                    <a:gd name="T11" fmla="*/ 14 h 494"/>
                    <a:gd name="T12" fmla="*/ 326 w 478"/>
                    <a:gd name="T13" fmla="*/ 19 h 494"/>
                    <a:gd name="T14" fmla="*/ 282 w 478"/>
                    <a:gd name="T15" fmla="*/ 59 h 494"/>
                    <a:gd name="T16" fmla="*/ 266 w 478"/>
                    <a:gd name="T17" fmla="*/ 76 h 494"/>
                    <a:gd name="T18" fmla="*/ 245 w 478"/>
                    <a:gd name="T19" fmla="*/ 76 h 494"/>
                    <a:gd name="T20" fmla="*/ 225 w 478"/>
                    <a:gd name="T21" fmla="*/ 84 h 494"/>
                    <a:gd name="T22" fmla="*/ 204 w 478"/>
                    <a:gd name="T23" fmla="*/ 73 h 494"/>
                    <a:gd name="T24" fmla="*/ 163 w 478"/>
                    <a:gd name="T25" fmla="*/ 55 h 494"/>
                    <a:gd name="T26" fmla="*/ 124 w 478"/>
                    <a:gd name="T27" fmla="*/ 47 h 494"/>
                    <a:gd name="T28" fmla="*/ 70 w 478"/>
                    <a:gd name="T29" fmla="*/ 21 h 494"/>
                    <a:gd name="T30" fmla="*/ 0 w 478"/>
                    <a:gd name="T31" fmla="*/ 122 h 494"/>
                    <a:gd name="T32" fmla="*/ 10 w 478"/>
                    <a:gd name="T33" fmla="*/ 154 h 494"/>
                    <a:gd name="T34" fmla="*/ 0 w 478"/>
                    <a:gd name="T35" fmla="*/ 187 h 494"/>
                    <a:gd name="T36" fmla="*/ 0 w 478"/>
                    <a:gd name="T37" fmla="*/ 249 h 494"/>
                    <a:gd name="T38" fmla="*/ 10 w 478"/>
                    <a:gd name="T39" fmla="*/ 281 h 494"/>
                    <a:gd name="T40" fmla="*/ 0 w 478"/>
                    <a:gd name="T41" fmla="*/ 313 h 494"/>
                    <a:gd name="T42" fmla="*/ 104 w 478"/>
                    <a:gd name="T43" fmla="*/ 313 h 494"/>
                    <a:gd name="T44" fmla="*/ 104 w 478"/>
                    <a:gd name="T45" fmla="*/ 250 h 494"/>
                    <a:gd name="T46" fmla="*/ 93 w 478"/>
                    <a:gd name="T47" fmla="*/ 217 h 494"/>
                    <a:gd name="T48" fmla="*/ 93 w 478"/>
                    <a:gd name="T49" fmla="*/ 154 h 494"/>
                    <a:gd name="T50" fmla="*/ 105 w 478"/>
                    <a:gd name="T51" fmla="*/ 141 h 494"/>
                    <a:gd name="T52" fmla="*/ 146 w 478"/>
                    <a:gd name="T53" fmla="*/ 149 h 494"/>
                    <a:gd name="T54" fmla="*/ 180 w 478"/>
                    <a:gd name="T55" fmla="*/ 175 h 494"/>
                    <a:gd name="T56" fmla="*/ 263 w 478"/>
                    <a:gd name="T57" fmla="*/ 178 h 494"/>
                    <a:gd name="T58" fmla="*/ 342 w 478"/>
                    <a:gd name="T59" fmla="*/ 143 h 494"/>
                    <a:gd name="T60" fmla="*/ 364 w 478"/>
                    <a:gd name="T61" fmla="*/ 111 h 494"/>
                    <a:gd name="T62" fmla="*/ 372 w 478"/>
                    <a:gd name="T63" fmla="*/ 127 h 494"/>
                    <a:gd name="T64" fmla="*/ 374 w 478"/>
                    <a:gd name="T65" fmla="*/ 184 h 494"/>
                    <a:gd name="T66" fmla="*/ 383 w 478"/>
                    <a:gd name="T67" fmla="*/ 214 h 494"/>
                    <a:gd name="T68" fmla="*/ 370 w 478"/>
                    <a:gd name="T69" fmla="*/ 244 h 494"/>
                    <a:gd name="T70" fmla="*/ 362 w 478"/>
                    <a:gd name="T71" fmla="*/ 299 h 494"/>
                    <a:gd name="T72" fmla="*/ 352 w 478"/>
                    <a:gd name="T73" fmla="*/ 316 h 494"/>
                    <a:gd name="T74" fmla="*/ 331 w 478"/>
                    <a:gd name="T75" fmla="*/ 304 h 494"/>
                    <a:gd name="T76" fmla="*/ 270 w 478"/>
                    <a:gd name="T77" fmla="*/ 284 h 494"/>
                    <a:gd name="T78" fmla="*/ 165 w 478"/>
                    <a:gd name="T79" fmla="*/ 293 h 494"/>
                    <a:gd name="T80" fmla="*/ 154 w 478"/>
                    <a:gd name="T81" fmla="*/ 369 h 494"/>
                    <a:gd name="T82" fmla="*/ 157 w 478"/>
                    <a:gd name="T83" fmla="*/ 416 h 494"/>
                    <a:gd name="T84" fmla="*/ 182 w 478"/>
                    <a:gd name="T85" fmla="*/ 440 h 494"/>
                    <a:gd name="T86" fmla="*/ 219 w 478"/>
                    <a:gd name="T87" fmla="*/ 494 h 494"/>
                    <a:gd name="T88" fmla="*/ 255 w 478"/>
                    <a:gd name="T89" fmla="*/ 386 h 494"/>
                    <a:gd name="T90" fmla="*/ 301 w 478"/>
                    <a:gd name="T91" fmla="*/ 403 h 494"/>
                    <a:gd name="T92" fmla="*/ 343 w 478"/>
                    <a:gd name="T93" fmla="*/ 399 h 494"/>
                    <a:gd name="T94" fmla="*/ 393 w 478"/>
                    <a:gd name="T95" fmla="*/ 411 h 494"/>
                    <a:gd name="T96" fmla="*/ 463 w 478"/>
                    <a:gd name="T97" fmla="*/ 324 h 494"/>
                    <a:gd name="T98" fmla="*/ 458 w 478"/>
                    <a:gd name="T99" fmla="*/ 286 h 494"/>
                    <a:gd name="T100" fmla="*/ 474 w 478"/>
                    <a:gd name="T101" fmla="*/ 253 h 4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478" h="494">
                      <a:moveTo>
                        <a:pt x="474" y="253"/>
                      </a:moveTo>
                      <a:cubicBezTo>
                        <a:pt x="475" y="241"/>
                        <a:pt x="472" y="228"/>
                        <a:pt x="465" y="219"/>
                      </a:cubicBezTo>
                      <a:cubicBezTo>
                        <a:pt x="473" y="210"/>
                        <a:pt x="478" y="198"/>
                        <a:pt x="478" y="186"/>
                      </a:cubicBezTo>
                      <a:cubicBezTo>
                        <a:pt x="478" y="185"/>
                        <a:pt x="478" y="185"/>
                        <a:pt x="478" y="185"/>
                      </a:cubicBezTo>
                      <a:cubicBezTo>
                        <a:pt x="478" y="173"/>
                        <a:pt x="473" y="161"/>
                        <a:pt x="466" y="152"/>
                      </a:cubicBezTo>
                      <a:cubicBezTo>
                        <a:pt x="473" y="142"/>
                        <a:pt x="476" y="130"/>
                        <a:pt x="475" y="117"/>
                      </a:cubicBezTo>
                      <a:cubicBezTo>
                        <a:pt x="475" y="116"/>
                        <a:pt x="475" y="116"/>
                        <a:pt x="475" y="116"/>
                      </a:cubicBezTo>
                      <a:cubicBezTo>
                        <a:pt x="474" y="103"/>
                        <a:pt x="468" y="91"/>
                        <a:pt x="458" y="82"/>
                      </a:cubicBezTo>
                      <a:cubicBezTo>
                        <a:pt x="464" y="69"/>
                        <a:pt x="465" y="54"/>
                        <a:pt x="459" y="40"/>
                      </a:cubicBezTo>
                      <a:cubicBezTo>
                        <a:pt x="459" y="39"/>
                        <a:pt x="459" y="38"/>
                        <a:pt x="458" y="38"/>
                      </a:cubicBezTo>
                      <a:cubicBezTo>
                        <a:pt x="447" y="12"/>
                        <a:pt x="417" y="0"/>
                        <a:pt x="391" y="12"/>
                      </a:cubicBezTo>
                      <a:cubicBezTo>
                        <a:pt x="389" y="12"/>
                        <a:pt x="388" y="13"/>
                        <a:pt x="386" y="14"/>
                      </a:cubicBezTo>
                      <a:cubicBezTo>
                        <a:pt x="368" y="3"/>
                        <a:pt x="344" y="4"/>
                        <a:pt x="327" y="19"/>
                      </a:cubicBezTo>
                      <a:cubicBezTo>
                        <a:pt x="326" y="19"/>
                        <a:pt x="326" y="19"/>
                        <a:pt x="326" y="19"/>
                      </a:cubicBezTo>
                      <a:cubicBezTo>
                        <a:pt x="317" y="27"/>
                        <a:pt x="311" y="38"/>
                        <a:pt x="309" y="49"/>
                      </a:cubicBezTo>
                      <a:cubicBezTo>
                        <a:pt x="299" y="50"/>
                        <a:pt x="290" y="53"/>
                        <a:pt x="282" y="59"/>
                      </a:cubicBezTo>
                      <a:cubicBezTo>
                        <a:pt x="282" y="59"/>
                        <a:pt x="281" y="59"/>
                        <a:pt x="281" y="59"/>
                      </a:cubicBezTo>
                      <a:cubicBezTo>
                        <a:pt x="275" y="64"/>
                        <a:pt x="270" y="70"/>
                        <a:pt x="266" y="76"/>
                      </a:cubicBezTo>
                      <a:cubicBezTo>
                        <a:pt x="261" y="75"/>
                        <a:pt x="254" y="75"/>
                        <a:pt x="248" y="75"/>
                      </a:cubicBezTo>
                      <a:cubicBezTo>
                        <a:pt x="247" y="76"/>
                        <a:pt x="246" y="76"/>
                        <a:pt x="245" y="76"/>
                      </a:cubicBezTo>
                      <a:cubicBezTo>
                        <a:pt x="245" y="76"/>
                        <a:pt x="245" y="76"/>
                        <a:pt x="245" y="76"/>
                      </a:cubicBezTo>
                      <a:cubicBezTo>
                        <a:pt x="238" y="77"/>
                        <a:pt x="231" y="80"/>
                        <a:pt x="225" y="84"/>
                      </a:cubicBezTo>
                      <a:cubicBezTo>
                        <a:pt x="219" y="79"/>
                        <a:pt x="212" y="76"/>
                        <a:pt x="205" y="74"/>
                      </a:cubicBezTo>
                      <a:cubicBezTo>
                        <a:pt x="204" y="73"/>
                        <a:pt x="204" y="73"/>
                        <a:pt x="204" y="73"/>
                      </a:cubicBezTo>
                      <a:cubicBezTo>
                        <a:pt x="196" y="72"/>
                        <a:pt x="188" y="72"/>
                        <a:pt x="181" y="73"/>
                      </a:cubicBezTo>
                      <a:cubicBezTo>
                        <a:pt x="176" y="66"/>
                        <a:pt x="171" y="59"/>
                        <a:pt x="163" y="55"/>
                      </a:cubicBezTo>
                      <a:cubicBezTo>
                        <a:pt x="163" y="55"/>
                        <a:pt x="163" y="55"/>
                        <a:pt x="163" y="55"/>
                      </a:cubicBezTo>
                      <a:cubicBezTo>
                        <a:pt x="151" y="47"/>
                        <a:pt x="137" y="44"/>
                        <a:pt x="124" y="47"/>
                      </a:cubicBezTo>
                      <a:cubicBezTo>
                        <a:pt x="114" y="29"/>
                        <a:pt x="94" y="18"/>
                        <a:pt x="73" y="20"/>
                      </a:cubicBezTo>
                      <a:cubicBezTo>
                        <a:pt x="70" y="21"/>
                        <a:pt x="70" y="21"/>
                        <a:pt x="70" y="21"/>
                      </a:cubicBezTo>
                      <a:cubicBezTo>
                        <a:pt x="42" y="25"/>
                        <a:pt x="23" y="50"/>
                        <a:pt x="25" y="77"/>
                      </a:cubicBezTo>
                      <a:cubicBezTo>
                        <a:pt x="10" y="86"/>
                        <a:pt x="0" y="103"/>
                        <a:pt x="0" y="122"/>
                      </a:cubicBezTo>
                      <a:cubicBezTo>
                        <a:pt x="0" y="123"/>
                        <a:pt x="0" y="123"/>
                        <a:pt x="0" y="123"/>
                      </a:cubicBezTo>
                      <a:cubicBezTo>
                        <a:pt x="0" y="135"/>
                        <a:pt x="4" y="146"/>
                        <a:pt x="10" y="154"/>
                      </a:cubicBezTo>
                      <a:cubicBezTo>
                        <a:pt x="4" y="163"/>
                        <a:pt x="0" y="174"/>
                        <a:pt x="0" y="186"/>
                      </a:cubicBezTo>
                      <a:cubicBezTo>
                        <a:pt x="0" y="187"/>
                        <a:pt x="0" y="187"/>
                        <a:pt x="0" y="187"/>
                      </a:cubicBezTo>
                      <a:cubicBezTo>
                        <a:pt x="0" y="198"/>
                        <a:pt x="4" y="209"/>
                        <a:pt x="10" y="218"/>
                      </a:cubicBezTo>
                      <a:cubicBezTo>
                        <a:pt x="4" y="227"/>
                        <a:pt x="0" y="237"/>
                        <a:pt x="0" y="249"/>
                      </a:cubicBezTo>
                      <a:cubicBezTo>
                        <a:pt x="0" y="250"/>
                        <a:pt x="0" y="250"/>
                        <a:pt x="0" y="250"/>
                      </a:cubicBezTo>
                      <a:cubicBezTo>
                        <a:pt x="0" y="262"/>
                        <a:pt x="4" y="273"/>
                        <a:pt x="10" y="281"/>
                      </a:cubicBezTo>
                      <a:cubicBezTo>
                        <a:pt x="4" y="290"/>
                        <a:pt x="0" y="301"/>
                        <a:pt x="0" y="313"/>
                      </a:cubicBezTo>
                      <a:cubicBezTo>
                        <a:pt x="0" y="313"/>
                        <a:pt x="0" y="313"/>
                        <a:pt x="0" y="313"/>
                      </a:cubicBezTo>
                      <a:cubicBezTo>
                        <a:pt x="0" y="342"/>
                        <a:pt x="23" y="365"/>
                        <a:pt x="52" y="365"/>
                      </a:cubicBezTo>
                      <a:cubicBezTo>
                        <a:pt x="80" y="365"/>
                        <a:pt x="104" y="341"/>
                        <a:pt x="104" y="313"/>
                      </a:cubicBezTo>
                      <a:cubicBezTo>
                        <a:pt x="104" y="301"/>
                        <a:pt x="99" y="290"/>
                        <a:pt x="93" y="281"/>
                      </a:cubicBezTo>
                      <a:cubicBezTo>
                        <a:pt x="99" y="273"/>
                        <a:pt x="104" y="262"/>
                        <a:pt x="104" y="250"/>
                      </a:cubicBezTo>
                      <a:cubicBezTo>
                        <a:pt x="104" y="249"/>
                        <a:pt x="104" y="249"/>
                        <a:pt x="104" y="249"/>
                      </a:cubicBezTo>
                      <a:cubicBezTo>
                        <a:pt x="104" y="237"/>
                        <a:pt x="100" y="226"/>
                        <a:pt x="93" y="217"/>
                      </a:cubicBezTo>
                      <a:cubicBezTo>
                        <a:pt x="100" y="209"/>
                        <a:pt x="104" y="198"/>
                        <a:pt x="104" y="186"/>
                      </a:cubicBezTo>
                      <a:cubicBezTo>
                        <a:pt x="104" y="174"/>
                        <a:pt x="99" y="163"/>
                        <a:pt x="93" y="154"/>
                      </a:cubicBezTo>
                      <a:cubicBezTo>
                        <a:pt x="96" y="149"/>
                        <a:pt x="99" y="144"/>
                        <a:pt x="101" y="138"/>
                      </a:cubicBezTo>
                      <a:cubicBezTo>
                        <a:pt x="102" y="139"/>
                        <a:pt x="104" y="140"/>
                        <a:pt x="105" y="141"/>
                      </a:cubicBezTo>
                      <a:cubicBezTo>
                        <a:pt x="107" y="142"/>
                        <a:pt x="107" y="142"/>
                        <a:pt x="107" y="142"/>
                      </a:cubicBezTo>
                      <a:cubicBezTo>
                        <a:pt x="119" y="150"/>
                        <a:pt x="133" y="152"/>
                        <a:pt x="146" y="149"/>
                      </a:cubicBezTo>
                      <a:cubicBezTo>
                        <a:pt x="153" y="161"/>
                        <a:pt x="165" y="171"/>
                        <a:pt x="179" y="174"/>
                      </a:cubicBezTo>
                      <a:cubicBezTo>
                        <a:pt x="180" y="175"/>
                        <a:pt x="180" y="175"/>
                        <a:pt x="180" y="175"/>
                      </a:cubicBezTo>
                      <a:cubicBezTo>
                        <a:pt x="195" y="178"/>
                        <a:pt x="210" y="175"/>
                        <a:pt x="221" y="167"/>
                      </a:cubicBezTo>
                      <a:cubicBezTo>
                        <a:pt x="233" y="177"/>
                        <a:pt x="248" y="181"/>
                        <a:pt x="263" y="178"/>
                      </a:cubicBezTo>
                      <a:cubicBezTo>
                        <a:pt x="280" y="176"/>
                        <a:pt x="293" y="166"/>
                        <a:pt x="301" y="152"/>
                      </a:cubicBezTo>
                      <a:cubicBezTo>
                        <a:pt x="315" y="155"/>
                        <a:pt x="330" y="152"/>
                        <a:pt x="342" y="143"/>
                      </a:cubicBezTo>
                      <a:cubicBezTo>
                        <a:pt x="343" y="143"/>
                        <a:pt x="343" y="143"/>
                        <a:pt x="343" y="143"/>
                      </a:cubicBezTo>
                      <a:cubicBezTo>
                        <a:pt x="354" y="135"/>
                        <a:pt x="361" y="123"/>
                        <a:pt x="364" y="111"/>
                      </a:cubicBezTo>
                      <a:cubicBezTo>
                        <a:pt x="367" y="111"/>
                        <a:pt x="370" y="110"/>
                        <a:pt x="373" y="110"/>
                      </a:cubicBezTo>
                      <a:cubicBezTo>
                        <a:pt x="372" y="115"/>
                        <a:pt x="371" y="121"/>
                        <a:pt x="372" y="127"/>
                      </a:cubicBezTo>
                      <a:cubicBezTo>
                        <a:pt x="373" y="137"/>
                        <a:pt x="377" y="147"/>
                        <a:pt x="383" y="155"/>
                      </a:cubicBezTo>
                      <a:cubicBezTo>
                        <a:pt x="377" y="163"/>
                        <a:pt x="374" y="173"/>
                        <a:pt x="374" y="184"/>
                      </a:cubicBezTo>
                      <a:cubicBezTo>
                        <a:pt x="374" y="184"/>
                        <a:pt x="374" y="185"/>
                        <a:pt x="374" y="185"/>
                      </a:cubicBezTo>
                      <a:cubicBezTo>
                        <a:pt x="374" y="196"/>
                        <a:pt x="377" y="206"/>
                        <a:pt x="383" y="214"/>
                      </a:cubicBezTo>
                      <a:cubicBezTo>
                        <a:pt x="376" y="222"/>
                        <a:pt x="372" y="232"/>
                        <a:pt x="371" y="243"/>
                      </a:cubicBezTo>
                      <a:cubicBezTo>
                        <a:pt x="370" y="244"/>
                        <a:pt x="370" y="244"/>
                        <a:pt x="370" y="244"/>
                      </a:cubicBezTo>
                      <a:cubicBezTo>
                        <a:pt x="370" y="255"/>
                        <a:pt x="372" y="265"/>
                        <a:pt x="377" y="274"/>
                      </a:cubicBezTo>
                      <a:cubicBezTo>
                        <a:pt x="369" y="280"/>
                        <a:pt x="364" y="289"/>
                        <a:pt x="362" y="299"/>
                      </a:cubicBezTo>
                      <a:cubicBezTo>
                        <a:pt x="361" y="304"/>
                        <a:pt x="360" y="308"/>
                        <a:pt x="360" y="313"/>
                      </a:cubicBezTo>
                      <a:cubicBezTo>
                        <a:pt x="358" y="314"/>
                        <a:pt x="355" y="315"/>
                        <a:pt x="352" y="316"/>
                      </a:cubicBezTo>
                      <a:cubicBezTo>
                        <a:pt x="347" y="311"/>
                        <a:pt x="340" y="307"/>
                        <a:pt x="332" y="304"/>
                      </a:cubicBezTo>
                      <a:cubicBezTo>
                        <a:pt x="331" y="304"/>
                        <a:pt x="331" y="304"/>
                        <a:pt x="331" y="304"/>
                      </a:cubicBezTo>
                      <a:cubicBezTo>
                        <a:pt x="320" y="301"/>
                        <a:pt x="309" y="301"/>
                        <a:pt x="299" y="304"/>
                      </a:cubicBezTo>
                      <a:cubicBezTo>
                        <a:pt x="292" y="295"/>
                        <a:pt x="283" y="288"/>
                        <a:pt x="270" y="284"/>
                      </a:cubicBezTo>
                      <a:cubicBezTo>
                        <a:pt x="254" y="279"/>
                        <a:pt x="237" y="283"/>
                        <a:pt x="224" y="292"/>
                      </a:cubicBezTo>
                      <a:cubicBezTo>
                        <a:pt x="207" y="280"/>
                        <a:pt x="183" y="280"/>
                        <a:pt x="165" y="293"/>
                      </a:cubicBezTo>
                      <a:cubicBezTo>
                        <a:pt x="163" y="294"/>
                        <a:pt x="162" y="295"/>
                        <a:pt x="161" y="296"/>
                      </a:cubicBezTo>
                      <a:cubicBezTo>
                        <a:pt x="139" y="314"/>
                        <a:pt x="136" y="347"/>
                        <a:pt x="154" y="369"/>
                      </a:cubicBezTo>
                      <a:cubicBezTo>
                        <a:pt x="155" y="369"/>
                        <a:pt x="155" y="370"/>
                        <a:pt x="155" y="370"/>
                      </a:cubicBezTo>
                      <a:cubicBezTo>
                        <a:pt x="149" y="385"/>
                        <a:pt x="149" y="402"/>
                        <a:pt x="157" y="416"/>
                      </a:cubicBezTo>
                      <a:cubicBezTo>
                        <a:pt x="157" y="417"/>
                        <a:pt x="158" y="418"/>
                        <a:pt x="158" y="418"/>
                      </a:cubicBezTo>
                      <a:cubicBezTo>
                        <a:pt x="163" y="428"/>
                        <a:pt x="172" y="436"/>
                        <a:pt x="182" y="440"/>
                      </a:cubicBezTo>
                      <a:cubicBezTo>
                        <a:pt x="185" y="454"/>
                        <a:pt x="205" y="458"/>
                        <a:pt x="214" y="466"/>
                      </a:cubicBezTo>
                      <a:cubicBezTo>
                        <a:pt x="227" y="475"/>
                        <a:pt x="219" y="494"/>
                        <a:pt x="219" y="494"/>
                      </a:cubicBezTo>
                      <a:cubicBezTo>
                        <a:pt x="242" y="475"/>
                        <a:pt x="240" y="451"/>
                        <a:pt x="235" y="434"/>
                      </a:cubicBezTo>
                      <a:cubicBezTo>
                        <a:pt x="250" y="422"/>
                        <a:pt x="257" y="404"/>
                        <a:pt x="255" y="386"/>
                      </a:cubicBezTo>
                      <a:cubicBezTo>
                        <a:pt x="261" y="386"/>
                        <a:pt x="267" y="386"/>
                        <a:pt x="273" y="383"/>
                      </a:cubicBezTo>
                      <a:cubicBezTo>
                        <a:pt x="280" y="393"/>
                        <a:pt x="289" y="400"/>
                        <a:pt x="301" y="403"/>
                      </a:cubicBezTo>
                      <a:cubicBezTo>
                        <a:pt x="302" y="404"/>
                        <a:pt x="302" y="404"/>
                        <a:pt x="302" y="404"/>
                      </a:cubicBezTo>
                      <a:cubicBezTo>
                        <a:pt x="316" y="408"/>
                        <a:pt x="331" y="406"/>
                        <a:pt x="343" y="399"/>
                      </a:cubicBezTo>
                      <a:cubicBezTo>
                        <a:pt x="355" y="411"/>
                        <a:pt x="374" y="416"/>
                        <a:pt x="392" y="411"/>
                      </a:cubicBezTo>
                      <a:cubicBezTo>
                        <a:pt x="393" y="411"/>
                        <a:pt x="393" y="411"/>
                        <a:pt x="393" y="411"/>
                      </a:cubicBezTo>
                      <a:cubicBezTo>
                        <a:pt x="416" y="405"/>
                        <a:pt x="432" y="383"/>
                        <a:pt x="431" y="360"/>
                      </a:cubicBezTo>
                      <a:cubicBezTo>
                        <a:pt x="446" y="354"/>
                        <a:pt x="458" y="341"/>
                        <a:pt x="463" y="324"/>
                      </a:cubicBezTo>
                      <a:cubicBezTo>
                        <a:pt x="463" y="323"/>
                        <a:pt x="463" y="323"/>
                        <a:pt x="463" y="323"/>
                      </a:cubicBezTo>
                      <a:cubicBezTo>
                        <a:pt x="466" y="310"/>
                        <a:pt x="464" y="297"/>
                        <a:pt x="458" y="286"/>
                      </a:cubicBezTo>
                      <a:cubicBezTo>
                        <a:pt x="467" y="278"/>
                        <a:pt x="473" y="267"/>
                        <a:pt x="474" y="254"/>
                      </a:cubicBezTo>
                      <a:lnTo>
                        <a:pt x="474" y="253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106"/>
                  <a:endParaRPr lang="en-GB">
                    <a:solidFill>
                      <a:srgbClr val="001965"/>
                    </a:solidFill>
                  </a:endParaRPr>
                </a:p>
              </p:txBody>
            </p:sp>
          </p:grpSp>
          <p:sp>
            <p:nvSpPr>
              <p:cNvPr id="111" name="Rectangle 110"/>
              <p:cNvSpPr/>
              <p:nvPr/>
            </p:nvSpPr>
            <p:spPr>
              <a:xfrm>
                <a:off x="1227392" y="3985095"/>
                <a:ext cx="2373091" cy="2539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457106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B7FF"/>
                  </a:buClr>
                  <a:buSzPct val="120000"/>
                  <a:defRPr/>
                </a:pPr>
                <a:r>
                  <a:rPr lang="en-GB" sz="1050" dirty="0" err="1" smtClean="0">
                    <a:solidFill>
                      <a:srgbClr val="000000"/>
                    </a:solidFill>
                  </a:rPr>
                  <a:t>Vertraagde</a:t>
                </a:r>
                <a:r>
                  <a:rPr lang="en-GB" sz="1050" dirty="0">
                    <a:solidFill>
                      <a:srgbClr val="000000"/>
                    </a:solidFill>
                  </a:rPr>
                  <a:t> </a:t>
                </a:r>
                <a:r>
                  <a:rPr lang="en-GB" sz="1050" dirty="0" err="1" smtClean="0">
                    <a:solidFill>
                      <a:srgbClr val="000000"/>
                    </a:solidFill>
                  </a:rPr>
                  <a:t>maagontlediging</a:t>
                </a:r>
                <a:endParaRPr lang="en-GB" sz="105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" name="Group 7"/>
            <p:cNvGrpSpPr/>
            <p:nvPr/>
          </p:nvGrpSpPr>
          <p:grpSpPr>
            <a:xfrm>
              <a:off x="4393191" y="1651330"/>
              <a:ext cx="3016788" cy="962808"/>
              <a:chOff x="4393191" y="1651330"/>
              <a:chExt cx="3016788" cy="962808"/>
            </a:xfrm>
          </p:grpSpPr>
          <p:sp>
            <p:nvSpPr>
              <p:cNvPr id="30" name="TextBox 29"/>
              <p:cNvSpPr txBox="1"/>
              <p:nvPr/>
            </p:nvSpPr>
            <p:spPr>
              <a:xfrm>
                <a:off x="6165924" y="1651330"/>
                <a:ext cx="570028" cy="253916"/>
              </a:xfrm>
              <a:prstGeom prst="rect">
                <a:avLst/>
              </a:prstGeom>
              <a:noFill/>
            </p:spPr>
            <p:txBody>
              <a:bodyPr wrap="none" rIns="0" rtlCol="0">
                <a:spAutoFit/>
              </a:bodyPr>
              <a:lstStyle/>
              <a:p>
                <a:pPr algn="r" defTabSz="457106"/>
                <a:r>
                  <a:rPr lang="en-GB" sz="1050" b="1" dirty="0" smtClean="0">
                    <a:solidFill>
                      <a:srgbClr val="72B5CC"/>
                    </a:solidFill>
                  </a:rPr>
                  <a:t>LEVER</a:t>
                </a:r>
                <a:endParaRPr lang="en-GB" sz="1050" b="1" dirty="0">
                  <a:solidFill>
                    <a:srgbClr val="72B5CC"/>
                  </a:solidFill>
                </a:endParaRPr>
              </a:p>
            </p:txBody>
          </p:sp>
          <p:grpSp>
            <p:nvGrpSpPr>
              <p:cNvPr id="124" name="Group 123"/>
              <p:cNvGrpSpPr/>
              <p:nvPr/>
            </p:nvGrpSpPr>
            <p:grpSpPr>
              <a:xfrm flipV="1">
                <a:off x="4393191" y="1896726"/>
                <a:ext cx="2341425" cy="717412"/>
                <a:chOff x="6402712" y="3645779"/>
                <a:chExt cx="3498123" cy="441230"/>
              </a:xfrm>
            </p:grpSpPr>
            <p:sp>
              <p:nvSpPr>
                <p:cNvPr id="125" name="Freeform 124"/>
                <p:cNvSpPr/>
                <p:nvPr/>
              </p:nvSpPr>
              <p:spPr>
                <a:xfrm>
                  <a:off x="6480628" y="3682018"/>
                  <a:ext cx="3420207" cy="404991"/>
                </a:xfrm>
                <a:custGeom>
                  <a:avLst/>
                  <a:gdLst>
                    <a:gd name="connsiteX0" fmla="*/ 4180114 w 4180114"/>
                    <a:gd name="connsiteY0" fmla="*/ 0 h 130629"/>
                    <a:gd name="connsiteX1" fmla="*/ 1574800 w 4180114"/>
                    <a:gd name="connsiteY1" fmla="*/ 0 h 130629"/>
                    <a:gd name="connsiteX2" fmla="*/ 0 w 4180114"/>
                    <a:gd name="connsiteY2" fmla="*/ 130629 h 130629"/>
                    <a:gd name="connsiteX0" fmla="*/ 3780971 w 3780971"/>
                    <a:gd name="connsiteY0" fmla="*/ 1066800 h 1066800"/>
                    <a:gd name="connsiteX1" fmla="*/ 1175657 w 3780971"/>
                    <a:gd name="connsiteY1" fmla="*/ 1066800 h 1066800"/>
                    <a:gd name="connsiteX2" fmla="*/ 0 w 3780971"/>
                    <a:gd name="connsiteY2" fmla="*/ 0 h 1066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780971" h="1066800">
                      <a:moveTo>
                        <a:pt x="3780971" y="1066800"/>
                      </a:moveTo>
                      <a:lnTo>
                        <a:pt x="1175657" y="106680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9050" cap="flat">
                  <a:solidFill>
                    <a:srgbClr val="6675A3"/>
                  </a:solidFill>
                  <a:prstDash val="solid"/>
                  <a:round/>
                  <a:headEnd type="none"/>
                  <a:tailEnd type="oval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106"/>
                  <a:endParaRPr lang="en-GB">
                    <a:solidFill>
                      <a:srgbClr val="001965"/>
                    </a:solidFill>
                  </a:endParaRPr>
                </a:p>
              </p:txBody>
            </p:sp>
            <p:sp>
              <p:nvSpPr>
                <p:cNvPr id="127" name="Oval 126"/>
                <p:cNvSpPr>
                  <a:spLocks noChangeArrowheads="1"/>
                </p:cNvSpPr>
                <p:nvPr/>
              </p:nvSpPr>
              <p:spPr bwMode="auto">
                <a:xfrm>
                  <a:off x="6402712" y="3645779"/>
                  <a:ext cx="157435" cy="73065"/>
                </a:xfrm>
                <a:prstGeom prst="ellipse">
                  <a:avLst/>
                </a:prstGeom>
                <a:solidFill>
                  <a:srgbClr val="6675A3">
                    <a:alpha val="35000"/>
                  </a:srgbClr>
                </a:solidFill>
                <a:ln>
                  <a:noFill/>
                </a:ln>
                <a:extLst/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350">
                    <a:solidFill>
                      <a:srgbClr val="001965"/>
                    </a:solidFill>
                  </a:endParaRPr>
                </a:p>
              </p:txBody>
            </p:sp>
          </p:grpSp>
          <p:grpSp>
            <p:nvGrpSpPr>
              <p:cNvPr id="163" name="Group 162"/>
              <p:cNvGrpSpPr/>
              <p:nvPr/>
            </p:nvGrpSpPr>
            <p:grpSpPr>
              <a:xfrm>
                <a:off x="5147705" y="1720971"/>
                <a:ext cx="368589" cy="361691"/>
                <a:chOff x="6709935" y="2409137"/>
                <a:chExt cx="491452" cy="482254"/>
              </a:xfrm>
            </p:grpSpPr>
            <p:sp>
              <p:nvSpPr>
                <p:cNvPr id="142" name="Freeform 141"/>
                <p:cNvSpPr>
                  <a:spLocks/>
                </p:cNvSpPr>
                <p:nvPr/>
              </p:nvSpPr>
              <p:spPr bwMode="auto">
                <a:xfrm>
                  <a:off x="6709935" y="2409137"/>
                  <a:ext cx="491452" cy="482254"/>
                </a:xfrm>
                <a:custGeom>
                  <a:avLst/>
                  <a:gdLst>
                    <a:gd name="T0" fmla="*/ 414 w 454"/>
                    <a:gd name="T1" fmla="*/ 445 h 445"/>
                    <a:gd name="T2" fmla="*/ 40 w 454"/>
                    <a:gd name="T3" fmla="*/ 445 h 445"/>
                    <a:gd name="T4" fmla="*/ 0 w 454"/>
                    <a:gd name="T5" fmla="*/ 405 h 445"/>
                    <a:gd name="T6" fmla="*/ 0 w 454"/>
                    <a:gd name="T7" fmla="*/ 40 h 445"/>
                    <a:gd name="T8" fmla="*/ 40 w 454"/>
                    <a:gd name="T9" fmla="*/ 0 h 445"/>
                    <a:gd name="T10" fmla="*/ 414 w 454"/>
                    <a:gd name="T11" fmla="*/ 0 h 445"/>
                    <a:gd name="T12" fmla="*/ 454 w 454"/>
                    <a:gd name="T13" fmla="*/ 40 h 445"/>
                    <a:gd name="T14" fmla="*/ 454 w 454"/>
                    <a:gd name="T15" fmla="*/ 405 h 445"/>
                    <a:gd name="T16" fmla="*/ 414 w 454"/>
                    <a:gd name="T17" fmla="*/ 445 h 4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54" h="445">
                      <a:moveTo>
                        <a:pt x="414" y="445"/>
                      </a:moveTo>
                      <a:cubicBezTo>
                        <a:pt x="40" y="445"/>
                        <a:pt x="40" y="445"/>
                        <a:pt x="40" y="445"/>
                      </a:cubicBezTo>
                      <a:cubicBezTo>
                        <a:pt x="18" y="445"/>
                        <a:pt x="0" y="427"/>
                        <a:pt x="0" y="405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18"/>
                        <a:pt x="18" y="0"/>
                        <a:pt x="40" y="0"/>
                      </a:cubicBezTo>
                      <a:cubicBezTo>
                        <a:pt x="414" y="0"/>
                        <a:pt x="414" y="0"/>
                        <a:pt x="414" y="0"/>
                      </a:cubicBezTo>
                      <a:cubicBezTo>
                        <a:pt x="436" y="0"/>
                        <a:pt x="454" y="18"/>
                        <a:pt x="454" y="40"/>
                      </a:cubicBezTo>
                      <a:cubicBezTo>
                        <a:pt x="454" y="405"/>
                        <a:pt x="454" y="405"/>
                        <a:pt x="454" y="405"/>
                      </a:cubicBezTo>
                      <a:cubicBezTo>
                        <a:pt x="454" y="427"/>
                        <a:pt x="436" y="445"/>
                        <a:pt x="414" y="445"/>
                      </a:cubicBezTo>
                      <a:close/>
                    </a:path>
                  </a:pathLst>
                </a:custGeom>
                <a:solidFill>
                  <a:srgbClr val="72B5CC"/>
                </a:solidFill>
                <a:ln>
                  <a:noFill/>
                </a:ln>
                <a:effectLst>
                  <a:innerShdw blurRad="76200" dist="19050" dir="13800000">
                    <a:prstClr val="black">
                      <a:alpha val="16000"/>
                    </a:prstClr>
                  </a:innerShdw>
                </a:effectLst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106"/>
                  <a:endParaRPr lang="en-GB">
                    <a:solidFill>
                      <a:srgbClr val="001965"/>
                    </a:solidFill>
                  </a:endParaRPr>
                </a:p>
              </p:txBody>
            </p:sp>
            <p:sp>
              <p:nvSpPr>
                <p:cNvPr id="28" name="Freeform 9"/>
                <p:cNvSpPr>
                  <a:spLocks/>
                </p:cNvSpPr>
                <p:nvPr/>
              </p:nvSpPr>
              <p:spPr bwMode="auto">
                <a:xfrm>
                  <a:off x="6763311" y="2535217"/>
                  <a:ext cx="384700" cy="230094"/>
                </a:xfrm>
                <a:custGeom>
                  <a:avLst/>
                  <a:gdLst>
                    <a:gd name="T0" fmla="*/ 305 w 491"/>
                    <a:gd name="T1" fmla="*/ 0 h 292"/>
                    <a:gd name="T2" fmla="*/ 273 w 491"/>
                    <a:gd name="T3" fmla="*/ 32 h 292"/>
                    <a:gd name="T4" fmla="*/ 273 w 491"/>
                    <a:gd name="T5" fmla="*/ 33 h 292"/>
                    <a:gd name="T6" fmla="*/ 240 w 491"/>
                    <a:gd name="T7" fmla="*/ 1 h 292"/>
                    <a:gd name="T8" fmla="*/ 153 w 491"/>
                    <a:gd name="T9" fmla="*/ 4 h 292"/>
                    <a:gd name="T10" fmla="*/ 29 w 491"/>
                    <a:gd name="T11" fmla="*/ 124 h 292"/>
                    <a:gd name="T12" fmla="*/ 29 w 491"/>
                    <a:gd name="T13" fmla="*/ 124 h 292"/>
                    <a:gd name="T14" fmla="*/ 17 w 491"/>
                    <a:gd name="T15" fmla="*/ 277 h 292"/>
                    <a:gd name="T16" fmla="*/ 135 w 491"/>
                    <a:gd name="T17" fmla="*/ 251 h 292"/>
                    <a:gd name="T18" fmla="*/ 135 w 491"/>
                    <a:gd name="T19" fmla="*/ 251 h 292"/>
                    <a:gd name="T20" fmla="*/ 153 w 491"/>
                    <a:gd name="T21" fmla="*/ 252 h 292"/>
                    <a:gd name="T22" fmla="*/ 257 w 491"/>
                    <a:gd name="T23" fmla="*/ 213 h 292"/>
                    <a:gd name="T24" fmla="*/ 273 w 491"/>
                    <a:gd name="T25" fmla="*/ 185 h 292"/>
                    <a:gd name="T26" fmla="*/ 273 w 491"/>
                    <a:gd name="T27" fmla="*/ 155 h 292"/>
                    <a:gd name="T28" fmla="*/ 322 w 491"/>
                    <a:gd name="T29" fmla="*/ 182 h 292"/>
                    <a:gd name="T30" fmla="*/ 491 w 491"/>
                    <a:gd name="T31" fmla="*/ 35 h 292"/>
                    <a:gd name="T32" fmla="*/ 305 w 491"/>
                    <a:gd name="T33" fmla="*/ 0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91" h="292">
                      <a:moveTo>
                        <a:pt x="305" y="0"/>
                      </a:moveTo>
                      <a:cubicBezTo>
                        <a:pt x="287" y="0"/>
                        <a:pt x="273" y="15"/>
                        <a:pt x="273" y="32"/>
                      </a:cubicBezTo>
                      <a:cubicBezTo>
                        <a:pt x="273" y="33"/>
                        <a:pt x="273" y="33"/>
                        <a:pt x="273" y="33"/>
                      </a:cubicBezTo>
                      <a:cubicBezTo>
                        <a:pt x="273" y="15"/>
                        <a:pt x="258" y="1"/>
                        <a:pt x="240" y="1"/>
                      </a:cubicBezTo>
                      <a:cubicBezTo>
                        <a:pt x="204" y="3"/>
                        <a:pt x="172" y="4"/>
                        <a:pt x="153" y="4"/>
                      </a:cubicBezTo>
                      <a:cubicBezTo>
                        <a:pt x="86" y="4"/>
                        <a:pt x="31" y="58"/>
                        <a:pt x="29" y="124"/>
                      </a:cubicBezTo>
                      <a:cubicBezTo>
                        <a:pt x="29" y="124"/>
                        <a:pt x="29" y="124"/>
                        <a:pt x="29" y="124"/>
                      </a:cubicBezTo>
                      <a:cubicBezTo>
                        <a:pt x="28" y="188"/>
                        <a:pt x="0" y="262"/>
                        <a:pt x="17" y="277"/>
                      </a:cubicBezTo>
                      <a:cubicBezTo>
                        <a:pt x="35" y="292"/>
                        <a:pt x="55" y="239"/>
                        <a:pt x="135" y="251"/>
                      </a:cubicBezTo>
                      <a:cubicBezTo>
                        <a:pt x="135" y="251"/>
                        <a:pt x="135" y="251"/>
                        <a:pt x="135" y="251"/>
                      </a:cubicBezTo>
                      <a:cubicBezTo>
                        <a:pt x="141" y="252"/>
                        <a:pt x="147" y="252"/>
                        <a:pt x="153" y="252"/>
                      </a:cubicBezTo>
                      <a:cubicBezTo>
                        <a:pt x="175" y="252"/>
                        <a:pt x="214" y="237"/>
                        <a:pt x="257" y="213"/>
                      </a:cubicBezTo>
                      <a:cubicBezTo>
                        <a:pt x="267" y="207"/>
                        <a:pt x="273" y="197"/>
                        <a:pt x="273" y="185"/>
                      </a:cubicBezTo>
                      <a:cubicBezTo>
                        <a:pt x="273" y="155"/>
                        <a:pt x="273" y="155"/>
                        <a:pt x="273" y="155"/>
                      </a:cubicBezTo>
                      <a:cubicBezTo>
                        <a:pt x="273" y="180"/>
                        <a:pt x="301" y="196"/>
                        <a:pt x="322" y="182"/>
                      </a:cubicBezTo>
                      <a:cubicBezTo>
                        <a:pt x="394" y="136"/>
                        <a:pt x="491" y="63"/>
                        <a:pt x="491" y="35"/>
                      </a:cubicBezTo>
                      <a:cubicBezTo>
                        <a:pt x="491" y="4"/>
                        <a:pt x="382" y="1"/>
                        <a:pt x="305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106"/>
                  <a:endParaRPr lang="en-GB">
                    <a:solidFill>
                      <a:srgbClr val="001965"/>
                    </a:solidFill>
                  </a:endParaRPr>
                </a:p>
              </p:txBody>
            </p:sp>
          </p:grpSp>
          <p:sp>
            <p:nvSpPr>
              <p:cNvPr id="107" name="Rectangle 106"/>
              <p:cNvSpPr/>
              <p:nvPr/>
            </p:nvSpPr>
            <p:spPr>
              <a:xfrm>
                <a:off x="5596677" y="1876726"/>
                <a:ext cx="1813302" cy="2539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 defTabSz="457106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B7FF"/>
                  </a:buClr>
                  <a:buSzPct val="120000"/>
                  <a:defRPr/>
                </a:pPr>
                <a:r>
                  <a:rPr lang="en-GB" sz="1050" dirty="0" err="1">
                    <a:solidFill>
                      <a:srgbClr val="000000"/>
                    </a:solidFill>
                  </a:rPr>
                  <a:t>Remmen</a:t>
                </a:r>
                <a:r>
                  <a:rPr lang="en-GB" sz="1050" dirty="0">
                    <a:solidFill>
                      <a:srgbClr val="000000"/>
                    </a:solidFill>
                  </a:rPr>
                  <a:t> van </a:t>
                </a:r>
                <a:r>
                  <a:rPr lang="en-GB" sz="1050" dirty="0" err="1">
                    <a:solidFill>
                      <a:srgbClr val="000000"/>
                    </a:solidFill>
                  </a:rPr>
                  <a:t>gluconeogenese</a:t>
                </a:r>
                <a:endParaRPr lang="en-GB" sz="105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87" name="Rectangle 4"/>
          <p:cNvSpPr>
            <a:spLocks noChangeArrowheads="1"/>
          </p:cNvSpPr>
          <p:nvPr/>
        </p:nvSpPr>
        <p:spPr bwMode="auto">
          <a:xfrm>
            <a:off x="987696" y="4602939"/>
            <a:ext cx="8294755" cy="468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anchor="t"/>
          <a:lstStyle/>
          <a:p>
            <a:pPr defTabSz="457106"/>
            <a:endParaRPr lang="en-GB" altLang="en-US" sz="900" dirty="0" smtClean="0">
              <a:solidFill>
                <a:srgbClr val="001965"/>
              </a:solidFill>
              <a:latin typeface="Calibri" panose="020F0502020204030204" pitchFamily="34" charset="0"/>
              <a:ea typeface="ヒラギノ角ゴ Pro W3"/>
              <a:cs typeface="Calibri" panose="020F0502020204030204" pitchFamily="34" charset="0"/>
            </a:endParaRPr>
          </a:p>
          <a:p>
            <a:pPr defTabSz="457106"/>
            <a:r>
              <a:rPr lang="en-GB" altLang="en-US" sz="900" dirty="0" err="1" smtClean="0">
                <a:solidFill>
                  <a:srgbClr val="001965"/>
                </a:solidFill>
                <a:latin typeface="Calibri" panose="020F0502020204030204" pitchFamily="34" charset="0"/>
                <a:ea typeface="ヒラギノ角ゴ Pro W3"/>
                <a:cs typeface="Calibri" panose="020F0502020204030204" pitchFamily="34" charset="0"/>
              </a:rPr>
              <a:t>Baggio</a:t>
            </a:r>
            <a:r>
              <a:rPr lang="en-GB" altLang="en-US" sz="900" dirty="0" smtClean="0">
                <a:solidFill>
                  <a:srgbClr val="001965"/>
                </a:solidFill>
                <a:latin typeface="Calibri" panose="020F0502020204030204" pitchFamily="34" charset="0"/>
                <a:ea typeface="ヒラギノ角ゴ Pro W3"/>
                <a:cs typeface="Calibri" panose="020F0502020204030204" pitchFamily="34" charset="0"/>
              </a:rPr>
              <a:t> &amp; Drucker. </a:t>
            </a:r>
            <a:r>
              <a:rPr lang="en-GB" altLang="en-US" sz="900" i="1" dirty="0" err="1" smtClean="0">
                <a:solidFill>
                  <a:srgbClr val="001965"/>
                </a:solidFill>
                <a:latin typeface="Calibri" panose="020F0502020204030204" pitchFamily="34" charset="0"/>
                <a:ea typeface="ヒラギノ角ゴ Pro W3"/>
                <a:cs typeface="Calibri" panose="020F0502020204030204" pitchFamily="34" charset="0"/>
              </a:rPr>
              <a:t>Gastroenterol</a:t>
            </a:r>
            <a:r>
              <a:rPr lang="en-GB" altLang="en-US" sz="900" dirty="0" smtClean="0">
                <a:solidFill>
                  <a:srgbClr val="001965"/>
                </a:solidFill>
                <a:latin typeface="Calibri" panose="020F0502020204030204" pitchFamily="34" charset="0"/>
                <a:ea typeface="ヒラギノ角ゴ Pro W3"/>
                <a:cs typeface="Calibri" panose="020F0502020204030204" pitchFamily="34" charset="0"/>
              </a:rPr>
              <a:t> 2007;132:2131–57  </a:t>
            </a:r>
            <a:r>
              <a:rPr lang="en-GB" altLang="en-US" sz="900" dirty="0" err="1" smtClean="0">
                <a:solidFill>
                  <a:srgbClr val="001965"/>
                </a:solidFill>
                <a:latin typeface="Calibri" panose="020F0502020204030204" pitchFamily="34" charset="0"/>
                <a:ea typeface="ヒラギノ角ゴ Pro W3"/>
                <a:cs typeface="Calibri" panose="020F0502020204030204" pitchFamily="34" charset="0"/>
              </a:rPr>
              <a:t>Niswender</a:t>
            </a:r>
            <a:r>
              <a:rPr lang="en-GB" altLang="en-US" sz="900" dirty="0" smtClean="0">
                <a:solidFill>
                  <a:srgbClr val="001965"/>
                </a:solidFill>
                <a:latin typeface="Calibri" panose="020F0502020204030204" pitchFamily="34" charset="0"/>
                <a:ea typeface="ヒラギノ角ゴ Pro W3"/>
                <a:cs typeface="Calibri" panose="020F0502020204030204" pitchFamily="34" charset="0"/>
              </a:rPr>
              <a:t>. </a:t>
            </a:r>
            <a:r>
              <a:rPr lang="en-GB" altLang="en-US" sz="900" i="1" dirty="0" smtClean="0">
                <a:solidFill>
                  <a:srgbClr val="001965"/>
                </a:solidFill>
                <a:latin typeface="Calibri" panose="020F0502020204030204" pitchFamily="34" charset="0"/>
                <a:ea typeface="ヒラギノ角ゴ Pro W3"/>
                <a:cs typeface="Calibri" panose="020F0502020204030204" pitchFamily="34" charset="0"/>
              </a:rPr>
              <a:t>Postgrad Med</a:t>
            </a:r>
            <a:r>
              <a:rPr lang="en-GB" altLang="en-US" sz="900" dirty="0" smtClean="0">
                <a:solidFill>
                  <a:srgbClr val="001965"/>
                </a:solidFill>
                <a:latin typeface="Calibri" panose="020F0502020204030204" pitchFamily="34" charset="0"/>
                <a:ea typeface="ヒラギノ角ゴ Pro W3"/>
                <a:cs typeface="Calibri" panose="020F0502020204030204" pitchFamily="34" charset="0"/>
              </a:rPr>
              <a:t> 2011;123:27–37 </a:t>
            </a:r>
            <a:r>
              <a:rPr lang="en-GB" sz="900" dirty="0" smtClean="0">
                <a:latin typeface="Calibri" panose="020F0502020204030204" pitchFamily="34" charset="0"/>
                <a:ea typeface="ヒラギノ角ゴ Pro W3"/>
                <a:cs typeface="Calibri" panose="020F0502020204030204" pitchFamily="34" charset="0"/>
              </a:rPr>
              <a:t>Toft</a:t>
            </a:r>
            <a:r>
              <a:rPr lang="en-GB" sz="900" dirty="0">
                <a:latin typeface="Calibri" panose="020F0502020204030204" pitchFamily="34" charset="0"/>
                <a:ea typeface="ヒラギノ角ゴ Pro W3"/>
                <a:cs typeface="Calibri" panose="020F0502020204030204" pitchFamily="34" charset="0"/>
              </a:rPr>
              <a:t>-Nielsen et al. </a:t>
            </a:r>
            <a:r>
              <a:rPr lang="en-GB" sz="900" i="1" dirty="0">
                <a:latin typeface="Calibri" panose="020F0502020204030204" pitchFamily="34" charset="0"/>
                <a:ea typeface="ヒラギノ角ゴ Pro W3"/>
                <a:cs typeface="Calibri" panose="020F0502020204030204" pitchFamily="34" charset="0"/>
              </a:rPr>
              <a:t>J </a:t>
            </a:r>
            <a:r>
              <a:rPr lang="en-GB" sz="900" i="1" dirty="0" err="1">
                <a:latin typeface="Calibri" panose="020F0502020204030204" pitchFamily="34" charset="0"/>
                <a:ea typeface="ヒラギノ角ゴ Pro W3"/>
                <a:cs typeface="Calibri" panose="020F0502020204030204" pitchFamily="34" charset="0"/>
              </a:rPr>
              <a:t>Clin</a:t>
            </a:r>
            <a:r>
              <a:rPr lang="en-GB" sz="900" i="1" dirty="0">
                <a:latin typeface="Calibri" panose="020F0502020204030204" pitchFamily="34" charset="0"/>
                <a:ea typeface="ヒラギノ角ゴ Pro W3"/>
                <a:cs typeface="Calibri" panose="020F0502020204030204" pitchFamily="34" charset="0"/>
              </a:rPr>
              <a:t> </a:t>
            </a:r>
            <a:r>
              <a:rPr lang="en-GB" sz="900" i="1" dirty="0" err="1">
                <a:latin typeface="Calibri" panose="020F0502020204030204" pitchFamily="34" charset="0"/>
                <a:ea typeface="ヒラギノ角ゴ Pro W3"/>
                <a:cs typeface="Calibri" panose="020F0502020204030204" pitchFamily="34" charset="0"/>
              </a:rPr>
              <a:t>Endocrinol</a:t>
            </a:r>
            <a:r>
              <a:rPr lang="en-GB" sz="900" i="1" dirty="0">
                <a:latin typeface="Calibri" panose="020F0502020204030204" pitchFamily="34" charset="0"/>
                <a:ea typeface="ヒラギノ角ゴ Pro W3"/>
                <a:cs typeface="Calibri" panose="020F0502020204030204" pitchFamily="34" charset="0"/>
              </a:rPr>
              <a:t> </a:t>
            </a:r>
            <a:r>
              <a:rPr lang="en-GB" sz="900" i="1" dirty="0" err="1">
                <a:latin typeface="Calibri" panose="020F0502020204030204" pitchFamily="34" charset="0"/>
                <a:ea typeface="ヒラギノ角ゴ Pro W3"/>
                <a:cs typeface="Calibri" panose="020F0502020204030204" pitchFamily="34" charset="0"/>
              </a:rPr>
              <a:t>Metab</a:t>
            </a:r>
            <a:r>
              <a:rPr lang="en-GB" sz="900" i="1" dirty="0">
                <a:latin typeface="Calibri" panose="020F0502020204030204" pitchFamily="34" charset="0"/>
                <a:ea typeface="ヒラギノ角ゴ Pro W3"/>
                <a:cs typeface="Calibri" panose="020F0502020204030204" pitchFamily="34" charset="0"/>
              </a:rPr>
              <a:t> </a:t>
            </a:r>
            <a:r>
              <a:rPr lang="en-GB" sz="900" dirty="0">
                <a:latin typeface="Calibri" panose="020F0502020204030204" pitchFamily="34" charset="0"/>
                <a:ea typeface="ヒラギノ角ゴ Pro W3"/>
                <a:cs typeface="Calibri" panose="020F0502020204030204" pitchFamily="34" charset="0"/>
              </a:rPr>
              <a:t>2001;86:3717–3723 </a:t>
            </a:r>
          </a:p>
          <a:p>
            <a:pPr defTabSz="457106"/>
            <a:endParaRPr lang="en-GB" altLang="en-US" sz="900" dirty="0">
              <a:solidFill>
                <a:srgbClr val="001965"/>
              </a:solidFill>
              <a:latin typeface="Calibri" panose="020F0502020204030204" pitchFamily="34" charset="0"/>
              <a:ea typeface="ヒラギノ角ゴ Pro W3"/>
              <a:cs typeface="Calibri" panose="020F050202020403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667609" y="2278435"/>
            <a:ext cx="4072354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GLP-1: darmhormoon uitgescheiden door cellen in de dunne darm na voedselinname. Wordt van </a:t>
            </a:r>
            <a:r>
              <a:rPr lang="nl-NL" sz="14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nature</a:t>
            </a:r>
            <a:r>
              <a:rPr lang="nl-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 snel afgebroken door het enzym DPP-4.</a:t>
            </a:r>
          </a:p>
          <a:p>
            <a:endParaRPr lang="nl-NL" sz="14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Afgifte van GLP-1 bij diabetes type 2 patiënten is verminderd</a:t>
            </a:r>
          </a:p>
          <a:p>
            <a:endParaRPr lang="nl-NL" sz="14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Toedienen van afbraak door DPP-4-resistente GLP-1 ra leidt tot farmacologische GLP-1 spiegel</a:t>
            </a:r>
          </a:p>
          <a:p>
            <a:endParaRPr lang="en-GB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454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Line 25"/>
          <p:cNvSpPr>
            <a:spLocks noChangeShapeType="1"/>
          </p:cNvSpPr>
          <p:nvPr/>
        </p:nvSpPr>
        <p:spPr bwMode="auto">
          <a:xfrm>
            <a:off x="1363670" y="1874527"/>
            <a:ext cx="1587" cy="157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7171" name="Line 26"/>
          <p:cNvSpPr>
            <a:spLocks noChangeShapeType="1"/>
          </p:cNvSpPr>
          <p:nvPr/>
        </p:nvSpPr>
        <p:spPr bwMode="auto">
          <a:xfrm>
            <a:off x="2744797" y="1874527"/>
            <a:ext cx="1587" cy="157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7172" name="Line 27"/>
          <p:cNvSpPr>
            <a:spLocks noChangeShapeType="1"/>
          </p:cNvSpPr>
          <p:nvPr/>
        </p:nvSpPr>
        <p:spPr bwMode="auto">
          <a:xfrm>
            <a:off x="4205297" y="1874527"/>
            <a:ext cx="1587" cy="157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7173" name="Line 28"/>
          <p:cNvSpPr>
            <a:spLocks noChangeShapeType="1"/>
          </p:cNvSpPr>
          <p:nvPr/>
        </p:nvSpPr>
        <p:spPr bwMode="auto">
          <a:xfrm>
            <a:off x="5699125" y="1874527"/>
            <a:ext cx="1588" cy="157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7175" name="Freeform 35"/>
          <p:cNvSpPr>
            <a:spLocks/>
          </p:cNvSpPr>
          <p:nvPr/>
        </p:nvSpPr>
        <p:spPr bwMode="auto">
          <a:xfrm>
            <a:off x="1438275" y="830349"/>
            <a:ext cx="901700" cy="1096566"/>
          </a:xfrm>
          <a:custGeom>
            <a:avLst/>
            <a:gdLst>
              <a:gd name="T0" fmla="*/ 0 w 1488"/>
              <a:gd name="T1" fmla="*/ 2147483647 h 816"/>
              <a:gd name="T2" fmla="*/ 2147483647 w 1488"/>
              <a:gd name="T3" fmla="*/ 0 h 816"/>
              <a:gd name="T4" fmla="*/ 2147483647 w 1488"/>
              <a:gd name="T5" fmla="*/ 2147483647 h 81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88" h="816">
                <a:moveTo>
                  <a:pt x="0" y="816"/>
                </a:moveTo>
                <a:cubicBezTo>
                  <a:pt x="140" y="408"/>
                  <a:pt x="280" y="0"/>
                  <a:pt x="528" y="0"/>
                </a:cubicBezTo>
                <a:cubicBezTo>
                  <a:pt x="776" y="0"/>
                  <a:pt x="1132" y="408"/>
                  <a:pt x="1488" y="816"/>
                </a:cubicBezTo>
              </a:path>
            </a:pathLst>
          </a:custGeom>
          <a:solidFill>
            <a:srgbClr val="FF6600"/>
          </a:solidFill>
          <a:ln w="38100" cmpd="sng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7176" name="Text Box 37"/>
          <p:cNvSpPr txBox="1">
            <a:spLocks noChangeArrowheads="1"/>
          </p:cNvSpPr>
          <p:nvPr/>
        </p:nvSpPr>
        <p:spPr bwMode="auto">
          <a:xfrm>
            <a:off x="1476376" y="1405433"/>
            <a:ext cx="714709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nl-NL" sz="2400">
                <a:solidFill>
                  <a:srgbClr val="000000"/>
                </a:solidFill>
              </a:rPr>
              <a:t>ukw</a:t>
            </a:r>
            <a:endParaRPr lang="nl-NL" altLang="nl-NL" sz="2400">
              <a:solidFill>
                <a:srgbClr val="000000"/>
              </a:solidFill>
            </a:endParaRPr>
          </a:p>
        </p:txBody>
      </p:sp>
      <p:sp>
        <p:nvSpPr>
          <p:cNvPr id="7177" name="Text Box 50"/>
          <p:cNvSpPr txBox="1">
            <a:spLocks noChangeArrowheads="1"/>
          </p:cNvSpPr>
          <p:nvPr/>
        </p:nvSpPr>
        <p:spPr bwMode="auto">
          <a:xfrm>
            <a:off x="5311776" y="938697"/>
            <a:ext cx="2821168" cy="1169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None/>
            </a:pPr>
            <a:r>
              <a:rPr lang="en-US" altLang="nl-NL" sz="1400" dirty="0" err="1">
                <a:solidFill>
                  <a:srgbClr val="000000"/>
                </a:solidFill>
                <a:latin typeface="+mn-lt"/>
                <a:cs typeface="PT Sans"/>
              </a:rPr>
              <a:t>insuline</a:t>
            </a:r>
            <a:r>
              <a:rPr lang="en-US" altLang="nl-NL" sz="1400" dirty="0">
                <a:solidFill>
                  <a:srgbClr val="000000"/>
                </a:solidFill>
                <a:latin typeface="+mn-lt"/>
                <a:cs typeface="PT Sans"/>
              </a:rPr>
              <a:t> </a:t>
            </a:r>
            <a:r>
              <a:rPr lang="en-US" altLang="nl-NL" sz="1400" dirty="0" err="1">
                <a:solidFill>
                  <a:srgbClr val="000000"/>
                </a:solidFill>
                <a:latin typeface="+mn-lt"/>
                <a:cs typeface="PT Sans"/>
              </a:rPr>
              <a:t>aspart</a:t>
            </a:r>
            <a:r>
              <a:rPr lang="en-US" altLang="nl-NL" sz="1400" dirty="0">
                <a:solidFill>
                  <a:srgbClr val="000000"/>
                </a:solidFill>
                <a:latin typeface="+mn-lt"/>
                <a:cs typeface="PT Sans"/>
              </a:rPr>
              <a:t>: Novo Rapid®, </a:t>
            </a:r>
            <a:r>
              <a:rPr lang="en-US" altLang="nl-NL" sz="1400" dirty="0" err="1" smtClean="0">
                <a:solidFill>
                  <a:srgbClr val="000000"/>
                </a:solidFill>
                <a:latin typeface="+mn-lt"/>
                <a:cs typeface="PT Sans"/>
              </a:rPr>
              <a:t>Fiasp</a:t>
            </a:r>
            <a:r>
              <a:rPr lang="en-US" altLang="nl-NL" sz="1400" dirty="0" smtClean="0">
                <a:solidFill>
                  <a:srgbClr val="000000"/>
                </a:solidFill>
                <a:latin typeface="+mn-lt"/>
                <a:cs typeface="PT Sans"/>
              </a:rPr>
              <a:t>®</a:t>
            </a:r>
            <a:endParaRPr lang="en-US" altLang="nl-NL" sz="1400" dirty="0">
              <a:solidFill>
                <a:srgbClr val="000000"/>
              </a:solidFill>
              <a:latin typeface="+mn-lt"/>
              <a:cs typeface="PT Sans"/>
            </a:endParaRPr>
          </a:p>
          <a:p>
            <a:pPr eaLnBrk="1" hangingPunct="1">
              <a:spcBef>
                <a:spcPct val="0"/>
              </a:spcBef>
              <a:buNone/>
            </a:pPr>
            <a:r>
              <a:rPr lang="en-US" altLang="nl-NL" sz="1400" dirty="0" err="1">
                <a:solidFill>
                  <a:srgbClr val="000000"/>
                </a:solidFill>
                <a:latin typeface="+mn-lt"/>
                <a:cs typeface="PT Sans"/>
              </a:rPr>
              <a:t>insuline</a:t>
            </a:r>
            <a:r>
              <a:rPr lang="en-US" altLang="nl-NL" sz="1400" dirty="0">
                <a:solidFill>
                  <a:srgbClr val="000000"/>
                </a:solidFill>
                <a:latin typeface="+mn-lt"/>
                <a:cs typeface="PT Sans"/>
              </a:rPr>
              <a:t> </a:t>
            </a:r>
            <a:r>
              <a:rPr lang="en-US" altLang="nl-NL" sz="1400" dirty="0" err="1">
                <a:solidFill>
                  <a:srgbClr val="000000"/>
                </a:solidFill>
                <a:latin typeface="+mn-lt"/>
                <a:cs typeface="PT Sans"/>
              </a:rPr>
              <a:t>lispro</a:t>
            </a:r>
            <a:r>
              <a:rPr lang="en-US" altLang="nl-NL" sz="1400" dirty="0">
                <a:solidFill>
                  <a:srgbClr val="000000"/>
                </a:solidFill>
                <a:latin typeface="+mn-lt"/>
                <a:cs typeface="PT Sans"/>
              </a:rPr>
              <a:t> : </a:t>
            </a:r>
            <a:r>
              <a:rPr lang="en-US" altLang="nl-NL" sz="1400" dirty="0" smtClean="0">
                <a:solidFill>
                  <a:srgbClr val="000000"/>
                </a:solidFill>
                <a:latin typeface="+mn-lt"/>
                <a:cs typeface="PT Sans"/>
              </a:rPr>
              <a:t>Humalog 100®, 200</a:t>
            </a:r>
            <a:r>
              <a:rPr lang="en-GB" altLang="en-US" sz="1400" dirty="0" smtClean="0">
                <a:solidFill>
                  <a:srgbClr val="00142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endParaRPr lang="en-US" altLang="nl-NL" sz="1400" dirty="0">
              <a:solidFill>
                <a:srgbClr val="000000"/>
              </a:solidFill>
              <a:latin typeface="+mn-lt"/>
              <a:cs typeface="PT Sans"/>
            </a:endParaRPr>
          </a:p>
          <a:p>
            <a:pPr eaLnBrk="1" hangingPunct="1">
              <a:spcBef>
                <a:spcPct val="0"/>
              </a:spcBef>
              <a:buNone/>
            </a:pPr>
            <a:r>
              <a:rPr lang="en-US" altLang="nl-NL" sz="1400" dirty="0" err="1">
                <a:solidFill>
                  <a:srgbClr val="000000"/>
                </a:solidFill>
                <a:latin typeface="+mn-lt"/>
                <a:cs typeface="PT Sans"/>
              </a:rPr>
              <a:t>glulisine</a:t>
            </a:r>
            <a:r>
              <a:rPr lang="en-US" altLang="nl-NL" sz="1400" dirty="0">
                <a:solidFill>
                  <a:srgbClr val="000000"/>
                </a:solidFill>
                <a:latin typeface="+mn-lt"/>
                <a:cs typeface="PT Sans"/>
              </a:rPr>
              <a:t> </a:t>
            </a:r>
            <a:r>
              <a:rPr lang="en-US" altLang="nl-NL" sz="1400" dirty="0" err="1">
                <a:solidFill>
                  <a:srgbClr val="000000"/>
                </a:solidFill>
                <a:latin typeface="+mn-lt"/>
                <a:cs typeface="PT Sans"/>
              </a:rPr>
              <a:t>Apidra</a:t>
            </a:r>
            <a:r>
              <a:rPr lang="en-US" altLang="nl-NL" sz="1400" dirty="0">
                <a:solidFill>
                  <a:srgbClr val="000000"/>
                </a:solidFill>
                <a:latin typeface="+mn-lt"/>
                <a:cs typeface="PT Sans"/>
              </a:rPr>
              <a:t> ® </a:t>
            </a:r>
          </a:p>
          <a:p>
            <a:pPr eaLnBrk="1" hangingPunct="1">
              <a:spcBef>
                <a:spcPct val="0"/>
              </a:spcBef>
              <a:buNone/>
            </a:pPr>
            <a:endParaRPr lang="en-US" altLang="nl-NL" sz="1400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400" dirty="0">
              <a:solidFill>
                <a:srgbClr val="000000"/>
              </a:solidFill>
            </a:endParaRPr>
          </a:p>
        </p:txBody>
      </p:sp>
      <p:sp>
        <p:nvSpPr>
          <p:cNvPr id="7179" name="Line 15"/>
          <p:cNvSpPr>
            <a:spLocks noChangeShapeType="1"/>
          </p:cNvSpPr>
          <p:nvPr/>
        </p:nvSpPr>
        <p:spPr bwMode="auto">
          <a:xfrm>
            <a:off x="1370022" y="2974256"/>
            <a:ext cx="1587" cy="1762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7182" name="Freeform 34"/>
          <p:cNvSpPr>
            <a:spLocks/>
          </p:cNvSpPr>
          <p:nvPr/>
        </p:nvSpPr>
        <p:spPr bwMode="auto">
          <a:xfrm>
            <a:off x="1446215" y="2139629"/>
            <a:ext cx="1685925" cy="892969"/>
          </a:xfrm>
          <a:custGeom>
            <a:avLst/>
            <a:gdLst>
              <a:gd name="T0" fmla="*/ 0 w 1488"/>
              <a:gd name="T1" fmla="*/ 2147483647 h 816"/>
              <a:gd name="T2" fmla="*/ 2147483647 w 1488"/>
              <a:gd name="T3" fmla="*/ 0 h 816"/>
              <a:gd name="T4" fmla="*/ 2147483647 w 1488"/>
              <a:gd name="T5" fmla="*/ 2147483647 h 81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88" h="816">
                <a:moveTo>
                  <a:pt x="0" y="816"/>
                </a:moveTo>
                <a:cubicBezTo>
                  <a:pt x="140" y="408"/>
                  <a:pt x="280" y="0"/>
                  <a:pt x="528" y="0"/>
                </a:cubicBezTo>
                <a:cubicBezTo>
                  <a:pt x="776" y="0"/>
                  <a:pt x="1132" y="408"/>
                  <a:pt x="1488" y="816"/>
                </a:cubicBezTo>
              </a:path>
            </a:pathLst>
          </a:custGeom>
          <a:solidFill>
            <a:srgbClr val="FFFF00"/>
          </a:solidFill>
          <a:ln w="38100" cmpd="sng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7183" name="Text Box 36"/>
          <p:cNvSpPr txBox="1">
            <a:spLocks noChangeArrowheads="1"/>
          </p:cNvSpPr>
          <p:nvPr/>
        </p:nvSpPr>
        <p:spPr bwMode="auto">
          <a:xfrm>
            <a:off x="1908176" y="2605167"/>
            <a:ext cx="56082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nl-NL" sz="2400">
                <a:solidFill>
                  <a:srgbClr val="000000"/>
                </a:solidFill>
              </a:rPr>
              <a:t>kw</a:t>
            </a:r>
            <a:endParaRPr lang="nl-NL" altLang="nl-NL" sz="2400">
              <a:solidFill>
                <a:srgbClr val="000000"/>
              </a:solidFill>
            </a:endParaRPr>
          </a:p>
        </p:txBody>
      </p:sp>
      <p:sp>
        <p:nvSpPr>
          <p:cNvPr id="7184" name="Text Box 51"/>
          <p:cNvSpPr txBox="1">
            <a:spLocks noChangeArrowheads="1"/>
          </p:cNvSpPr>
          <p:nvPr/>
        </p:nvSpPr>
        <p:spPr bwMode="auto">
          <a:xfrm>
            <a:off x="5435608" y="2193218"/>
            <a:ext cx="158943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nl-NL" sz="1400" dirty="0" err="1">
                <a:solidFill>
                  <a:srgbClr val="000000"/>
                </a:solidFill>
                <a:latin typeface="+mn-lt"/>
                <a:cs typeface="PT Sans"/>
              </a:rPr>
              <a:t>Humuline</a:t>
            </a:r>
            <a:r>
              <a:rPr lang="en-US" altLang="nl-NL" sz="1400" dirty="0">
                <a:solidFill>
                  <a:srgbClr val="000000"/>
                </a:solidFill>
                <a:latin typeface="+mn-lt"/>
                <a:cs typeface="PT Sans"/>
              </a:rPr>
              <a:t> Regular</a:t>
            </a:r>
            <a:r>
              <a:rPr lang="en-US" altLang="nl-NL" sz="1100" dirty="0">
                <a:solidFill>
                  <a:srgbClr val="000000"/>
                </a:solidFill>
                <a:latin typeface="PT Sans"/>
                <a:cs typeface="PT Sans"/>
              </a:rPr>
              <a:t>®</a:t>
            </a:r>
            <a:endParaRPr lang="nl-NL" altLang="nl-NL" sz="1100" dirty="0">
              <a:solidFill>
                <a:srgbClr val="000000"/>
              </a:solidFill>
              <a:latin typeface="PT Sans"/>
              <a:cs typeface="PT Sans"/>
            </a:endParaRPr>
          </a:p>
        </p:txBody>
      </p:sp>
      <p:sp>
        <p:nvSpPr>
          <p:cNvPr id="7191" name="Text Box 64"/>
          <p:cNvSpPr txBox="1">
            <a:spLocks noChangeArrowheads="1"/>
          </p:cNvSpPr>
          <p:nvPr/>
        </p:nvSpPr>
        <p:spPr bwMode="auto">
          <a:xfrm>
            <a:off x="5435608" y="3435847"/>
            <a:ext cx="2025878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nl-NL" sz="1400" dirty="0">
                <a:solidFill>
                  <a:srgbClr val="000000"/>
                </a:solidFill>
                <a:latin typeface="+mn-lt"/>
                <a:cs typeface="PT Sans"/>
              </a:rPr>
              <a:t>NPH </a:t>
            </a:r>
            <a:r>
              <a:rPr lang="en-US" altLang="nl-NL" sz="1400" dirty="0" err="1">
                <a:solidFill>
                  <a:srgbClr val="000000"/>
                </a:solidFill>
                <a:latin typeface="+mn-lt"/>
                <a:cs typeface="PT Sans"/>
              </a:rPr>
              <a:t>insuline</a:t>
            </a:r>
            <a:r>
              <a:rPr lang="en-US" altLang="nl-NL" sz="1400" dirty="0">
                <a:solidFill>
                  <a:srgbClr val="000000"/>
                </a:solidFill>
                <a:latin typeface="+mn-lt"/>
                <a:cs typeface="PT Sans"/>
              </a:rPr>
              <a:t>: </a:t>
            </a:r>
            <a:r>
              <a:rPr lang="en-US" altLang="nl-NL" sz="1400" dirty="0" err="1">
                <a:solidFill>
                  <a:srgbClr val="000000"/>
                </a:solidFill>
                <a:latin typeface="+mn-lt"/>
                <a:cs typeface="PT Sans"/>
              </a:rPr>
              <a:t>Insulatard</a:t>
            </a:r>
            <a:r>
              <a:rPr lang="en-US" altLang="nl-NL" sz="1400" dirty="0">
                <a:solidFill>
                  <a:srgbClr val="000000"/>
                </a:solidFill>
                <a:latin typeface="+mn-lt"/>
                <a:cs typeface="PT Sans"/>
              </a:rPr>
              <a:t>®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nl-NL" sz="1400" dirty="0" err="1">
                <a:solidFill>
                  <a:srgbClr val="000000"/>
                </a:solidFill>
                <a:latin typeface="+mn-lt"/>
                <a:cs typeface="PT Sans"/>
              </a:rPr>
              <a:t>Humuline</a:t>
            </a:r>
            <a:r>
              <a:rPr lang="en-US" altLang="nl-NL" sz="1400" dirty="0">
                <a:solidFill>
                  <a:srgbClr val="000000"/>
                </a:solidFill>
                <a:latin typeface="+mn-lt"/>
                <a:cs typeface="PT Sans"/>
              </a:rPr>
              <a:t> </a:t>
            </a:r>
            <a:r>
              <a:rPr lang="en-US" altLang="nl-NL" sz="1400" dirty="0" smtClean="0">
                <a:solidFill>
                  <a:srgbClr val="000000"/>
                </a:solidFill>
                <a:latin typeface="+mn-lt"/>
                <a:cs typeface="PT Sans"/>
              </a:rPr>
              <a:t>NPH®</a:t>
            </a:r>
            <a:endParaRPr lang="nl-NL" altLang="nl-NL" sz="1400" dirty="0">
              <a:solidFill>
                <a:srgbClr val="000000"/>
              </a:solidFill>
              <a:latin typeface="+mn-lt"/>
              <a:cs typeface="PT Sans"/>
            </a:endParaRPr>
          </a:p>
        </p:txBody>
      </p:sp>
      <p:sp>
        <p:nvSpPr>
          <p:cNvPr id="7213" name="Line 112"/>
          <p:cNvSpPr>
            <a:spLocks noChangeShapeType="1"/>
          </p:cNvSpPr>
          <p:nvPr/>
        </p:nvSpPr>
        <p:spPr bwMode="auto">
          <a:xfrm>
            <a:off x="987434" y="1927543"/>
            <a:ext cx="6537325" cy="1191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7195" name="Line 113"/>
          <p:cNvSpPr>
            <a:spLocks noChangeShapeType="1"/>
          </p:cNvSpPr>
          <p:nvPr/>
        </p:nvSpPr>
        <p:spPr bwMode="auto">
          <a:xfrm>
            <a:off x="990602" y="3032597"/>
            <a:ext cx="6605588" cy="1191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7197" name="Line 115"/>
          <p:cNvSpPr>
            <a:spLocks noChangeShapeType="1"/>
          </p:cNvSpPr>
          <p:nvPr/>
        </p:nvSpPr>
        <p:spPr bwMode="auto">
          <a:xfrm>
            <a:off x="2744797" y="2987353"/>
            <a:ext cx="1587" cy="157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7198" name="Line 116"/>
          <p:cNvSpPr>
            <a:spLocks noChangeShapeType="1"/>
          </p:cNvSpPr>
          <p:nvPr/>
        </p:nvSpPr>
        <p:spPr bwMode="auto">
          <a:xfrm>
            <a:off x="4205297" y="2987353"/>
            <a:ext cx="1587" cy="157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7199" name="Line 117"/>
          <p:cNvSpPr>
            <a:spLocks noChangeShapeType="1"/>
          </p:cNvSpPr>
          <p:nvPr/>
        </p:nvSpPr>
        <p:spPr bwMode="auto">
          <a:xfrm>
            <a:off x="5699125" y="2987353"/>
            <a:ext cx="1588" cy="157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46" name="Text Box 3"/>
          <p:cNvSpPr txBox="1">
            <a:spLocks noChangeArrowheads="1"/>
          </p:cNvSpPr>
          <p:nvPr/>
        </p:nvSpPr>
        <p:spPr bwMode="auto">
          <a:xfrm>
            <a:off x="0" y="25015"/>
            <a:ext cx="9144000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nl-NL" b="1" dirty="0" smtClean="0">
                <a:solidFill>
                  <a:srgbClr val="000000"/>
                </a:solidFill>
                <a:cs typeface="PT Sans"/>
              </a:rPr>
              <a:t>Maaltijd</a:t>
            </a:r>
            <a:r>
              <a:rPr lang="mr-IN" b="1" dirty="0" smtClean="0">
                <a:solidFill>
                  <a:srgbClr val="000000"/>
                </a:solidFill>
                <a:cs typeface="PT Sans"/>
              </a:rPr>
              <a:t>–</a:t>
            </a:r>
            <a:r>
              <a:rPr lang="nl-NL" b="1" dirty="0" smtClean="0">
                <a:solidFill>
                  <a:srgbClr val="000000"/>
                </a:solidFill>
                <a:cs typeface="PT Sans"/>
              </a:rPr>
              <a:t> en basale insuline</a:t>
            </a:r>
            <a:endParaRPr lang="nl-NL" b="1" dirty="0">
              <a:solidFill>
                <a:srgbClr val="000000"/>
              </a:solidFill>
              <a:cs typeface="PT Sans"/>
            </a:endParaRPr>
          </a:p>
        </p:txBody>
      </p:sp>
      <p:sp>
        <p:nvSpPr>
          <p:cNvPr id="47" name="Tekstvak 1"/>
          <p:cNvSpPr txBox="1">
            <a:spLocks noChangeArrowheads="1"/>
          </p:cNvSpPr>
          <p:nvPr/>
        </p:nvSpPr>
        <p:spPr bwMode="auto">
          <a:xfrm>
            <a:off x="1514927" y="4725027"/>
            <a:ext cx="6129418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nl-NL" sz="1050" dirty="0">
                <a:solidFill>
                  <a:srgbClr val="000000"/>
                </a:solidFill>
                <a:cs typeface="PT Sans"/>
              </a:rPr>
              <a:t>Boek: Praktische insulinetherapie  Hoogenberg et al; pagina </a:t>
            </a:r>
            <a:r>
              <a:rPr lang="nl-NL" sz="1050" dirty="0" smtClean="0">
                <a:solidFill>
                  <a:srgbClr val="000000"/>
                </a:solidFill>
                <a:cs typeface="PT Sans"/>
              </a:rPr>
              <a:t>21</a:t>
            </a:r>
            <a:endParaRPr lang="nl-NL" sz="1050" b="1" dirty="0">
              <a:solidFill>
                <a:srgbClr val="000000"/>
              </a:solidFill>
            </a:endParaRPr>
          </a:p>
        </p:txBody>
      </p:sp>
      <p:grpSp>
        <p:nvGrpSpPr>
          <p:cNvPr id="48" name="Groep 13"/>
          <p:cNvGrpSpPr>
            <a:grpSpLocks/>
          </p:cNvGrpSpPr>
          <p:nvPr/>
        </p:nvGrpSpPr>
        <p:grpSpPr bwMode="auto">
          <a:xfrm>
            <a:off x="924278" y="3705876"/>
            <a:ext cx="6754988" cy="785813"/>
            <a:chOff x="1183060" y="4829762"/>
            <a:chExt cx="7600302" cy="1047510"/>
          </a:xfrm>
        </p:grpSpPr>
        <p:sp>
          <p:nvSpPr>
            <p:cNvPr id="49" name="Freeform 29"/>
            <p:cNvSpPr>
              <a:spLocks/>
            </p:cNvSpPr>
            <p:nvPr/>
          </p:nvSpPr>
          <p:spPr bwMode="auto">
            <a:xfrm>
              <a:off x="1543050" y="4829762"/>
              <a:ext cx="4468825" cy="543454"/>
            </a:xfrm>
            <a:custGeom>
              <a:avLst/>
              <a:gdLst>
                <a:gd name="T0" fmla="*/ 0 w 3408"/>
                <a:gd name="T1" fmla="*/ 2147483647 h 432"/>
                <a:gd name="T2" fmla="*/ 2147483647 w 3408"/>
                <a:gd name="T3" fmla="*/ 0 h 432"/>
                <a:gd name="T4" fmla="*/ 2147483647 w 3408"/>
                <a:gd name="T5" fmla="*/ 2147483647 h 432"/>
                <a:gd name="T6" fmla="*/ 0 60000 65536"/>
                <a:gd name="T7" fmla="*/ 0 60000 65536"/>
                <a:gd name="T8" fmla="*/ 0 60000 65536"/>
                <a:gd name="T9" fmla="*/ 0 w 3408"/>
                <a:gd name="T10" fmla="*/ 0 h 432"/>
                <a:gd name="T11" fmla="*/ 3408 w 3408"/>
                <a:gd name="T12" fmla="*/ 432 h 4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408" h="432">
                  <a:moveTo>
                    <a:pt x="0" y="432"/>
                  </a:moveTo>
                  <a:cubicBezTo>
                    <a:pt x="388" y="216"/>
                    <a:pt x="776" y="0"/>
                    <a:pt x="1344" y="0"/>
                  </a:cubicBezTo>
                  <a:cubicBezTo>
                    <a:pt x="1912" y="0"/>
                    <a:pt x="2660" y="216"/>
                    <a:pt x="3408" y="432"/>
                  </a:cubicBezTo>
                </a:path>
              </a:pathLst>
            </a:custGeom>
            <a:solidFill>
              <a:srgbClr val="009900"/>
            </a:solidFill>
            <a:ln w="38100" cmpd="sng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nl-NL">
                <a:solidFill>
                  <a:srgbClr val="000000"/>
                </a:solidFill>
              </a:endParaRPr>
            </a:p>
          </p:txBody>
        </p:sp>
        <p:grpSp>
          <p:nvGrpSpPr>
            <p:cNvPr id="50" name="Groep 158"/>
            <p:cNvGrpSpPr>
              <a:grpSpLocks/>
            </p:cNvGrpSpPr>
            <p:nvPr/>
          </p:nvGrpSpPr>
          <p:grpSpPr bwMode="auto">
            <a:xfrm>
              <a:off x="1183060" y="5257056"/>
              <a:ext cx="7600302" cy="620216"/>
              <a:chOff x="823350" y="5545088"/>
              <a:chExt cx="7600302" cy="620216"/>
            </a:xfrm>
          </p:grpSpPr>
          <p:pic>
            <p:nvPicPr>
              <p:cNvPr id="51" name="Picture 2" descr="insulatard"/>
              <p:cNvPicPr>
                <a:picLocks noChangeAspect="1" noChangeArrowheads="1"/>
              </p:cNvPicPr>
              <p:nvPr/>
            </p:nvPicPr>
            <p:blipFill>
              <a:blip r:embed="rId2"/>
              <a:srcRect t="82816" r="-368"/>
              <a:stretch>
                <a:fillRect/>
              </a:stretch>
            </p:blipFill>
            <p:spPr bwMode="auto">
              <a:xfrm>
                <a:off x="823350" y="5862489"/>
                <a:ext cx="7600302" cy="3028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52" name="Groep 160"/>
              <p:cNvGrpSpPr>
                <a:grpSpLocks/>
              </p:cNvGrpSpPr>
              <p:nvPr/>
            </p:nvGrpSpPr>
            <p:grpSpPr bwMode="auto">
              <a:xfrm>
                <a:off x="931363" y="5545088"/>
                <a:ext cx="7236473" cy="260176"/>
                <a:chOff x="931363" y="5545088"/>
                <a:chExt cx="7568115" cy="260176"/>
              </a:xfrm>
            </p:grpSpPr>
            <p:cxnSp>
              <p:nvCxnSpPr>
                <p:cNvPr id="53" name="Rechte verbindingslijn 161"/>
                <p:cNvCxnSpPr>
                  <a:cxnSpLocks noChangeShapeType="1"/>
                </p:cNvCxnSpPr>
                <p:nvPr/>
              </p:nvCxnSpPr>
              <p:spPr bwMode="auto">
                <a:xfrm>
                  <a:off x="931363" y="5661248"/>
                  <a:ext cx="7568115" cy="0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54" name="Rechte verbindingslijn 162"/>
                <p:cNvCxnSpPr>
                  <a:cxnSpLocks noChangeShapeType="1"/>
                </p:cNvCxnSpPr>
                <p:nvPr/>
              </p:nvCxnSpPr>
              <p:spPr bwMode="auto">
                <a:xfrm>
                  <a:off x="1255068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55" name="Rechte verbindingslijn 163"/>
                <p:cNvCxnSpPr>
                  <a:cxnSpLocks noChangeShapeType="1"/>
                </p:cNvCxnSpPr>
                <p:nvPr/>
              </p:nvCxnSpPr>
              <p:spPr bwMode="auto">
                <a:xfrm>
                  <a:off x="1543100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56" name="Rechte verbindingslijn 164"/>
                <p:cNvCxnSpPr>
                  <a:cxnSpLocks noChangeShapeType="1"/>
                </p:cNvCxnSpPr>
                <p:nvPr/>
              </p:nvCxnSpPr>
              <p:spPr bwMode="auto">
                <a:xfrm>
                  <a:off x="1831132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57" name="Rechte verbindingslijn 165"/>
                <p:cNvCxnSpPr>
                  <a:cxnSpLocks noChangeShapeType="1"/>
                </p:cNvCxnSpPr>
                <p:nvPr/>
              </p:nvCxnSpPr>
              <p:spPr bwMode="auto">
                <a:xfrm>
                  <a:off x="2119164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58" name="Rechte verbindingslijn 166"/>
                <p:cNvCxnSpPr>
                  <a:cxnSpLocks noChangeShapeType="1"/>
                </p:cNvCxnSpPr>
                <p:nvPr/>
              </p:nvCxnSpPr>
              <p:spPr bwMode="auto">
                <a:xfrm>
                  <a:off x="2407196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59" name="Rechte verbindingslijn 167"/>
                <p:cNvCxnSpPr>
                  <a:cxnSpLocks noChangeShapeType="1"/>
                </p:cNvCxnSpPr>
                <p:nvPr/>
              </p:nvCxnSpPr>
              <p:spPr bwMode="auto">
                <a:xfrm>
                  <a:off x="2978324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60" name="Rechte verbindingslijn 168"/>
                <p:cNvCxnSpPr>
                  <a:cxnSpLocks noChangeShapeType="1"/>
                </p:cNvCxnSpPr>
                <p:nvPr/>
              </p:nvCxnSpPr>
              <p:spPr bwMode="auto">
                <a:xfrm>
                  <a:off x="3276228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61" name="Rechte verbindingslijn 169"/>
                <p:cNvCxnSpPr>
                  <a:cxnSpLocks noChangeShapeType="1"/>
                </p:cNvCxnSpPr>
                <p:nvPr/>
              </p:nvCxnSpPr>
              <p:spPr bwMode="auto">
                <a:xfrm>
                  <a:off x="3564260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62" name="Rechte verbindingslijn 170"/>
                <p:cNvCxnSpPr>
                  <a:cxnSpLocks noChangeShapeType="1"/>
                </p:cNvCxnSpPr>
                <p:nvPr/>
              </p:nvCxnSpPr>
              <p:spPr bwMode="auto">
                <a:xfrm>
                  <a:off x="3852292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63" name="Rechte verbindingslijn 171"/>
                <p:cNvCxnSpPr>
                  <a:cxnSpLocks noChangeShapeType="1"/>
                </p:cNvCxnSpPr>
                <p:nvPr/>
              </p:nvCxnSpPr>
              <p:spPr bwMode="auto">
                <a:xfrm>
                  <a:off x="4140324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64" name="Rechte verbindingslijn 172"/>
                <p:cNvCxnSpPr>
                  <a:cxnSpLocks noChangeShapeType="1"/>
                </p:cNvCxnSpPr>
                <p:nvPr/>
              </p:nvCxnSpPr>
              <p:spPr bwMode="auto">
                <a:xfrm>
                  <a:off x="4428356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65" name="Rechte verbindingslijn 173"/>
                <p:cNvCxnSpPr>
                  <a:cxnSpLocks noChangeShapeType="1"/>
                </p:cNvCxnSpPr>
                <p:nvPr/>
              </p:nvCxnSpPr>
              <p:spPr bwMode="auto">
                <a:xfrm>
                  <a:off x="4711452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66" name="Rechte verbindingslijn 174"/>
                <p:cNvCxnSpPr>
                  <a:cxnSpLocks noChangeShapeType="1"/>
                </p:cNvCxnSpPr>
                <p:nvPr/>
              </p:nvCxnSpPr>
              <p:spPr bwMode="auto">
                <a:xfrm>
                  <a:off x="5004420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67" name="Rechte verbindingslijn 175"/>
                <p:cNvCxnSpPr>
                  <a:cxnSpLocks noChangeShapeType="1"/>
                </p:cNvCxnSpPr>
                <p:nvPr/>
              </p:nvCxnSpPr>
              <p:spPr bwMode="auto">
                <a:xfrm>
                  <a:off x="5292452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68" name="Rechte verbindingslijn 176"/>
                <p:cNvCxnSpPr>
                  <a:cxnSpLocks noChangeShapeType="1"/>
                </p:cNvCxnSpPr>
                <p:nvPr/>
              </p:nvCxnSpPr>
              <p:spPr bwMode="auto">
                <a:xfrm>
                  <a:off x="5580484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69" name="Rechte verbindingslijn 177"/>
                <p:cNvCxnSpPr>
                  <a:cxnSpLocks noChangeShapeType="1"/>
                </p:cNvCxnSpPr>
                <p:nvPr/>
              </p:nvCxnSpPr>
              <p:spPr bwMode="auto">
                <a:xfrm>
                  <a:off x="5868516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70" name="Rechte verbindingslijn 178"/>
                <p:cNvCxnSpPr>
                  <a:cxnSpLocks noChangeShapeType="1"/>
                </p:cNvCxnSpPr>
                <p:nvPr/>
              </p:nvCxnSpPr>
              <p:spPr bwMode="auto">
                <a:xfrm>
                  <a:off x="6156548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71" name="Rechte verbindingslijn 179"/>
                <p:cNvCxnSpPr>
                  <a:cxnSpLocks noChangeShapeType="1"/>
                </p:cNvCxnSpPr>
                <p:nvPr/>
              </p:nvCxnSpPr>
              <p:spPr bwMode="auto">
                <a:xfrm>
                  <a:off x="2695228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72" name="Rechte verbindingslijn 180"/>
                <p:cNvCxnSpPr>
                  <a:cxnSpLocks noChangeShapeType="1"/>
                </p:cNvCxnSpPr>
                <p:nvPr/>
              </p:nvCxnSpPr>
              <p:spPr bwMode="auto">
                <a:xfrm>
                  <a:off x="6439644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73" name="Rechte verbindingslijn 181"/>
                <p:cNvCxnSpPr>
                  <a:cxnSpLocks noChangeShapeType="1"/>
                </p:cNvCxnSpPr>
                <p:nvPr/>
              </p:nvCxnSpPr>
              <p:spPr bwMode="auto">
                <a:xfrm>
                  <a:off x="6722740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74" name="Rechte verbindingslijn 182"/>
                <p:cNvCxnSpPr>
                  <a:cxnSpLocks noChangeShapeType="1"/>
                </p:cNvCxnSpPr>
                <p:nvPr/>
              </p:nvCxnSpPr>
              <p:spPr bwMode="auto">
                <a:xfrm>
                  <a:off x="7015708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75" name="Rechte verbindingslijn 183"/>
                <p:cNvCxnSpPr>
                  <a:cxnSpLocks noChangeShapeType="1"/>
                </p:cNvCxnSpPr>
                <p:nvPr/>
              </p:nvCxnSpPr>
              <p:spPr bwMode="auto">
                <a:xfrm>
                  <a:off x="7303740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76" name="Rechte verbindingslijn 184"/>
                <p:cNvCxnSpPr>
                  <a:cxnSpLocks noChangeShapeType="1"/>
                </p:cNvCxnSpPr>
                <p:nvPr/>
              </p:nvCxnSpPr>
              <p:spPr bwMode="auto">
                <a:xfrm>
                  <a:off x="7591772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77" name="Rechte verbindingslijn 185"/>
                <p:cNvCxnSpPr>
                  <a:cxnSpLocks noChangeShapeType="1"/>
                </p:cNvCxnSpPr>
                <p:nvPr/>
              </p:nvCxnSpPr>
              <p:spPr bwMode="auto">
                <a:xfrm>
                  <a:off x="7879804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  <p:cxnSp>
              <p:nvCxnSpPr>
                <p:cNvPr id="78" name="Rechte verbindingslijn 186"/>
                <p:cNvCxnSpPr>
                  <a:cxnSpLocks noChangeShapeType="1"/>
                </p:cNvCxnSpPr>
                <p:nvPr/>
              </p:nvCxnSpPr>
              <p:spPr bwMode="auto">
                <a:xfrm>
                  <a:off x="8167836" y="5545088"/>
                  <a:ext cx="0" cy="26017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</p:cxnSp>
          </p:grpSp>
        </p:grpSp>
      </p:grpSp>
    </p:spTree>
    <p:extLst>
      <p:ext uri="{BB962C8B-B14F-4D97-AF65-F5344CB8AC3E}">
        <p14:creationId xmlns:p14="http://schemas.microsoft.com/office/powerpoint/2010/main" val="42542134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82"/>
          <p:cNvSpPr>
            <a:spLocks noChangeArrowheads="1"/>
          </p:cNvSpPr>
          <p:nvPr/>
        </p:nvSpPr>
        <p:spPr bwMode="auto">
          <a:xfrm>
            <a:off x="468322" y="1247237"/>
            <a:ext cx="790575" cy="5941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400">
              <a:solidFill>
                <a:srgbClr val="000000"/>
              </a:solidFill>
            </a:endParaRPr>
          </a:p>
        </p:txBody>
      </p:sp>
      <p:sp>
        <p:nvSpPr>
          <p:cNvPr id="8195" name="Text Box 16"/>
          <p:cNvSpPr txBox="1">
            <a:spLocks noChangeArrowheads="1"/>
          </p:cNvSpPr>
          <p:nvPr/>
        </p:nvSpPr>
        <p:spPr bwMode="auto">
          <a:xfrm>
            <a:off x="5148271" y="635701"/>
            <a:ext cx="4049256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nl-NL" sz="1400" dirty="0" err="1">
                <a:solidFill>
                  <a:srgbClr val="000000"/>
                </a:solidFill>
                <a:latin typeface="+mn-lt"/>
              </a:rPr>
              <a:t>insuline</a:t>
            </a:r>
            <a:r>
              <a:rPr lang="en-US" altLang="nl-NL" sz="1400" dirty="0">
                <a:solidFill>
                  <a:srgbClr val="000000"/>
                </a:solidFill>
                <a:latin typeface="+mn-lt"/>
              </a:rPr>
              <a:t> glargine-100: Lantus</a:t>
            </a:r>
            <a:r>
              <a:rPr lang="en-US" altLang="nl-NL" sz="1400" dirty="0">
                <a:solidFill>
                  <a:srgbClr val="000000"/>
                </a:solidFill>
                <a:latin typeface="+mn-lt"/>
                <a:cs typeface="Times New Roman" pitchFamily="18" charset="0"/>
              </a:rPr>
              <a:t>®, </a:t>
            </a:r>
            <a:r>
              <a:rPr lang="en-US" altLang="nl-NL" sz="1400" dirty="0" err="1">
                <a:solidFill>
                  <a:srgbClr val="000000"/>
                </a:solidFill>
                <a:latin typeface="+mn-lt"/>
                <a:cs typeface="Times New Roman" pitchFamily="18" charset="0"/>
              </a:rPr>
              <a:t>Abasaglar</a:t>
            </a:r>
            <a:r>
              <a:rPr lang="en-US" altLang="nl-NL" sz="1400" dirty="0">
                <a:solidFill>
                  <a:srgbClr val="000000"/>
                </a:solidFill>
                <a:latin typeface="+mn-lt"/>
                <a:cs typeface="Times New Roman" pitchFamily="18" charset="0"/>
              </a:rPr>
              <a:t>® 0.4 U/kg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nl-NL" sz="1400" dirty="0" err="1">
                <a:solidFill>
                  <a:srgbClr val="000000"/>
                </a:solidFill>
                <a:latin typeface="+mn-lt"/>
              </a:rPr>
              <a:t>insuline</a:t>
            </a:r>
            <a:r>
              <a:rPr lang="en-US" altLang="nl-NL" sz="1400" dirty="0">
                <a:solidFill>
                  <a:srgbClr val="000000"/>
                </a:solidFill>
                <a:latin typeface="+mn-lt"/>
              </a:rPr>
              <a:t> </a:t>
            </a:r>
            <a:r>
              <a:rPr lang="en-US" altLang="nl-NL" sz="1400" dirty="0" err="1" smtClean="0">
                <a:solidFill>
                  <a:srgbClr val="000000"/>
                </a:solidFill>
                <a:latin typeface="+mn-lt"/>
              </a:rPr>
              <a:t>detemir</a:t>
            </a:r>
            <a:r>
              <a:rPr lang="en-US" altLang="nl-NL" sz="1400" dirty="0">
                <a:solidFill>
                  <a:srgbClr val="000000"/>
                </a:solidFill>
                <a:latin typeface="+mn-lt"/>
              </a:rPr>
              <a:t>: </a:t>
            </a:r>
            <a:r>
              <a:rPr lang="en-US" altLang="nl-NL" sz="1400" dirty="0" err="1" smtClean="0">
                <a:solidFill>
                  <a:srgbClr val="000000"/>
                </a:solidFill>
                <a:latin typeface="+mn-lt"/>
              </a:rPr>
              <a:t>Levemir</a:t>
            </a:r>
            <a:r>
              <a:rPr lang="en-US" altLang="nl-NL" sz="1400" dirty="0">
                <a:solidFill>
                  <a:srgbClr val="000000"/>
                </a:solidFill>
                <a:latin typeface="+mn-lt"/>
              </a:rPr>
              <a:t>® 0.4 U/kg</a:t>
            </a:r>
            <a:endParaRPr lang="nl-NL" altLang="nl-NL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196" name="Rectangle 66"/>
          <p:cNvSpPr>
            <a:spLocks noChangeArrowheads="1"/>
          </p:cNvSpPr>
          <p:nvPr/>
        </p:nvSpPr>
        <p:spPr bwMode="auto">
          <a:xfrm>
            <a:off x="323859" y="2991501"/>
            <a:ext cx="790575" cy="5941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400">
              <a:solidFill>
                <a:srgbClr val="000000"/>
              </a:solidFill>
            </a:endParaRPr>
          </a:p>
        </p:txBody>
      </p:sp>
      <p:sp>
        <p:nvSpPr>
          <p:cNvPr id="8197" name="Text Box 180"/>
          <p:cNvSpPr txBox="1">
            <a:spLocks noChangeArrowheads="1"/>
          </p:cNvSpPr>
          <p:nvPr/>
        </p:nvSpPr>
        <p:spPr bwMode="auto">
          <a:xfrm>
            <a:off x="1202509" y="1273876"/>
            <a:ext cx="119881" cy="339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64A0E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1965"/>
                  </a:outerShdw>
                </a:effectLst>
              </a14:hiddenEffects>
            </a:ext>
          </a:extLst>
        </p:spPr>
        <p:txBody>
          <a:bodyPr wrap="none" lIns="59361" tIns="30868" rIns="59361" bIns="30868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endParaRPr lang="nl-NL" altLang="nl-NL" sz="1800">
              <a:solidFill>
                <a:srgbClr val="000000"/>
              </a:solidFill>
            </a:endParaRPr>
          </a:p>
        </p:txBody>
      </p:sp>
      <p:sp>
        <p:nvSpPr>
          <p:cNvPr id="8198" name="Freeform 204"/>
          <p:cNvSpPr>
            <a:spLocks/>
          </p:cNvSpPr>
          <p:nvPr/>
        </p:nvSpPr>
        <p:spPr bwMode="auto">
          <a:xfrm>
            <a:off x="1376365" y="1102427"/>
            <a:ext cx="6499225" cy="416719"/>
          </a:xfrm>
          <a:custGeom>
            <a:avLst/>
            <a:gdLst>
              <a:gd name="T0" fmla="*/ 0 w 3293"/>
              <a:gd name="T1" fmla="*/ 2147483647 h 428"/>
              <a:gd name="T2" fmla="*/ 2147483647 w 3293"/>
              <a:gd name="T3" fmla="*/ 2147483647 h 428"/>
              <a:gd name="T4" fmla="*/ 2147483647 w 3293"/>
              <a:gd name="T5" fmla="*/ 2147483647 h 428"/>
              <a:gd name="T6" fmla="*/ 2147483647 w 3293"/>
              <a:gd name="T7" fmla="*/ 2147483647 h 428"/>
              <a:gd name="T8" fmla="*/ 2147483647 w 3293"/>
              <a:gd name="T9" fmla="*/ 2147483647 h 428"/>
              <a:gd name="T10" fmla="*/ 2147483647 w 3293"/>
              <a:gd name="T11" fmla="*/ 2147483647 h 428"/>
              <a:gd name="T12" fmla="*/ 2147483647 w 3293"/>
              <a:gd name="T13" fmla="*/ 2147483647 h 428"/>
              <a:gd name="T14" fmla="*/ 2147483647 w 3293"/>
              <a:gd name="T15" fmla="*/ 2147483647 h 428"/>
              <a:gd name="T16" fmla="*/ 2147483647 w 3293"/>
              <a:gd name="T17" fmla="*/ 2147483647 h 428"/>
              <a:gd name="T18" fmla="*/ 2147483647 w 3293"/>
              <a:gd name="T19" fmla="*/ 2147483647 h 428"/>
              <a:gd name="T20" fmla="*/ 2147483647 w 3293"/>
              <a:gd name="T21" fmla="*/ 2147483647 h 428"/>
              <a:gd name="T22" fmla="*/ 2147483647 w 3293"/>
              <a:gd name="T23" fmla="*/ 2147483647 h 428"/>
              <a:gd name="T24" fmla="*/ 2147483647 w 3293"/>
              <a:gd name="T25" fmla="*/ 0 h 428"/>
              <a:gd name="T26" fmla="*/ 2147483647 w 3293"/>
              <a:gd name="T27" fmla="*/ 2147483647 h 428"/>
              <a:gd name="T28" fmla="*/ 2147483647 w 3293"/>
              <a:gd name="T29" fmla="*/ 2147483647 h 428"/>
              <a:gd name="T30" fmla="*/ 2147483647 w 3293"/>
              <a:gd name="T31" fmla="*/ 2147483647 h 428"/>
              <a:gd name="T32" fmla="*/ 2147483647 w 3293"/>
              <a:gd name="T33" fmla="*/ 2147483647 h 428"/>
              <a:gd name="T34" fmla="*/ 2147483647 w 3293"/>
              <a:gd name="T35" fmla="*/ 2147483647 h 428"/>
              <a:gd name="T36" fmla="*/ 2147483647 w 3293"/>
              <a:gd name="T37" fmla="*/ 2147483647 h 428"/>
              <a:gd name="T38" fmla="*/ 2147483647 w 3293"/>
              <a:gd name="T39" fmla="*/ 2147483647 h 428"/>
              <a:gd name="T40" fmla="*/ 2147483647 w 3293"/>
              <a:gd name="T41" fmla="*/ 2147483647 h 428"/>
              <a:gd name="T42" fmla="*/ 2147483647 w 3293"/>
              <a:gd name="T43" fmla="*/ 2147483647 h 428"/>
              <a:gd name="T44" fmla="*/ 2147483647 w 3293"/>
              <a:gd name="T45" fmla="*/ 2147483647 h 428"/>
              <a:gd name="T46" fmla="*/ 2147483647 w 3293"/>
              <a:gd name="T47" fmla="*/ 2147483647 h 428"/>
              <a:gd name="T48" fmla="*/ 2147483647 w 3293"/>
              <a:gd name="T49" fmla="*/ 2147483647 h 428"/>
              <a:gd name="T50" fmla="*/ 2147483647 w 3293"/>
              <a:gd name="T51" fmla="*/ 2147483647 h 428"/>
              <a:gd name="T52" fmla="*/ 2147483647 w 3293"/>
              <a:gd name="T53" fmla="*/ 2147483647 h 428"/>
              <a:gd name="T54" fmla="*/ 2147483647 w 3293"/>
              <a:gd name="T55" fmla="*/ 2147483647 h 428"/>
              <a:gd name="T56" fmla="*/ 2147483647 w 3293"/>
              <a:gd name="T57" fmla="*/ 2147483647 h 428"/>
              <a:gd name="T58" fmla="*/ 2147483647 w 3293"/>
              <a:gd name="T59" fmla="*/ 2147483647 h 428"/>
              <a:gd name="T60" fmla="*/ 2147483647 w 3293"/>
              <a:gd name="T61" fmla="*/ 2147483647 h 428"/>
              <a:gd name="T62" fmla="*/ 2147483647 w 3293"/>
              <a:gd name="T63" fmla="*/ 2147483647 h 428"/>
              <a:gd name="T64" fmla="*/ 2147483647 w 3293"/>
              <a:gd name="T65" fmla="*/ 2147483647 h 428"/>
              <a:gd name="T66" fmla="*/ 2147483647 w 3293"/>
              <a:gd name="T67" fmla="*/ 2147483647 h 428"/>
              <a:gd name="T68" fmla="*/ 2147483647 w 3293"/>
              <a:gd name="T69" fmla="*/ 2147483647 h 428"/>
              <a:gd name="T70" fmla="*/ 2147483647 w 3293"/>
              <a:gd name="T71" fmla="*/ 2147483647 h 428"/>
              <a:gd name="T72" fmla="*/ 2147483647 w 3293"/>
              <a:gd name="T73" fmla="*/ 2147483647 h 428"/>
              <a:gd name="T74" fmla="*/ 2147483647 w 3293"/>
              <a:gd name="T75" fmla="*/ 2147483647 h 428"/>
              <a:gd name="T76" fmla="*/ 2147483647 w 3293"/>
              <a:gd name="T77" fmla="*/ 2147483647 h 428"/>
              <a:gd name="T78" fmla="*/ 2147483647 w 3293"/>
              <a:gd name="T79" fmla="*/ 2147483647 h 428"/>
              <a:gd name="T80" fmla="*/ 2147483647 w 3293"/>
              <a:gd name="T81" fmla="*/ 2147483647 h 428"/>
              <a:gd name="T82" fmla="*/ 2147483647 w 3293"/>
              <a:gd name="T83" fmla="*/ 2147483647 h 428"/>
              <a:gd name="T84" fmla="*/ 2147483647 w 3293"/>
              <a:gd name="T85" fmla="*/ 2147483647 h 428"/>
              <a:gd name="T86" fmla="*/ 2147483647 w 3293"/>
              <a:gd name="T87" fmla="*/ 2147483647 h 428"/>
              <a:gd name="T88" fmla="*/ 2147483647 w 3293"/>
              <a:gd name="T89" fmla="*/ 2147483647 h 428"/>
              <a:gd name="T90" fmla="*/ 2147483647 w 3293"/>
              <a:gd name="T91" fmla="*/ 2147483647 h 428"/>
              <a:gd name="T92" fmla="*/ 2147483647 w 3293"/>
              <a:gd name="T93" fmla="*/ 2147483647 h 428"/>
              <a:gd name="T94" fmla="*/ 2147483647 w 3293"/>
              <a:gd name="T95" fmla="*/ 2147483647 h 42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293" h="428">
                <a:moveTo>
                  <a:pt x="0" y="428"/>
                </a:moveTo>
                <a:lnTo>
                  <a:pt x="34" y="416"/>
                </a:lnTo>
                <a:lnTo>
                  <a:pt x="82" y="398"/>
                </a:lnTo>
                <a:lnTo>
                  <a:pt x="216" y="346"/>
                </a:lnTo>
                <a:lnTo>
                  <a:pt x="580" y="200"/>
                </a:lnTo>
                <a:lnTo>
                  <a:pt x="772" y="126"/>
                </a:lnTo>
                <a:lnTo>
                  <a:pt x="864" y="92"/>
                </a:lnTo>
                <a:lnTo>
                  <a:pt x="950" y="62"/>
                </a:lnTo>
                <a:lnTo>
                  <a:pt x="1028" y="38"/>
                </a:lnTo>
                <a:lnTo>
                  <a:pt x="1096" y="18"/>
                </a:lnTo>
                <a:lnTo>
                  <a:pt x="1150" y="6"/>
                </a:lnTo>
                <a:lnTo>
                  <a:pt x="1172" y="2"/>
                </a:lnTo>
                <a:lnTo>
                  <a:pt x="1192" y="0"/>
                </a:lnTo>
                <a:lnTo>
                  <a:pt x="1224" y="2"/>
                </a:lnTo>
                <a:lnTo>
                  <a:pt x="1258" y="4"/>
                </a:lnTo>
                <a:lnTo>
                  <a:pt x="1292" y="10"/>
                </a:lnTo>
                <a:lnTo>
                  <a:pt x="1326" y="16"/>
                </a:lnTo>
                <a:lnTo>
                  <a:pt x="1396" y="32"/>
                </a:lnTo>
                <a:lnTo>
                  <a:pt x="1460" y="50"/>
                </a:lnTo>
                <a:lnTo>
                  <a:pt x="1522" y="68"/>
                </a:lnTo>
                <a:lnTo>
                  <a:pt x="1574" y="86"/>
                </a:lnTo>
                <a:lnTo>
                  <a:pt x="1617" y="98"/>
                </a:lnTo>
                <a:lnTo>
                  <a:pt x="1645" y="108"/>
                </a:lnTo>
                <a:lnTo>
                  <a:pt x="1695" y="116"/>
                </a:lnTo>
                <a:lnTo>
                  <a:pt x="1755" y="124"/>
                </a:lnTo>
                <a:lnTo>
                  <a:pt x="1813" y="132"/>
                </a:lnTo>
                <a:lnTo>
                  <a:pt x="1839" y="138"/>
                </a:lnTo>
                <a:lnTo>
                  <a:pt x="1863" y="142"/>
                </a:lnTo>
                <a:lnTo>
                  <a:pt x="1907" y="156"/>
                </a:lnTo>
                <a:lnTo>
                  <a:pt x="1959" y="176"/>
                </a:lnTo>
                <a:lnTo>
                  <a:pt x="2013" y="194"/>
                </a:lnTo>
                <a:lnTo>
                  <a:pt x="2039" y="200"/>
                </a:lnTo>
                <a:lnTo>
                  <a:pt x="2063" y="206"/>
                </a:lnTo>
                <a:lnTo>
                  <a:pt x="2123" y="212"/>
                </a:lnTo>
                <a:lnTo>
                  <a:pt x="2203" y="222"/>
                </a:lnTo>
                <a:lnTo>
                  <a:pt x="2285" y="230"/>
                </a:lnTo>
                <a:lnTo>
                  <a:pt x="2319" y="236"/>
                </a:lnTo>
                <a:lnTo>
                  <a:pt x="2347" y="240"/>
                </a:lnTo>
                <a:lnTo>
                  <a:pt x="2381" y="250"/>
                </a:lnTo>
                <a:lnTo>
                  <a:pt x="2429" y="264"/>
                </a:lnTo>
                <a:lnTo>
                  <a:pt x="2557" y="302"/>
                </a:lnTo>
                <a:lnTo>
                  <a:pt x="2685" y="342"/>
                </a:lnTo>
                <a:lnTo>
                  <a:pt x="2737" y="356"/>
                </a:lnTo>
                <a:lnTo>
                  <a:pt x="2773" y="364"/>
                </a:lnTo>
                <a:lnTo>
                  <a:pt x="2815" y="370"/>
                </a:lnTo>
                <a:lnTo>
                  <a:pt x="2885" y="376"/>
                </a:lnTo>
                <a:lnTo>
                  <a:pt x="3059" y="386"/>
                </a:lnTo>
                <a:lnTo>
                  <a:pt x="3293" y="396"/>
                </a:lnTo>
              </a:path>
            </a:pathLst>
          </a:custGeom>
          <a:solidFill>
            <a:srgbClr val="008000"/>
          </a:solidFill>
          <a:ln w="28575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199" name="Freeform 205"/>
          <p:cNvSpPr>
            <a:spLocks/>
          </p:cNvSpPr>
          <p:nvPr/>
        </p:nvSpPr>
        <p:spPr bwMode="auto">
          <a:xfrm>
            <a:off x="1403350" y="1186960"/>
            <a:ext cx="6472238" cy="332185"/>
          </a:xfrm>
          <a:custGeom>
            <a:avLst/>
            <a:gdLst>
              <a:gd name="T0" fmla="*/ 0 w 3275"/>
              <a:gd name="T1" fmla="*/ 2147483647 h 372"/>
              <a:gd name="T2" fmla="*/ 2147483647 w 3275"/>
              <a:gd name="T3" fmla="*/ 2147483647 h 372"/>
              <a:gd name="T4" fmla="*/ 2147483647 w 3275"/>
              <a:gd name="T5" fmla="*/ 2147483647 h 372"/>
              <a:gd name="T6" fmla="*/ 2147483647 w 3275"/>
              <a:gd name="T7" fmla="*/ 2147483647 h 372"/>
              <a:gd name="T8" fmla="*/ 2147483647 w 3275"/>
              <a:gd name="T9" fmla="*/ 2147483647 h 372"/>
              <a:gd name="T10" fmla="*/ 2147483647 w 3275"/>
              <a:gd name="T11" fmla="*/ 2147483647 h 372"/>
              <a:gd name="T12" fmla="*/ 2147483647 w 3275"/>
              <a:gd name="T13" fmla="*/ 2147483647 h 372"/>
              <a:gd name="T14" fmla="*/ 2147483647 w 3275"/>
              <a:gd name="T15" fmla="*/ 2147483647 h 372"/>
              <a:gd name="T16" fmla="*/ 2147483647 w 3275"/>
              <a:gd name="T17" fmla="*/ 2147483647 h 372"/>
              <a:gd name="T18" fmla="*/ 2147483647 w 3275"/>
              <a:gd name="T19" fmla="*/ 2147483647 h 372"/>
              <a:gd name="T20" fmla="*/ 2147483647 w 3275"/>
              <a:gd name="T21" fmla="*/ 2147483647 h 372"/>
              <a:gd name="T22" fmla="*/ 2147483647 w 3275"/>
              <a:gd name="T23" fmla="*/ 2147483647 h 372"/>
              <a:gd name="T24" fmla="*/ 2147483647 w 3275"/>
              <a:gd name="T25" fmla="*/ 2147483647 h 372"/>
              <a:gd name="T26" fmla="*/ 2147483647 w 3275"/>
              <a:gd name="T27" fmla="*/ 2147483647 h 372"/>
              <a:gd name="T28" fmla="*/ 2147483647 w 3275"/>
              <a:gd name="T29" fmla="*/ 0 h 372"/>
              <a:gd name="T30" fmla="*/ 2147483647 w 3275"/>
              <a:gd name="T31" fmla="*/ 0 h 372"/>
              <a:gd name="T32" fmla="*/ 2147483647 w 3275"/>
              <a:gd name="T33" fmla="*/ 2147483647 h 372"/>
              <a:gd name="T34" fmla="*/ 2147483647 w 3275"/>
              <a:gd name="T35" fmla="*/ 2147483647 h 372"/>
              <a:gd name="T36" fmla="*/ 2147483647 w 3275"/>
              <a:gd name="T37" fmla="*/ 2147483647 h 372"/>
              <a:gd name="T38" fmla="*/ 2147483647 w 3275"/>
              <a:gd name="T39" fmla="*/ 2147483647 h 372"/>
              <a:gd name="T40" fmla="*/ 2147483647 w 3275"/>
              <a:gd name="T41" fmla="*/ 2147483647 h 372"/>
              <a:gd name="T42" fmla="*/ 2147483647 w 3275"/>
              <a:gd name="T43" fmla="*/ 2147483647 h 372"/>
              <a:gd name="T44" fmla="*/ 2147483647 w 3275"/>
              <a:gd name="T45" fmla="*/ 2147483647 h 372"/>
              <a:gd name="T46" fmla="*/ 2147483647 w 3275"/>
              <a:gd name="T47" fmla="*/ 2147483647 h 372"/>
              <a:gd name="T48" fmla="*/ 2147483647 w 3275"/>
              <a:gd name="T49" fmla="*/ 2147483647 h 372"/>
              <a:gd name="T50" fmla="*/ 2147483647 w 3275"/>
              <a:gd name="T51" fmla="*/ 2147483647 h 372"/>
              <a:gd name="T52" fmla="*/ 2147483647 w 3275"/>
              <a:gd name="T53" fmla="*/ 2147483647 h 372"/>
              <a:gd name="T54" fmla="*/ 2147483647 w 3275"/>
              <a:gd name="T55" fmla="*/ 2147483647 h 372"/>
              <a:gd name="T56" fmla="*/ 2147483647 w 3275"/>
              <a:gd name="T57" fmla="*/ 2147483647 h 372"/>
              <a:gd name="T58" fmla="*/ 2147483647 w 3275"/>
              <a:gd name="T59" fmla="*/ 2147483647 h 372"/>
              <a:gd name="T60" fmla="*/ 2147483647 w 3275"/>
              <a:gd name="T61" fmla="*/ 2147483647 h 372"/>
              <a:gd name="T62" fmla="*/ 2147483647 w 3275"/>
              <a:gd name="T63" fmla="*/ 2147483647 h 372"/>
              <a:gd name="T64" fmla="*/ 2147483647 w 3275"/>
              <a:gd name="T65" fmla="*/ 2147483647 h 372"/>
              <a:gd name="T66" fmla="*/ 2147483647 w 3275"/>
              <a:gd name="T67" fmla="*/ 2147483647 h 372"/>
              <a:gd name="T68" fmla="*/ 2147483647 w 3275"/>
              <a:gd name="T69" fmla="*/ 2147483647 h 372"/>
              <a:gd name="T70" fmla="*/ 2147483647 w 3275"/>
              <a:gd name="T71" fmla="*/ 2147483647 h 372"/>
              <a:gd name="T72" fmla="*/ 2147483647 w 3275"/>
              <a:gd name="T73" fmla="*/ 2147483647 h 372"/>
              <a:gd name="T74" fmla="*/ 2147483647 w 3275"/>
              <a:gd name="T75" fmla="*/ 2147483647 h 372"/>
              <a:gd name="T76" fmla="*/ 2147483647 w 3275"/>
              <a:gd name="T77" fmla="*/ 2147483647 h 372"/>
              <a:gd name="T78" fmla="*/ 2147483647 w 3275"/>
              <a:gd name="T79" fmla="*/ 2147483647 h 372"/>
              <a:gd name="T80" fmla="*/ 2147483647 w 3275"/>
              <a:gd name="T81" fmla="*/ 2147483647 h 372"/>
              <a:gd name="T82" fmla="*/ 2147483647 w 3275"/>
              <a:gd name="T83" fmla="*/ 2147483647 h 372"/>
              <a:gd name="T84" fmla="*/ 2147483647 w 3275"/>
              <a:gd name="T85" fmla="*/ 2147483647 h 372"/>
              <a:gd name="T86" fmla="*/ 2147483647 w 3275"/>
              <a:gd name="T87" fmla="*/ 2147483647 h 372"/>
              <a:gd name="T88" fmla="*/ 2147483647 w 3275"/>
              <a:gd name="T89" fmla="*/ 2147483647 h 372"/>
              <a:gd name="T90" fmla="*/ 2147483647 w 3275"/>
              <a:gd name="T91" fmla="*/ 2147483647 h 372"/>
              <a:gd name="T92" fmla="*/ 2147483647 w 3275"/>
              <a:gd name="T93" fmla="*/ 2147483647 h 372"/>
              <a:gd name="T94" fmla="*/ 2147483647 w 3275"/>
              <a:gd name="T95" fmla="*/ 2147483647 h 372"/>
              <a:gd name="T96" fmla="*/ 2147483647 w 3275"/>
              <a:gd name="T97" fmla="*/ 2147483647 h 372"/>
              <a:gd name="T98" fmla="*/ 2147483647 w 3275"/>
              <a:gd name="T99" fmla="*/ 2147483647 h 372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3275" h="372">
                <a:moveTo>
                  <a:pt x="0" y="332"/>
                </a:moveTo>
                <a:lnTo>
                  <a:pt x="32" y="322"/>
                </a:lnTo>
                <a:lnTo>
                  <a:pt x="76" y="308"/>
                </a:lnTo>
                <a:lnTo>
                  <a:pt x="196" y="264"/>
                </a:lnTo>
                <a:lnTo>
                  <a:pt x="344" y="208"/>
                </a:lnTo>
                <a:lnTo>
                  <a:pt x="508" y="148"/>
                </a:lnTo>
                <a:lnTo>
                  <a:pt x="594" y="120"/>
                </a:lnTo>
                <a:lnTo>
                  <a:pt x="678" y="92"/>
                </a:lnTo>
                <a:lnTo>
                  <a:pt x="760" y="66"/>
                </a:lnTo>
                <a:lnTo>
                  <a:pt x="840" y="42"/>
                </a:lnTo>
                <a:lnTo>
                  <a:pt x="912" y="24"/>
                </a:lnTo>
                <a:lnTo>
                  <a:pt x="980" y="10"/>
                </a:lnTo>
                <a:lnTo>
                  <a:pt x="1010" y="6"/>
                </a:lnTo>
                <a:lnTo>
                  <a:pt x="1038" y="2"/>
                </a:lnTo>
                <a:lnTo>
                  <a:pt x="1064" y="0"/>
                </a:lnTo>
                <a:lnTo>
                  <a:pt x="1086" y="0"/>
                </a:lnTo>
                <a:lnTo>
                  <a:pt x="1148" y="4"/>
                </a:lnTo>
                <a:lnTo>
                  <a:pt x="1216" y="12"/>
                </a:lnTo>
                <a:lnTo>
                  <a:pt x="1356" y="30"/>
                </a:lnTo>
                <a:lnTo>
                  <a:pt x="1492" y="50"/>
                </a:lnTo>
                <a:lnTo>
                  <a:pt x="1552" y="58"/>
                </a:lnTo>
                <a:lnTo>
                  <a:pt x="1605" y="62"/>
                </a:lnTo>
                <a:lnTo>
                  <a:pt x="1663" y="64"/>
                </a:lnTo>
                <a:lnTo>
                  <a:pt x="1715" y="64"/>
                </a:lnTo>
                <a:lnTo>
                  <a:pt x="1801" y="64"/>
                </a:lnTo>
                <a:lnTo>
                  <a:pt x="1837" y="64"/>
                </a:lnTo>
                <a:lnTo>
                  <a:pt x="1867" y="66"/>
                </a:lnTo>
                <a:lnTo>
                  <a:pt x="1895" y="70"/>
                </a:lnTo>
                <a:lnTo>
                  <a:pt x="1919" y="76"/>
                </a:lnTo>
                <a:lnTo>
                  <a:pt x="2007" y="104"/>
                </a:lnTo>
                <a:lnTo>
                  <a:pt x="2059" y="124"/>
                </a:lnTo>
                <a:lnTo>
                  <a:pt x="2113" y="144"/>
                </a:lnTo>
                <a:lnTo>
                  <a:pt x="2165" y="166"/>
                </a:lnTo>
                <a:lnTo>
                  <a:pt x="2215" y="190"/>
                </a:lnTo>
                <a:lnTo>
                  <a:pt x="2257" y="212"/>
                </a:lnTo>
                <a:lnTo>
                  <a:pt x="2291" y="232"/>
                </a:lnTo>
                <a:lnTo>
                  <a:pt x="2307" y="242"/>
                </a:lnTo>
                <a:lnTo>
                  <a:pt x="2329" y="254"/>
                </a:lnTo>
                <a:lnTo>
                  <a:pt x="2379" y="274"/>
                </a:lnTo>
                <a:lnTo>
                  <a:pt x="2441" y="296"/>
                </a:lnTo>
                <a:lnTo>
                  <a:pt x="2507" y="316"/>
                </a:lnTo>
                <a:lnTo>
                  <a:pt x="2573" y="334"/>
                </a:lnTo>
                <a:lnTo>
                  <a:pt x="2637" y="350"/>
                </a:lnTo>
                <a:lnTo>
                  <a:pt x="2693" y="360"/>
                </a:lnTo>
                <a:lnTo>
                  <a:pt x="2737" y="366"/>
                </a:lnTo>
                <a:lnTo>
                  <a:pt x="2783" y="368"/>
                </a:lnTo>
                <a:lnTo>
                  <a:pt x="2849" y="370"/>
                </a:lnTo>
                <a:lnTo>
                  <a:pt x="3011" y="372"/>
                </a:lnTo>
                <a:lnTo>
                  <a:pt x="3171" y="372"/>
                </a:lnTo>
                <a:lnTo>
                  <a:pt x="3275" y="370"/>
                </a:lnTo>
              </a:path>
            </a:pathLst>
          </a:custGeom>
          <a:solidFill>
            <a:srgbClr val="CC00FF"/>
          </a:solidFill>
          <a:ln w="28575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00" name="Line 207"/>
          <p:cNvSpPr>
            <a:spLocks noChangeShapeType="1"/>
          </p:cNvSpPr>
          <p:nvPr/>
        </p:nvSpPr>
        <p:spPr bwMode="auto">
          <a:xfrm>
            <a:off x="1371602" y="1426276"/>
            <a:ext cx="1588" cy="1714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02" name="Rectangle 217"/>
          <p:cNvSpPr>
            <a:spLocks noChangeArrowheads="1"/>
          </p:cNvSpPr>
          <p:nvPr/>
        </p:nvSpPr>
        <p:spPr bwMode="auto">
          <a:xfrm>
            <a:off x="7524753" y="1223869"/>
            <a:ext cx="503238" cy="43219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400">
              <a:solidFill>
                <a:srgbClr val="000000"/>
              </a:solidFill>
            </a:endParaRPr>
          </a:p>
        </p:txBody>
      </p:sp>
      <p:sp>
        <p:nvSpPr>
          <p:cNvPr id="8204" name="Rectangle 231"/>
          <p:cNvSpPr>
            <a:spLocks noChangeArrowheads="1"/>
          </p:cNvSpPr>
          <p:nvPr/>
        </p:nvSpPr>
        <p:spPr bwMode="auto">
          <a:xfrm>
            <a:off x="7308850" y="2583118"/>
            <a:ext cx="215900" cy="54769"/>
          </a:xfrm>
          <a:prstGeom prst="rect">
            <a:avLst/>
          </a:prstGeom>
          <a:solidFill>
            <a:srgbClr val="CC00FF"/>
          </a:solidFill>
          <a:ln w="9525">
            <a:solidFill>
              <a:srgbClr val="CC00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400">
              <a:solidFill>
                <a:srgbClr val="000000"/>
              </a:solidFill>
            </a:endParaRPr>
          </a:p>
        </p:txBody>
      </p:sp>
      <p:sp>
        <p:nvSpPr>
          <p:cNvPr id="8205" name="Freeform 232"/>
          <p:cNvSpPr>
            <a:spLocks/>
          </p:cNvSpPr>
          <p:nvPr/>
        </p:nvSpPr>
        <p:spPr bwMode="auto">
          <a:xfrm>
            <a:off x="1401763" y="1943751"/>
            <a:ext cx="6443662" cy="776288"/>
          </a:xfrm>
          <a:custGeom>
            <a:avLst/>
            <a:gdLst>
              <a:gd name="T0" fmla="*/ 2147483647 w 3265"/>
              <a:gd name="T1" fmla="*/ 2147483647 h 838"/>
              <a:gd name="T2" fmla="*/ 2147483647 w 3265"/>
              <a:gd name="T3" fmla="*/ 2147483647 h 838"/>
              <a:gd name="T4" fmla="*/ 2147483647 w 3265"/>
              <a:gd name="T5" fmla="*/ 2147483647 h 838"/>
              <a:gd name="T6" fmla="*/ 2147483647 w 3265"/>
              <a:gd name="T7" fmla="*/ 2147483647 h 838"/>
              <a:gd name="T8" fmla="*/ 2147483647 w 3265"/>
              <a:gd name="T9" fmla="*/ 2147483647 h 838"/>
              <a:gd name="T10" fmla="*/ 2147483647 w 3265"/>
              <a:gd name="T11" fmla="*/ 2147483647 h 838"/>
              <a:gd name="T12" fmla="*/ 2147483647 w 3265"/>
              <a:gd name="T13" fmla="*/ 2147483647 h 838"/>
              <a:gd name="T14" fmla="*/ 2147483647 w 3265"/>
              <a:gd name="T15" fmla="*/ 2147483647 h 838"/>
              <a:gd name="T16" fmla="*/ 2147483647 w 3265"/>
              <a:gd name="T17" fmla="*/ 2147483647 h 838"/>
              <a:gd name="T18" fmla="*/ 2147483647 w 3265"/>
              <a:gd name="T19" fmla="*/ 2147483647 h 838"/>
              <a:gd name="T20" fmla="*/ 2147483647 w 3265"/>
              <a:gd name="T21" fmla="*/ 2147483647 h 838"/>
              <a:gd name="T22" fmla="*/ 2147483647 w 3265"/>
              <a:gd name="T23" fmla="*/ 2147483647 h 838"/>
              <a:gd name="T24" fmla="*/ 2147483647 w 3265"/>
              <a:gd name="T25" fmla="*/ 2147483647 h 838"/>
              <a:gd name="T26" fmla="*/ 2147483647 w 3265"/>
              <a:gd name="T27" fmla="*/ 2147483647 h 838"/>
              <a:gd name="T28" fmla="*/ 2147483647 w 3265"/>
              <a:gd name="T29" fmla="*/ 2147483647 h 838"/>
              <a:gd name="T30" fmla="*/ 2147483647 w 3265"/>
              <a:gd name="T31" fmla="*/ 2147483647 h 838"/>
              <a:gd name="T32" fmla="*/ 2147483647 w 3265"/>
              <a:gd name="T33" fmla="*/ 0 h 838"/>
              <a:gd name="T34" fmla="*/ 2147483647 w 3265"/>
              <a:gd name="T35" fmla="*/ 2147483647 h 838"/>
              <a:gd name="T36" fmla="*/ 2147483647 w 3265"/>
              <a:gd name="T37" fmla="*/ 2147483647 h 838"/>
              <a:gd name="T38" fmla="*/ 2147483647 w 3265"/>
              <a:gd name="T39" fmla="*/ 2147483647 h 838"/>
              <a:gd name="T40" fmla="*/ 2147483647 w 3265"/>
              <a:gd name="T41" fmla="*/ 2147483647 h 838"/>
              <a:gd name="T42" fmla="*/ 2147483647 w 3265"/>
              <a:gd name="T43" fmla="*/ 2147483647 h 838"/>
              <a:gd name="T44" fmla="*/ 2147483647 w 3265"/>
              <a:gd name="T45" fmla="*/ 2147483647 h 838"/>
              <a:gd name="T46" fmla="*/ 2147483647 w 3265"/>
              <a:gd name="T47" fmla="*/ 2147483647 h 838"/>
              <a:gd name="T48" fmla="*/ 2147483647 w 3265"/>
              <a:gd name="T49" fmla="*/ 2147483647 h 838"/>
              <a:gd name="T50" fmla="*/ 2147483647 w 3265"/>
              <a:gd name="T51" fmla="*/ 2147483647 h 838"/>
              <a:gd name="T52" fmla="*/ 2147483647 w 3265"/>
              <a:gd name="T53" fmla="*/ 2147483647 h 838"/>
              <a:gd name="T54" fmla="*/ 2147483647 w 3265"/>
              <a:gd name="T55" fmla="*/ 2147483647 h 838"/>
              <a:gd name="T56" fmla="*/ 2147483647 w 3265"/>
              <a:gd name="T57" fmla="*/ 2147483647 h 838"/>
              <a:gd name="T58" fmla="*/ 2147483647 w 3265"/>
              <a:gd name="T59" fmla="*/ 2147483647 h 838"/>
              <a:gd name="T60" fmla="*/ 2147483647 w 3265"/>
              <a:gd name="T61" fmla="*/ 2147483647 h 838"/>
              <a:gd name="T62" fmla="*/ 2147483647 w 3265"/>
              <a:gd name="T63" fmla="*/ 2147483647 h 838"/>
              <a:gd name="T64" fmla="*/ 2147483647 w 3265"/>
              <a:gd name="T65" fmla="*/ 2147483647 h 838"/>
              <a:gd name="T66" fmla="*/ 2147483647 w 3265"/>
              <a:gd name="T67" fmla="*/ 2147483647 h 838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3265" h="838">
                <a:moveTo>
                  <a:pt x="0" y="838"/>
                </a:moveTo>
                <a:lnTo>
                  <a:pt x="60" y="798"/>
                </a:lnTo>
                <a:lnTo>
                  <a:pt x="118" y="756"/>
                </a:lnTo>
                <a:lnTo>
                  <a:pt x="172" y="712"/>
                </a:lnTo>
                <a:lnTo>
                  <a:pt x="224" y="668"/>
                </a:lnTo>
                <a:lnTo>
                  <a:pt x="274" y="622"/>
                </a:lnTo>
                <a:lnTo>
                  <a:pt x="320" y="576"/>
                </a:lnTo>
                <a:lnTo>
                  <a:pt x="364" y="530"/>
                </a:lnTo>
                <a:lnTo>
                  <a:pt x="404" y="486"/>
                </a:lnTo>
                <a:lnTo>
                  <a:pt x="478" y="404"/>
                </a:lnTo>
                <a:lnTo>
                  <a:pt x="540" y="334"/>
                </a:lnTo>
                <a:lnTo>
                  <a:pt x="568" y="304"/>
                </a:lnTo>
                <a:lnTo>
                  <a:pt x="592" y="278"/>
                </a:lnTo>
                <a:lnTo>
                  <a:pt x="614" y="258"/>
                </a:lnTo>
                <a:lnTo>
                  <a:pt x="632" y="242"/>
                </a:lnTo>
                <a:lnTo>
                  <a:pt x="670" y="220"/>
                </a:lnTo>
                <a:lnTo>
                  <a:pt x="708" y="202"/>
                </a:lnTo>
                <a:lnTo>
                  <a:pt x="746" y="184"/>
                </a:lnTo>
                <a:lnTo>
                  <a:pt x="784" y="170"/>
                </a:lnTo>
                <a:lnTo>
                  <a:pt x="822" y="158"/>
                </a:lnTo>
                <a:lnTo>
                  <a:pt x="856" y="148"/>
                </a:lnTo>
                <a:lnTo>
                  <a:pt x="886" y="142"/>
                </a:lnTo>
                <a:lnTo>
                  <a:pt x="912" y="136"/>
                </a:lnTo>
                <a:lnTo>
                  <a:pt x="1008" y="118"/>
                </a:lnTo>
                <a:lnTo>
                  <a:pt x="1054" y="108"/>
                </a:lnTo>
                <a:lnTo>
                  <a:pt x="1096" y="96"/>
                </a:lnTo>
                <a:lnTo>
                  <a:pt x="1150" y="74"/>
                </a:lnTo>
                <a:lnTo>
                  <a:pt x="1222" y="42"/>
                </a:lnTo>
                <a:lnTo>
                  <a:pt x="1260" y="26"/>
                </a:lnTo>
                <a:lnTo>
                  <a:pt x="1298" y="14"/>
                </a:lnTo>
                <a:lnTo>
                  <a:pt x="1332" y="4"/>
                </a:lnTo>
                <a:lnTo>
                  <a:pt x="1348" y="2"/>
                </a:lnTo>
                <a:lnTo>
                  <a:pt x="1362" y="0"/>
                </a:lnTo>
                <a:lnTo>
                  <a:pt x="1388" y="0"/>
                </a:lnTo>
                <a:lnTo>
                  <a:pt x="1416" y="2"/>
                </a:lnTo>
                <a:lnTo>
                  <a:pt x="1444" y="6"/>
                </a:lnTo>
                <a:lnTo>
                  <a:pt x="1472" y="10"/>
                </a:lnTo>
                <a:lnTo>
                  <a:pt x="1500" y="18"/>
                </a:lnTo>
                <a:lnTo>
                  <a:pt x="1528" y="26"/>
                </a:lnTo>
                <a:lnTo>
                  <a:pt x="1584" y="44"/>
                </a:lnTo>
                <a:lnTo>
                  <a:pt x="1637" y="66"/>
                </a:lnTo>
                <a:lnTo>
                  <a:pt x="1685" y="86"/>
                </a:lnTo>
                <a:lnTo>
                  <a:pt x="1729" y="104"/>
                </a:lnTo>
                <a:lnTo>
                  <a:pt x="1763" y="118"/>
                </a:lnTo>
                <a:lnTo>
                  <a:pt x="1797" y="132"/>
                </a:lnTo>
                <a:lnTo>
                  <a:pt x="1839" y="152"/>
                </a:lnTo>
                <a:lnTo>
                  <a:pt x="1931" y="200"/>
                </a:lnTo>
                <a:lnTo>
                  <a:pt x="2019" y="248"/>
                </a:lnTo>
                <a:lnTo>
                  <a:pt x="2083" y="284"/>
                </a:lnTo>
                <a:lnTo>
                  <a:pt x="2157" y="318"/>
                </a:lnTo>
                <a:lnTo>
                  <a:pt x="2263" y="368"/>
                </a:lnTo>
                <a:lnTo>
                  <a:pt x="2377" y="420"/>
                </a:lnTo>
                <a:lnTo>
                  <a:pt x="2429" y="440"/>
                </a:lnTo>
                <a:lnTo>
                  <a:pt x="2473" y="456"/>
                </a:lnTo>
                <a:lnTo>
                  <a:pt x="2511" y="470"/>
                </a:lnTo>
                <a:lnTo>
                  <a:pt x="2547" y="486"/>
                </a:lnTo>
                <a:lnTo>
                  <a:pt x="2581" y="504"/>
                </a:lnTo>
                <a:lnTo>
                  <a:pt x="2615" y="522"/>
                </a:lnTo>
                <a:lnTo>
                  <a:pt x="2675" y="558"/>
                </a:lnTo>
                <a:lnTo>
                  <a:pt x="2731" y="592"/>
                </a:lnTo>
                <a:lnTo>
                  <a:pt x="2773" y="614"/>
                </a:lnTo>
                <a:lnTo>
                  <a:pt x="2821" y="634"/>
                </a:lnTo>
                <a:lnTo>
                  <a:pt x="2873" y="650"/>
                </a:lnTo>
                <a:lnTo>
                  <a:pt x="2933" y="664"/>
                </a:lnTo>
                <a:lnTo>
                  <a:pt x="3001" y="674"/>
                </a:lnTo>
                <a:lnTo>
                  <a:pt x="3077" y="682"/>
                </a:lnTo>
                <a:lnTo>
                  <a:pt x="3165" y="686"/>
                </a:lnTo>
                <a:lnTo>
                  <a:pt x="3265" y="688"/>
                </a:lnTo>
              </a:path>
            </a:pathLst>
          </a:custGeom>
          <a:solidFill>
            <a:srgbClr val="CC00FF"/>
          </a:solidFill>
          <a:ln w="38100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06" name="Freeform 233"/>
          <p:cNvSpPr>
            <a:spLocks/>
          </p:cNvSpPr>
          <p:nvPr/>
        </p:nvSpPr>
        <p:spPr bwMode="auto">
          <a:xfrm>
            <a:off x="1398588" y="2028285"/>
            <a:ext cx="6443662" cy="685800"/>
          </a:xfrm>
          <a:custGeom>
            <a:avLst/>
            <a:gdLst>
              <a:gd name="T0" fmla="*/ 0 w 3265"/>
              <a:gd name="T1" fmla="*/ 2147483647 h 740"/>
              <a:gd name="T2" fmla="*/ 2147483647 w 3265"/>
              <a:gd name="T3" fmla="*/ 2147483647 h 740"/>
              <a:gd name="T4" fmla="*/ 2147483647 w 3265"/>
              <a:gd name="T5" fmla="*/ 2147483647 h 740"/>
              <a:gd name="T6" fmla="*/ 2147483647 w 3265"/>
              <a:gd name="T7" fmla="*/ 2147483647 h 740"/>
              <a:gd name="T8" fmla="*/ 2147483647 w 3265"/>
              <a:gd name="T9" fmla="*/ 2147483647 h 740"/>
              <a:gd name="T10" fmla="*/ 2147483647 w 3265"/>
              <a:gd name="T11" fmla="*/ 2147483647 h 740"/>
              <a:gd name="T12" fmla="*/ 2147483647 w 3265"/>
              <a:gd name="T13" fmla="*/ 2147483647 h 740"/>
              <a:gd name="T14" fmla="*/ 2147483647 w 3265"/>
              <a:gd name="T15" fmla="*/ 2147483647 h 740"/>
              <a:gd name="T16" fmla="*/ 2147483647 w 3265"/>
              <a:gd name="T17" fmla="*/ 2147483647 h 740"/>
              <a:gd name="T18" fmla="*/ 2147483647 w 3265"/>
              <a:gd name="T19" fmla="*/ 2147483647 h 740"/>
              <a:gd name="T20" fmla="*/ 2147483647 w 3265"/>
              <a:gd name="T21" fmla="*/ 2147483647 h 740"/>
              <a:gd name="T22" fmla="*/ 2147483647 w 3265"/>
              <a:gd name="T23" fmla="*/ 2147483647 h 740"/>
              <a:gd name="T24" fmla="*/ 2147483647 w 3265"/>
              <a:gd name="T25" fmla="*/ 2147483647 h 740"/>
              <a:gd name="T26" fmla="*/ 2147483647 w 3265"/>
              <a:gd name="T27" fmla="*/ 2147483647 h 740"/>
              <a:gd name="T28" fmla="*/ 2147483647 w 3265"/>
              <a:gd name="T29" fmla="*/ 2147483647 h 740"/>
              <a:gd name="T30" fmla="*/ 2147483647 w 3265"/>
              <a:gd name="T31" fmla="*/ 2147483647 h 740"/>
              <a:gd name="T32" fmla="*/ 2147483647 w 3265"/>
              <a:gd name="T33" fmla="*/ 2147483647 h 740"/>
              <a:gd name="T34" fmla="*/ 2147483647 w 3265"/>
              <a:gd name="T35" fmla="*/ 2147483647 h 740"/>
              <a:gd name="T36" fmla="*/ 2147483647 w 3265"/>
              <a:gd name="T37" fmla="*/ 2147483647 h 740"/>
              <a:gd name="T38" fmla="*/ 2147483647 w 3265"/>
              <a:gd name="T39" fmla="*/ 2147483647 h 740"/>
              <a:gd name="T40" fmla="*/ 2147483647 w 3265"/>
              <a:gd name="T41" fmla="*/ 2147483647 h 740"/>
              <a:gd name="T42" fmla="*/ 2147483647 w 3265"/>
              <a:gd name="T43" fmla="*/ 2147483647 h 740"/>
              <a:gd name="T44" fmla="*/ 2147483647 w 3265"/>
              <a:gd name="T45" fmla="*/ 2147483647 h 740"/>
              <a:gd name="T46" fmla="*/ 2147483647 w 3265"/>
              <a:gd name="T47" fmla="*/ 2147483647 h 740"/>
              <a:gd name="T48" fmla="*/ 2147483647 w 3265"/>
              <a:gd name="T49" fmla="*/ 2147483647 h 740"/>
              <a:gd name="T50" fmla="*/ 2147483647 w 3265"/>
              <a:gd name="T51" fmla="*/ 2147483647 h 740"/>
              <a:gd name="T52" fmla="*/ 2147483647 w 3265"/>
              <a:gd name="T53" fmla="*/ 2147483647 h 740"/>
              <a:gd name="T54" fmla="*/ 2147483647 w 3265"/>
              <a:gd name="T55" fmla="*/ 0 h 740"/>
              <a:gd name="T56" fmla="*/ 2147483647 w 3265"/>
              <a:gd name="T57" fmla="*/ 2147483647 h 740"/>
              <a:gd name="T58" fmla="*/ 2147483647 w 3265"/>
              <a:gd name="T59" fmla="*/ 2147483647 h 740"/>
              <a:gd name="T60" fmla="*/ 2147483647 w 3265"/>
              <a:gd name="T61" fmla="*/ 2147483647 h 740"/>
              <a:gd name="T62" fmla="*/ 2147483647 w 3265"/>
              <a:gd name="T63" fmla="*/ 2147483647 h 740"/>
              <a:gd name="T64" fmla="*/ 2147483647 w 3265"/>
              <a:gd name="T65" fmla="*/ 2147483647 h 740"/>
              <a:gd name="T66" fmla="*/ 2147483647 w 3265"/>
              <a:gd name="T67" fmla="*/ 2147483647 h 740"/>
              <a:gd name="T68" fmla="*/ 2147483647 w 3265"/>
              <a:gd name="T69" fmla="*/ 2147483647 h 740"/>
              <a:gd name="T70" fmla="*/ 2147483647 w 3265"/>
              <a:gd name="T71" fmla="*/ 2147483647 h 740"/>
              <a:gd name="T72" fmla="*/ 2147483647 w 3265"/>
              <a:gd name="T73" fmla="*/ 2147483647 h 740"/>
              <a:gd name="T74" fmla="*/ 2147483647 w 3265"/>
              <a:gd name="T75" fmla="*/ 2147483647 h 740"/>
              <a:gd name="T76" fmla="*/ 2147483647 w 3265"/>
              <a:gd name="T77" fmla="*/ 2147483647 h 740"/>
              <a:gd name="T78" fmla="*/ 2147483647 w 3265"/>
              <a:gd name="T79" fmla="*/ 2147483647 h 740"/>
              <a:gd name="T80" fmla="*/ 2147483647 w 3265"/>
              <a:gd name="T81" fmla="*/ 2147483647 h 740"/>
              <a:gd name="T82" fmla="*/ 2147483647 w 3265"/>
              <a:gd name="T83" fmla="*/ 2147483647 h 740"/>
              <a:gd name="T84" fmla="*/ 2147483647 w 3265"/>
              <a:gd name="T85" fmla="*/ 2147483647 h 740"/>
              <a:gd name="T86" fmla="*/ 2147483647 w 3265"/>
              <a:gd name="T87" fmla="*/ 2147483647 h 740"/>
              <a:gd name="T88" fmla="*/ 2147483647 w 3265"/>
              <a:gd name="T89" fmla="*/ 2147483647 h 740"/>
              <a:gd name="T90" fmla="*/ 2147483647 w 3265"/>
              <a:gd name="T91" fmla="*/ 2147483647 h 740"/>
              <a:gd name="T92" fmla="*/ 2147483647 w 3265"/>
              <a:gd name="T93" fmla="*/ 2147483647 h 740"/>
              <a:gd name="T94" fmla="*/ 2147483647 w 3265"/>
              <a:gd name="T95" fmla="*/ 2147483647 h 740"/>
              <a:gd name="T96" fmla="*/ 2147483647 w 3265"/>
              <a:gd name="T97" fmla="*/ 2147483647 h 740"/>
              <a:gd name="T98" fmla="*/ 2147483647 w 3265"/>
              <a:gd name="T99" fmla="*/ 2147483647 h 740"/>
              <a:gd name="T100" fmla="*/ 2147483647 w 3265"/>
              <a:gd name="T101" fmla="*/ 2147483647 h 740"/>
              <a:gd name="T102" fmla="*/ 2147483647 w 3265"/>
              <a:gd name="T103" fmla="*/ 2147483647 h 740"/>
              <a:gd name="T104" fmla="*/ 2147483647 w 3265"/>
              <a:gd name="T105" fmla="*/ 2147483647 h 740"/>
              <a:gd name="T106" fmla="*/ 2147483647 w 3265"/>
              <a:gd name="T107" fmla="*/ 2147483647 h 740"/>
              <a:gd name="T108" fmla="*/ 2147483647 w 3265"/>
              <a:gd name="T109" fmla="*/ 2147483647 h 740"/>
              <a:gd name="T110" fmla="*/ 2147483647 w 3265"/>
              <a:gd name="T111" fmla="*/ 2147483647 h 740"/>
              <a:gd name="T112" fmla="*/ 2147483647 w 3265"/>
              <a:gd name="T113" fmla="*/ 2147483647 h 740"/>
              <a:gd name="T114" fmla="*/ 2147483647 w 3265"/>
              <a:gd name="T115" fmla="*/ 2147483647 h 740"/>
              <a:gd name="T116" fmla="*/ 2147483647 w 3265"/>
              <a:gd name="T117" fmla="*/ 2147483647 h 740"/>
              <a:gd name="T118" fmla="*/ 2147483647 w 3265"/>
              <a:gd name="T119" fmla="*/ 2147483647 h 740"/>
              <a:gd name="T120" fmla="*/ 2147483647 w 3265"/>
              <a:gd name="T121" fmla="*/ 2147483647 h 740"/>
              <a:gd name="T122" fmla="*/ 2147483647 w 3265"/>
              <a:gd name="T123" fmla="*/ 2147483647 h 74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265" h="740">
                <a:moveTo>
                  <a:pt x="0" y="740"/>
                </a:moveTo>
                <a:lnTo>
                  <a:pt x="14" y="736"/>
                </a:lnTo>
                <a:lnTo>
                  <a:pt x="32" y="730"/>
                </a:lnTo>
                <a:lnTo>
                  <a:pt x="54" y="720"/>
                </a:lnTo>
                <a:lnTo>
                  <a:pt x="78" y="706"/>
                </a:lnTo>
                <a:lnTo>
                  <a:pt x="132" y="674"/>
                </a:lnTo>
                <a:lnTo>
                  <a:pt x="192" y="634"/>
                </a:lnTo>
                <a:lnTo>
                  <a:pt x="254" y="588"/>
                </a:lnTo>
                <a:lnTo>
                  <a:pt x="314" y="544"/>
                </a:lnTo>
                <a:lnTo>
                  <a:pt x="368" y="500"/>
                </a:lnTo>
                <a:lnTo>
                  <a:pt x="414" y="464"/>
                </a:lnTo>
                <a:lnTo>
                  <a:pt x="454" y="428"/>
                </a:lnTo>
                <a:lnTo>
                  <a:pt x="496" y="388"/>
                </a:lnTo>
                <a:lnTo>
                  <a:pt x="586" y="306"/>
                </a:lnTo>
                <a:lnTo>
                  <a:pt x="632" y="264"/>
                </a:lnTo>
                <a:lnTo>
                  <a:pt x="678" y="228"/>
                </a:lnTo>
                <a:lnTo>
                  <a:pt x="724" y="196"/>
                </a:lnTo>
                <a:lnTo>
                  <a:pt x="746" y="182"/>
                </a:lnTo>
                <a:lnTo>
                  <a:pt x="768" y="170"/>
                </a:lnTo>
                <a:lnTo>
                  <a:pt x="816" y="146"/>
                </a:lnTo>
                <a:lnTo>
                  <a:pt x="866" y="120"/>
                </a:lnTo>
                <a:lnTo>
                  <a:pt x="968" y="66"/>
                </a:lnTo>
                <a:lnTo>
                  <a:pt x="1016" y="42"/>
                </a:lnTo>
                <a:lnTo>
                  <a:pt x="1058" y="22"/>
                </a:lnTo>
                <a:lnTo>
                  <a:pt x="1094" y="8"/>
                </a:lnTo>
                <a:lnTo>
                  <a:pt x="1108" y="4"/>
                </a:lnTo>
                <a:lnTo>
                  <a:pt x="1120" y="2"/>
                </a:lnTo>
                <a:lnTo>
                  <a:pt x="1142" y="0"/>
                </a:lnTo>
                <a:lnTo>
                  <a:pt x="1170" y="2"/>
                </a:lnTo>
                <a:lnTo>
                  <a:pt x="1230" y="6"/>
                </a:lnTo>
                <a:lnTo>
                  <a:pt x="1286" y="12"/>
                </a:lnTo>
                <a:lnTo>
                  <a:pt x="1324" y="14"/>
                </a:lnTo>
                <a:lnTo>
                  <a:pt x="1362" y="16"/>
                </a:lnTo>
                <a:lnTo>
                  <a:pt x="1418" y="22"/>
                </a:lnTo>
                <a:lnTo>
                  <a:pt x="1478" y="30"/>
                </a:lnTo>
                <a:lnTo>
                  <a:pt x="1504" y="36"/>
                </a:lnTo>
                <a:lnTo>
                  <a:pt x="1524" y="42"/>
                </a:lnTo>
                <a:lnTo>
                  <a:pt x="1542" y="48"/>
                </a:lnTo>
                <a:lnTo>
                  <a:pt x="1564" y="54"/>
                </a:lnTo>
                <a:lnTo>
                  <a:pt x="1615" y="64"/>
                </a:lnTo>
                <a:lnTo>
                  <a:pt x="1669" y="76"/>
                </a:lnTo>
                <a:lnTo>
                  <a:pt x="1697" y="82"/>
                </a:lnTo>
                <a:lnTo>
                  <a:pt x="1725" y="90"/>
                </a:lnTo>
                <a:lnTo>
                  <a:pt x="1763" y="104"/>
                </a:lnTo>
                <a:lnTo>
                  <a:pt x="1819" y="130"/>
                </a:lnTo>
                <a:lnTo>
                  <a:pt x="1965" y="198"/>
                </a:lnTo>
                <a:lnTo>
                  <a:pt x="2231" y="326"/>
                </a:lnTo>
                <a:lnTo>
                  <a:pt x="2309" y="366"/>
                </a:lnTo>
                <a:lnTo>
                  <a:pt x="2387" y="406"/>
                </a:lnTo>
                <a:lnTo>
                  <a:pt x="2459" y="444"/>
                </a:lnTo>
                <a:lnTo>
                  <a:pt x="2489" y="458"/>
                </a:lnTo>
                <a:lnTo>
                  <a:pt x="2515" y="468"/>
                </a:lnTo>
                <a:lnTo>
                  <a:pt x="2573" y="486"/>
                </a:lnTo>
                <a:lnTo>
                  <a:pt x="2645" y="508"/>
                </a:lnTo>
                <a:lnTo>
                  <a:pt x="2719" y="530"/>
                </a:lnTo>
                <a:lnTo>
                  <a:pt x="2781" y="552"/>
                </a:lnTo>
                <a:lnTo>
                  <a:pt x="2921" y="602"/>
                </a:lnTo>
                <a:lnTo>
                  <a:pt x="3039" y="646"/>
                </a:lnTo>
                <a:lnTo>
                  <a:pt x="3089" y="662"/>
                </a:lnTo>
                <a:lnTo>
                  <a:pt x="3157" y="684"/>
                </a:lnTo>
                <a:lnTo>
                  <a:pt x="3223" y="702"/>
                </a:lnTo>
                <a:lnTo>
                  <a:pt x="3265" y="712"/>
                </a:lnTo>
              </a:path>
            </a:pathLst>
          </a:custGeom>
          <a:solidFill>
            <a:srgbClr val="008000"/>
          </a:solidFill>
          <a:ln w="38100" cap="flat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07" name="Rectangle 234"/>
          <p:cNvSpPr>
            <a:spLocks noChangeArrowheads="1"/>
          </p:cNvSpPr>
          <p:nvPr/>
        </p:nvSpPr>
        <p:spPr bwMode="auto">
          <a:xfrm>
            <a:off x="7524753" y="2475964"/>
            <a:ext cx="503238" cy="43219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400">
              <a:solidFill>
                <a:srgbClr val="000000"/>
              </a:solidFill>
            </a:endParaRPr>
          </a:p>
        </p:txBody>
      </p:sp>
      <p:sp>
        <p:nvSpPr>
          <p:cNvPr id="8208" name="Line 235"/>
          <p:cNvSpPr>
            <a:spLocks noChangeShapeType="1"/>
          </p:cNvSpPr>
          <p:nvPr/>
        </p:nvSpPr>
        <p:spPr bwMode="auto">
          <a:xfrm>
            <a:off x="1352554" y="2623598"/>
            <a:ext cx="1588" cy="1714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09" name="Text Box 241"/>
          <p:cNvSpPr txBox="1">
            <a:spLocks noChangeArrowheads="1"/>
          </p:cNvSpPr>
          <p:nvPr/>
        </p:nvSpPr>
        <p:spPr bwMode="auto">
          <a:xfrm>
            <a:off x="3492504" y="1151241"/>
            <a:ext cx="11430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US" altLang="nl-NL" sz="2400" dirty="0" err="1">
                <a:solidFill>
                  <a:srgbClr val="000000"/>
                </a:solidFill>
              </a:rPr>
              <a:t>lw</a:t>
            </a:r>
            <a:endParaRPr lang="nl-NL" altLang="nl-NL" sz="2400" dirty="0">
              <a:solidFill>
                <a:srgbClr val="000000"/>
              </a:solidFill>
            </a:endParaRPr>
          </a:p>
        </p:txBody>
      </p:sp>
      <p:sp>
        <p:nvSpPr>
          <p:cNvPr id="8210" name="Text Box 242"/>
          <p:cNvSpPr txBox="1">
            <a:spLocks noChangeArrowheads="1"/>
          </p:cNvSpPr>
          <p:nvPr/>
        </p:nvSpPr>
        <p:spPr bwMode="auto">
          <a:xfrm>
            <a:off x="3500440" y="2240216"/>
            <a:ext cx="11430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US" altLang="nl-NL" sz="2400">
                <a:solidFill>
                  <a:srgbClr val="000000"/>
                </a:solidFill>
              </a:rPr>
              <a:t>lw</a:t>
            </a:r>
            <a:endParaRPr lang="nl-NL" altLang="nl-NL" sz="2400">
              <a:solidFill>
                <a:srgbClr val="000000"/>
              </a:solidFill>
            </a:endParaRPr>
          </a:p>
        </p:txBody>
      </p:sp>
      <p:sp>
        <p:nvSpPr>
          <p:cNvPr id="8211" name="Text Box 243"/>
          <p:cNvSpPr txBox="1">
            <a:spLocks noChangeArrowheads="1"/>
          </p:cNvSpPr>
          <p:nvPr/>
        </p:nvSpPr>
        <p:spPr bwMode="auto">
          <a:xfrm>
            <a:off x="5148264" y="1655621"/>
            <a:ext cx="3108543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nl-NL" sz="1400" dirty="0" err="1">
                <a:solidFill>
                  <a:srgbClr val="000000"/>
                </a:solidFill>
                <a:latin typeface="+mj-lt"/>
              </a:rPr>
              <a:t>insuline</a:t>
            </a:r>
            <a:r>
              <a:rPr lang="en-US" altLang="nl-NL" sz="1400" dirty="0">
                <a:solidFill>
                  <a:srgbClr val="000000"/>
                </a:solidFill>
                <a:latin typeface="+mj-lt"/>
              </a:rPr>
              <a:t> glargine-100: Lantus</a:t>
            </a:r>
            <a:r>
              <a:rPr lang="en-US" altLang="nl-NL" sz="1400" dirty="0">
                <a:solidFill>
                  <a:srgbClr val="000000"/>
                </a:solidFill>
                <a:latin typeface="+mj-lt"/>
                <a:cs typeface="Times New Roman" pitchFamily="18" charset="0"/>
              </a:rPr>
              <a:t>® 0.8 U/kg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nl-NL" sz="1400" dirty="0" err="1">
                <a:solidFill>
                  <a:srgbClr val="000000"/>
                </a:solidFill>
                <a:latin typeface="+mj-lt"/>
              </a:rPr>
              <a:t>insuline</a:t>
            </a:r>
            <a:r>
              <a:rPr lang="en-US" altLang="nl-NL" sz="1400" dirty="0">
                <a:solidFill>
                  <a:srgbClr val="000000"/>
                </a:solidFill>
                <a:latin typeface="+mj-lt"/>
              </a:rPr>
              <a:t> </a:t>
            </a:r>
            <a:r>
              <a:rPr lang="en-US" altLang="nl-NL" sz="1400" dirty="0" err="1" smtClean="0">
                <a:solidFill>
                  <a:srgbClr val="000000"/>
                </a:solidFill>
                <a:latin typeface="+mj-lt"/>
              </a:rPr>
              <a:t>detemir</a:t>
            </a:r>
            <a:r>
              <a:rPr lang="en-US" altLang="nl-NL" sz="1400" dirty="0">
                <a:solidFill>
                  <a:srgbClr val="000000"/>
                </a:solidFill>
                <a:latin typeface="+mj-lt"/>
              </a:rPr>
              <a:t>: </a:t>
            </a:r>
            <a:r>
              <a:rPr lang="en-US" altLang="nl-NL" sz="1400" dirty="0" err="1" smtClean="0">
                <a:solidFill>
                  <a:srgbClr val="000000"/>
                </a:solidFill>
                <a:latin typeface="+mj-lt"/>
              </a:rPr>
              <a:t>Levemir</a:t>
            </a:r>
            <a:r>
              <a:rPr lang="en-US" altLang="nl-NL" sz="1400" dirty="0">
                <a:solidFill>
                  <a:srgbClr val="000000"/>
                </a:solidFill>
                <a:latin typeface="+mj-lt"/>
              </a:rPr>
              <a:t>® 0.8 U/kg</a:t>
            </a:r>
            <a:endParaRPr lang="nl-NL" altLang="nl-NL" sz="14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8212" name="Line 244"/>
          <p:cNvSpPr>
            <a:spLocks noChangeShapeType="1"/>
          </p:cNvSpPr>
          <p:nvPr/>
        </p:nvSpPr>
        <p:spPr bwMode="auto">
          <a:xfrm>
            <a:off x="2671772" y="1408416"/>
            <a:ext cx="1587" cy="157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13" name="Line 245"/>
          <p:cNvSpPr>
            <a:spLocks noChangeShapeType="1"/>
          </p:cNvSpPr>
          <p:nvPr/>
        </p:nvSpPr>
        <p:spPr bwMode="auto">
          <a:xfrm>
            <a:off x="4132272" y="1408416"/>
            <a:ext cx="1587" cy="157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14" name="Line 246"/>
          <p:cNvSpPr>
            <a:spLocks noChangeShapeType="1"/>
          </p:cNvSpPr>
          <p:nvPr/>
        </p:nvSpPr>
        <p:spPr bwMode="auto">
          <a:xfrm>
            <a:off x="5626100" y="1408416"/>
            <a:ext cx="1588" cy="157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18" name="Line 250"/>
          <p:cNvSpPr>
            <a:spLocks noChangeShapeType="1"/>
          </p:cNvSpPr>
          <p:nvPr/>
        </p:nvSpPr>
        <p:spPr bwMode="auto">
          <a:xfrm>
            <a:off x="2746378" y="2606929"/>
            <a:ext cx="1588" cy="157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19" name="Line 251"/>
          <p:cNvSpPr>
            <a:spLocks noChangeShapeType="1"/>
          </p:cNvSpPr>
          <p:nvPr/>
        </p:nvSpPr>
        <p:spPr bwMode="auto">
          <a:xfrm>
            <a:off x="4206875" y="2606929"/>
            <a:ext cx="1588" cy="157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20" name="Line 252"/>
          <p:cNvSpPr>
            <a:spLocks noChangeShapeType="1"/>
          </p:cNvSpPr>
          <p:nvPr/>
        </p:nvSpPr>
        <p:spPr bwMode="auto">
          <a:xfrm>
            <a:off x="5700722" y="2606929"/>
            <a:ext cx="1587" cy="157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24" name="Text Box 274"/>
          <p:cNvSpPr txBox="1">
            <a:spLocks noChangeArrowheads="1"/>
          </p:cNvSpPr>
          <p:nvPr/>
        </p:nvSpPr>
        <p:spPr bwMode="auto">
          <a:xfrm>
            <a:off x="5292734" y="3813900"/>
            <a:ext cx="287928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nl-NL" sz="1400" dirty="0" err="1">
                <a:solidFill>
                  <a:srgbClr val="000000"/>
                </a:solidFill>
                <a:latin typeface="+mn-lt"/>
              </a:rPr>
              <a:t>insuline</a:t>
            </a:r>
            <a:r>
              <a:rPr lang="en-US" altLang="nl-NL" sz="1400" dirty="0">
                <a:solidFill>
                  <a:srgbClr val="000000"/>
                </a:solidFill>
                <a:latin typeface="+mn-lt"/>
              </a:rPr>
              <a:t> </a:t>
            </a:r>
            <a:r>
              <a:rPr lang="en-US" altLang="nl-NL" sz="1400" dirty="0" err="1" smtClean="0">
                <a:solidFill>
                  <a:srgbClr val="000000"/>
                </a:solidFill>
                <a:latin typeface="+mn-lt"/>
              </a:rPr>
              <a:t>degludec</a:t>
            </a:r>
            <a:r>
              <a:rPr lang="en-US" altLang="nl-NL" sz="1400" dirty="0">
                <a:solidFill>
                  <a:srgbClr val="000000"/>
                </a:solidFill>
                <a:latin typeface="+mn-lt"/>
              </a:rPr>
              <a:t>: </a:t>
            </a:r>
            <a:r>
              <a:rPr lang="en-US" altLang="nl-NL" sz="1400" dirty="0" err="1">
                <a:solidFill>
                  <a:srgbClr val="000000"/>
                </a:solidFill>
                <a:latin typeface="+mn-lt"/>
              </a:rPr>
              <a:t>Tresiba</a:t>
            </a:r>
            <a:r>
              <a:rPr lang="en-US" altLang="nl-NL" sz="1400" dirty="0">
                <a:solidFill>
                  <a:srgbClr val="000000"/>
                </a:solidFill>
                <a:latin typeface="+mn-lt"/>
                <a:cs typeface="Times New Roman" pitchFamily="18" charset="0"/>
              </a:rPr>
              <a:t>® </a:t>
            </a:r>
            <a:r>
              <a:rPr lang="en-US" altLang="nl-NL" sz="1400" dirty="0">
                <a:solidFill>
                  <a:srgbClr val="000000"/>
                </a:solidFill>
                <a:latin typeface="+mn-lt"/>
              </a:rPr>
              <a:t>0.4 U/kg</a:t>
            </a:r>
            <a:endParaRPr lang="nl-NL" altLang="nl-NL" sz="1400" dirty="0">
              <a:solidFill>
                <a:srgbClr val="000000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8225" name="Line 216"/>
          <p:cNvSpPr>
            <a:spLocks noChangeShapeType="1"/>
          </p:cNvSpPr>
          <p:nvPr/>
        </p:nvSpPr>
        <p:spPr bwMode="auto">
          <a:xfrm flipV="1">
            <a:off x="1371606" y="1486998"/>
            <a:ext cx="6149975" cy="32147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26" name="Line 216"/>
          <p:cNvSpPr>
            <a:spLocks noChangeShapeType="1"/>
          </p:cNvSpPr>
          <p:nvPr/>
        </p:nvSpPr>
        <p:spPr bwMode="auto">
          <a:xfrm flipV="1">
            <a:off x="1352554" y="2685516"/>
            <a:ext cx="6184900" cy="7144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28" name="Line 207"/>
          <p:cNvSpPr>
            <a:spLocks noChangeShapeType="1"/>
          </p:cNvSpPr>
          <p:nvPr/>
        </p:nvSpPr>
        <p:spPr bwMode="auto">
          <a:xfrm>
            <a:off x="7523164" y="2583117"/>
            <a:ext cx="3175" cy="21669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7" name="Rechthoek 6"/>
          <p:cNvSpPr/>
          <p:nvPr/>
        </p:nvSpPr>
        <p:spPr>
          <a:xfrm>
            <a:off x="6443664" y="1519145"/>
            <a:ext cx="1077912" cy="4643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8231" name="Line 207"/>
          <p:cNvSpPr>
            <a:spLocks noChangeShapeType="1"/>
          </p:cNvSpPr>
          <p:nvPr/>
        </p:nvSpPr>
        <p:spPr bwMode="auto">
          <a:xfrm>
            <a:off x="7523172" y="1439372"/>
            <a:ext cx="1587" cy="1714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34" name="Oval 33"/>
          <p:cNvSpPr>
            <a:spLocks noChangeArrowheads="1"/>
          </p:cNvSpPr>
          <p:nvPr/>
        </p:nvSpPr>
        <p:spPr bwMode="auto">
          <a:xfrm>
            <a:off x="1316038" y="2631932"/>
            <a:ext cx="150812" cy="104775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400">
              <a:solidFill>
                <a:srgbClr val="000000"/>
              </a:solidFill>
            </a:endParaRPr>
          </a:p>
        </p:txBody>
      </p:sp>
      <p:sp>
        <p:nvSpPr>
          <p:cNvPr id="8235" name="Oval 33"/>
          <p:cNvSpPr>
            <a:spLocks noChangeArrowheads="1"/>
          </p:cNvSpPr>
          <p:nvPr/>
        </p:nvSpPr>
        <p:spPr bwMode="auto">
          <a:xfrm>
            <a:off x="1303338" y="1443279"/>
            <a:ext cx="150812" cy="104775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400">
              <a:solidFill>
                <a:srgbClr val="000000"/>
              </a:solidFill>
            </a:endParaRPr>
          </a:p>
        </p:txBody>
      </p:sp>
      <p:sp>
        <p:nvSpPr>
          <p:cNvPr id="8236" name="Text Box 285"/>
          <p:cNvSpPr txBox="1">
            <a:spLocks noChangeArrowheads="1"/>
          </p:cNvSpPr>
          <p:nvPr/>
        </p:nvSpPr>
        <p:spPr bwMode="auto">
          <a:xfrm>
            <a:off x="1187451" y="4659243"/>
            <a:ext cx="33750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nl-NL" sz="1800" dirty="0">
                <a:solidFill>
                  <a:srgbClr val="000000"/>
                </a:solidFill>
                <a:latin typeface="+mn-lt"/>
              </a:rPr>
              <a:t>O</a:t>
            </a:r>
            <a:endParaRPr lang="nl-NL" altLang="nl-NL" sz="18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237" name="Text Box 286"/>
          <p:cNvSpPr txBox="1">
            <a:spLocks noChangeArrowheads="1"/>
          </p:cNvSpPr>
          <p:nvPr/>
        </p:nvSpPr>
        <p:spPr bwMode="auto">
          <a:xfrm>
            <a:off x="2482852" y="4659243"/>
            <a:ext cx="3899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nl-NL" sz="1800" dirty="0">
                <a:solidFill>
                  <a:srgbClr val="000000"/>
                </a:solidFill>
                <a:latin typeface="+mn-lt"/>
              </a:rPr>
              <a:t>M</a:t>
            </a:r>
            <a:endParaRPr lang="nl-NL" altLang="nl-NL" sz="18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238" name="Text Box 287"/>
          <p:cNvSpPr txBox="1">
            <a:spLocks noChangeArrowheads="1"/>
          </p:cNvSpPr>
          <p:nvPr/>
        </p:nvSpPr>
        <p:spPr bwMode="auto">
          <a:xfrm>
            <a:off x="3994150" y="4659243"/>
            <a:ext cx="318229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nl-NL" sz="1800" dirty="0">
                <a:solidFill>
                  <a:srgbClr val="000000"/>
                </a:solidFill>
                <a:latin typeface="Calibri"/>
                <a:cs typeface="Calibri"/>
              </a:rPr>
              <a:t>A</a:t>
            </a:r>
            <a:endParaRPr lang="nl-NL" altLang="nl-NL" sz="1800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8239" name="Text Box 288"/>
          <p:cNvSpPr txBox="1">
            <a:spLocks noChangeArrowheads="1"/>
          </p:cNvSpPr>
          <p:nvPr/>
        </p:nvSpPr>
        <p:spPr bwMode="auto">
          <a:xfrm>
            <a:off x="5434018" y="4659243"/>
            <a:ext cx="42169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nl-NL" sz="1800" dirty="0">
                <a:solidFill>
                  <a:srgbClr val="000000"/>
                </a:solidFill>
                <a:latin typeface="Calibri"/>
                <a:cs typeface="Calibri"/>
              </a:rPr>
              <a:t>VS</a:t>
            </a:r>
            <a:endParaRPr lang="nl-NL" altLang="nl-NL" sz="1800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66" name="Rechthoek 65"/>
          <p:cNvSpPr/>
          <p:nvPr/>
        </p:nvSpPr>
        <p:spPr>
          <a:xfrm>
            <a:off x="1390650" y="4366337"/>
            <a:ext cx="6635750" cy="257175"/>
          </a:xfrm>
          <a:prstGeom prst="rect">
            <a:avLst/>
          </a:prstGeom>
          <a:solidFill>
            <a:srgbClr val="333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67" name="Freeform 65"/>
          <p:cNvSpPr>
            <a:spLocks noChangeArrowheads="1"/>
          </p:cNvSpPr>
          <p:nvPr/>
        </p:nvSpPr>
        <p:spPr bwMode="auto">
          <a:xfrm>
            <a:off x="1390654" y="4093685"/>
            <a:ext cx="6708775" cy="314325"/>
          </a:xfrm>
          <a:custGeom>
            <a:avLst/>
            <a:gdLst>
              <a:gd name="T0" fmla="*/ 0 w 6596062"/>
              <a:gd name="T1" fmla="*/ 925165 h 361949"/>
              <a:gd name="T2" fmla="*/ 9691 w 6596062"/>
              <a:gd name="T3" fmla="*/ 860467 h 361949"/>
              <a:gd name="T4" fmla="*/ 18399 w 6596062"/>
              <a:gd name="T5" fmla="*/ 769888 h 361949"/>
              <a:gd name="T6" fmla="*/ 21849 w 6596062"/>
              <a:gd name="T7" fmla="*/ 731073 h 361949"/>
              <a:gd name="T8" fmla="*/ 30720 w 6596062"/>
              <a:gd name="T9" fmla="*/ 549919 h 361949"/>
              <a:gd name="T10" fmla="*/ 38114 w 6596062"/>
              <a:gd name="T11" fmla="*/ 407590 h 361949"/>
              <a:gd name="T12" fmla="*/ 44686 w 6596062"/>
              <a:gd name="T13" fmla="*/ 329950 h 361949"/>
              <a:gd name="T14" fmla="*/ 53063 w 6596062"/>
              <a:gd name="T15" fmla="*/ 226436 h 361949"/>
              <a:gd name="T16" fmla="*/ 60621 w 6596062"/>
              <a:gd name="T17" fmla="*/ 148802 h 361949"/>
              <a:gd name="T18" fmla="*/ 68341 w 6596062"/>
              <a:gd name="T19" fmla="*/ 58228 h 361949"/>
              <a:gd name="T20" fmla="*/ 73927 w 6596062"/>
              <a:gd name="T21" fmla="*/ 6467 h 361949"/>
              <a:gd name="T22" fmla="*/ 81154 w 6596062"/>
              <a:gd name="T23" fmla="*/ 19401 h 361949"/>
              <a:gd name="T24" fmla="*/ 87561 w 6596062"/>
              <a:gd name="T25" fmla="*/ 45280 h 361949"/>
              <a:gd name="T26" fmla="*/ 94462 w 6596062"/>
              <a:gd name="T27" fmla="*/ 58228 h 361949"/>
              <a:gd name="T28" fmla="*/ 100376 w 6596062"/>
              <a:gd name="T29" fmla="*/ 45280 h 361949"/>
              <a:gd name="T30" fmla="*/ 105469 w 6596062"/>
              <a:gd name="T31" fmla="*/ 45280 h 361949"/>
              <a:gd name="T32" fmla="*/ 109247 w 6596062"/>
              <a:gd name="T33" fmla="*/ 84102 h 361949"/>
              <a:gd name="T34" fmla="*/ 115326 w 6596062"/>
              <a:gd name="T35" fmla="*/ 71164 h 361949"/>
              <a:gd name="T36" fmla="*/ 119433 w 6596062"/>
              <a:gd name="T37" fmla="*/ 45280 h 361949"/>
              <a:gd name="T38" fmla="*/ 122226 w 6596062"/>
              <a:gd name="T39" fmla="*/ 58228 h 361949"/>
              <a:gd name="T40" fmla="*/ 127811 w 6596062"/>
              <a:gd name="T41" fmla="*/ 135867 h 361949"/>
              <a:gd name="T42" fmla="*/ 135205 w 6596062"/>
              <a:gd name="T43" fmla="*/ 252315 h 361949"/>
              <a:gd name="T44" fmla="*/ 140460 w 6596062"/>
              <a:gd name="T45" fmla="*/ 329950 h 361949"/>
              <a:gd name="T46" fmla="*/ 147853 w 6596062"/>
              <a:gd name="T47" fmla="*/ 407590 h 361949"/>
              <a:gd name="T48" fmla="*/ 154096 w 6596062"/>
              <a:gd name="T49" fmla="*/ 446412 h 361949"/>
              <a:gd name="T50" fmla="*/ 159682 w 6596062"/>
              <a:gd name="T51" fmla="*/ 472293 h 361949"/>
              <a:gd name="T52" fmla="*/ 165432 w 6596062"/>
              <a:gd name="T53" fmla="*/ 459344 h 361949"/>
              <a:gd name="T54" fmla="*/ 170031 w 6596062"/>
              <a:gd name="T55" fmla="*/ 459344 h 361949"/>
              <a:gd name="T56" fmla="*/ 173974 w 6596062"/>
              <a:gd name="T57" fmla="*/ 498166 h 361949"/>
              <a:gd name="T58" fmla="*/ 178410 w 6596062"/>
              <a:gd name="T59" fmla="*/ 511103 h 361949"/>
              <a:gd name="T60" fmla="*/ 183339 w 6596062"/>
              <a:gd name="T61" fmla="*/ 524046 h 361949"/>
              <a:gd name="T62" fmla="*/ 188596 w 6596062"/>
              <a:gd name="T63" fmla="*/ 562855 h 361949"/>
              <a:gd name="T64" fmla="*/ 191552 w 6596062"/>
              <a:gd name="T65" fmla="*/ 588738 h 361949"/>
              <a:gd name="T66" fmla="*/ 197303 w 6596062"/>
              <a:gd name="T67" fmla="*/ 653439 h 361949"/>
              <a:gd name="T68" fmla="*/ 202396 w 6596062"/>
              <a:gd name="T69" fmla="*/ 718134 h 361949"/>
              <a:gd name="T70" fmla="*/ 207981 w 6596062"/>
              <a:gd name="T71" fmla="*/ 795768 h 361949"/>
              <a:gd name="T72" fmla="*/ 215373 w 6596062"/>
              <a:gd name="T73" fmla="*/ 873405 h 361949"/>
              <a:gd name="T74" fmla="*/ 219973 w 6596062"/>
              <a:gd name="T75" fmla="*/ 925165 h 361949"/>
              <a:gd name="T76" fmla="*/ 224901 w 6596062"/>
              <a:gd name="T77" fmla="*/ 976919 h 361949"/>
              <a:gd name="T78" fmla="*/ 227529 w 6596062"/>
              <a:gd name="T79" fmla="*/ 963979 h 361949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6596062"/>
              <a:gd name="T121" fmla="*/ 0 h 361949"/>
              <a:gd name="T122" fmla="*/ 6596062 w 6596062"/>
              <a:gd name="T123" fmla="*/ 361949 h 361949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6596062" h="361949">
                <a:moveTo>
                  <a:pt x="0" y="340518"/>
                </a:moveTo>
                <a:cubicBezTo>
                  <a:pt x="96043" y="333374"/>
                  <a:pt x="192087" y="326231"/>
                  <a:pt x="280987" y="316706"/>
                </a:cubicBezTo>
                <a:cubicBezTo>
                  <a:pt x="369887" y="307181"/>
                  <a:pt x="533400" y="283368"/>
                  <a:pt x="533400" y="283368"/>
                </a:cubicBezTo>
                <a:cubicBezTo>
                  <a:pt x="592138" y="275431"/>
                  <a:pt x="573881" y="282575"/>
                  <a:pt x="633412" y="269081"/>
                </a:cubicBezTo>
                <a:cubicBezTo>
                  <a:pt x="692943" y="255587"/>
                  <a:pt x="890587" y="202406"/>
                  <a:pt x="890587" y="202406"/>
                </a:cubicBezTo>
                <a:cubicBezTo>
                  <a:pt x="969168" y="182562"/>
                  <a:pt x="1037431" y="163512"/>
                  <a:pt x="1104900" y="150018"/>
                </a:cubicBezTo>
                <a:cubicBezTo>
                  <a:pt x="1172369" y="136524"/>
                  <a:pt x="1295400" y="121443"/>
                  <a:pt x="1295400" y="121443"/>
                </a:cubicBezTo>
                <a:lnTo>
                  <a:pt x="1538287" y="83343"/>
                </a:lnTo>
                <a:cubicBezTo>
                  <a:pt x="1615281" y="72231"/>
                  <a:pt x="1757362" y="54768"/>
                  <a:pt x="1757362" y="54768"/>
                </a:cubicBezTo>
                <a:lnTo>
                  <a:pt x="1981200" y="21431"/>
                </a:lnTo>
                <a:cubicBezTo>
                  <a:pt x="2045494" y="12700"/>
                  <a:pt x="2081213" y="4762"/>
                  <a:pt x="2143125" y="2381"/>
                </a:cubicBezTo>
                <a:cubicBezTo>
                  <a:pt x="2205037" y="0"/>
                  <a:pt x="2286794" y="4762"/>
                  <a:pt x="2352675" y="7143"/>
                </a:cubicBezTo>
                <a:cubicBezTo>
                  <a:pt x="2418556" y="9524"/>
                  <a:pt x="2474118" y="14287"/>
                  <a:pt x="2538412" y="16668"/>
                </a:cubicBezTo>
                <a:cubicBezTo>
                  <a:pt x="2602706" y="19049"/>
                  <a:pt x="2676525" y="21431"/>
                  <a:pt x="2738437" y="21431"/>
                </a:cubicBezTo>
                <a:cubicBezTo>
                  <a:pt x="2800349" y="21431"/>
                  <a:pt x="2856706" y="17462"/>
                  <a:pt x="2909887" y="16668"/>
                </a:cubicBezTo>
                <a:cubicBezTo>
                  <a:pt x="2963068" y="15874"/>
                  <a:pt x="3014663" y="14287"/>
                  <a:pt x="3057525" y="16668"/>
                </a:cubicBezTo>
                <a:cubicBezTo>
                  <a:pt x="3100388" y="19049"/>
                  <a:pt x="3119437" y="29369"/>
                  <a:pt x="3167062" y="30956"/>
                </a:cubicBezTo>
                <a:lnTo>
                  <a:pt x="3343275" y="26193"/>
                </a:lnTo>
                <a:cubicBezTo>
                  <a:pt x="3392487" y="23812"/>
                  <a:pt x="3429000" y="17462"/>
                  <a:pt x="3462337" y="16668"/>
                </a:cubicBezTo>
                <a:cubicBezTo>
                  <a:pt x="3495674" y="15874"/>
                  <a:pt x="3502819" y="15875"/>
                  <a:pt x="3543300" y="21431"/>
                </a:cubicBezTo>
                <a:cubicBezTo>
                  <a:pt x="3583781" y="26987"/>
                  <a:pt x="3642519" y="38100"/>
                  <a:pt x="3705225" y="50006"/>
                </a:cubicBezTo>
                <a:cubicBezTo>
                  <a:pt x="3767931" y="61912"/>
                  <a:pt x="3919537" y="92868"/>
                  <a:pt x="3919537" y="92868"/>
                </a:cubicBezTo>
                <a:cubicBezTo>
                  <a:pt x="3980656" y="104774"/>
                  <a:pt x="4010818" y="111918"/>
                  <a:pt x="4071937" y="121443"/>
                </a:cubicBezTo>
                <a:cubicBezTo>
                  <a:pt x="4133056" y="130968"/>
                  <a:pt x="4220369" y="142874"/>
                  <a:pt x="4286250" y="150018"/>
                </a:cubicBezTo>
                <a:cubicBezTo>
                  <a:pt x="4352131" y="157162"/>
                  <a:pt x="4410075" y="160337"/>
                  <a:pt x="4467225" y="164306"/>
                </a:cubicBezTo>
                <a:cubicBezTo>
                  <a:pt x="4524375" y="168275"/>
                  <a:pt x="4574381" y="173037"/>
                  <a:pt x="4629150" y="173831"/>
                </a:cubicBezTo>
                <a:cubicBezTo>
                  <a:pt x="4683919" y="174625"/>
                  <a:pt x="4745831" y="169862"/>
                  <a:pt x="4795837" y="169068"/>
                </a:cubicBezTo>
                <a:cubicBezTo>
                  <a:pt x="4845843" y="168274"/>
                  <a:pt x="4887912" y="166687"/>
                  <a:pt x="4929187" y="169068"/>
                </a:cubicBezTo>
                <a:cubicBezTo>
                  <a:pt x="4970462" y="171449"/>
                  <a:pt x="5003006" y="180181"/>
                  <a:pt x="5043487" y="183356"/>
                </a:cubicBezTo>
                <a:cubicBezTo>
                  <a:pt x="5083968" y="186531"/>
                  <a:pt x="5172075" y="188118"/>
                  <a:pt x="5172075" y="188118"/>
                </a:cubicBezTo>
                <a:cubicBezTo>
                  <a:pt x="5217319" y="189705"/>
                  <a:pt x="5265738" y="189706"/>
                  <a:pt x="5314950" y="192881"/>
                </a:cubicBezTo>
                <a:cubicBezTo>
                  <a:pt x="5364162" y="196056"/>
                  <a:pt x="5427663" y="203199"/>
                  <a:pt x="5467350" y="207168"/>
                </a:cubicBezTo>
                <a:cubicBezTo>
                  <a:pt x="5507038" y="211137"/>
                  <a:pt x="5511006" y="211137"/>
                  <a:pt x="5553075" y="216693"/>
                </a:cubicBezTo>
                <a:cubicBezTo>
                  <a:pt x="5595144" y="222249"/>
                  <a:pt x="5719762" y="240506"/>
                  <a:pt x="5719762" y="240506"/>
                </a:cubicBezTo>
                <a:lnTo>
                  <a:pt x="5867400" y="264318"/>
                </a:lnTo>
                <a:cubicBezTo>
                  <a:pt x="5918994" y="273049"/>
                  <a:pt x="5966619" y="283368"/>
                  <a:pt x="6029325" y="292893"/>
                </a:cubicBezTo>
                <a:cubicBezTo>
                  <a:pt x="6092031" y="302418"/>
                  <a:pt x="6243637" y="321468"/>
                  <a:pt x="6243637" y="321468"/>
                </a:cubicBezTo>
                <a:lnTo>
                  <a:pt x="6376987" y="340518"/>
                </a:lnTo>
                <a:cubicBezTo>
                  <a:pt x="6423025" y="346868"/>
                  <a:pt x="6483350" y="357187"/>
                  <a:pt x="6519862" y="359568"/>
                </a:cubicBezTo>
                <a:cubicBezTo>
                  <a:pt x="6556374" y="361949"/>
                  <a:pt x="6576218" y="358377"/>
                  <a:pt x="6596062" y="354806"/>
                </a:cubicBezTo>
              </a:path>
            </a:pathLst>
          </a:custGeom>
          <a:solidFill>
            <a:srgbClr val="3333FF"/>
          </a:solidFill>
          <a:ln w="38100" cmpd="sng" algn="ctr">
            <a:solidFill>
              <a:schemeClr val="tx1"/>
            </a:solidFill>
            <a:round/>
            <a:headEnd/>
            <a:tailEnd/>
          </a:ln>
          <a:extLst/>
        </p:spPr>
        <p:txBody>
          <a:bodyPr wrap="none" lIns="72000" tIns="72000" rIns="72000" bIns="72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Rechthoek 68"/>
          <p:cNvSpPr/>
          <p:nvPr/>
        </p:nvSpPr>
        <p:spPr>
          <a:xfrm>
            <a:off x="2743200" y="4354443"/>
            <a:ext cx="908050" cy="160735"/>
          </a:xfrm>
          <a:prstGeom prst="rect">
            <a:avLst/>
          </a:prstGeom>
          <a:solidFill>
            <a:srgbClr val="333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8243" name="Text Box 242"/>
          <p:cNvSpPr txBox="1">
            <a:spLocks noChangeArrowheads="1"/>
          </p:cNvSpPr>
          <p:nvPr/>
        </p:nvSpPr>
        <p:spPr bwMode="auto">
          <a:xfrm>
            <a:off x="3586163" y="4173456"/>
            <a:ext cx="696912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US" altLang="nl-NL" sz="2400">
                <a:solidFill>
                  <a:srgbClr val="000000"/>
                </a:solidFill>
              </a:rPr>
              <a:t>lw</a:t>
            </a:r>
            <a:endParaRPr lang="nl-NL" altLang="nl-NL" sz="2400">
              <a:solidFill>
                <a:srgbClr val="000000"/>
              </a:solidFill>
            </a:endParaRPr>
          </a:p>
        </p:txBody>
      </p:sp>
      <p:sp>
        <p:nvSpPr>
          <p:cNvPr id="8244" name="Text Box 285"/>
          <p:cNvSpPr txBox="1">
            <a:spLocks noChangeArrowheads="1"/>
          </p:cNvSpPr>
          <p:nvPr/>
        </p:nvSpPr>
        <p:spPr bwMode="auto">
          <a:xfrm>
            <a:off x="7308851" y="4640193"/>
            <a:ext cx="33750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nl-NL" sz="1800" dirty="0">
                <a:solidFill>
                  <a:srgbClr val="000000"/>
                </a:solidFill>
                <a:latin typeface="Calibri"/>
                <a:cs typeface="Calibri"/>
              </a:rPr>
              <a:t>O</a:t>
            </a:r>
            <a:endParaRPr lang="nl-NL" altLang="nl-NL" sz="1800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8245" name="Line 216"/>
          <p:cNvSpPr>
            <a:spLocks noChangeShapeType="1"/>
          </p:cNvSpPr>
          <p:nvPr/>
        </p:nvSpPr>
        <p:spPr bwMode="auto">
          <a:xfrm>
            <a:off x="1350963" y="4605653"/>
            <a:ext cx="6184900" cy="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46" name="Line 281"/>
          <p:cNvSpPr>
            <a:spLocks noChangeShapeType="1"/>
          </p:cNvSpPr>
          <p:nvPr/>
        </p:nvSpPr>
        <p:spPr bwMode="auto">
          <a:xfrm>
            <a:off x="1362075" y="4515166"/>
            <a:ext cx="1588" cy="157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47" name="Line 282"/>
          <p:cNvSpPr>
            <a:spLocks noChangeShapeType="1"/>
          </p:cNvSpPr>
          <p:nvPr/>
        </p:nvSpPr>
        <p:spPr bwMode="auto">
          <a:xfrm>
            <a:off x="2743202" y="4515166"/>
            <a:ext cx="1588" cy="157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48" name="Line 283"/>
          <p:cNvSpPr>
            <a:spLocks noChangeShapeType="1"/>
          </p:cNvSpPr>
          <p:nvPr/>
        </p:nvSpPr>
        <p:spPr bwMode="auto">
          <a:xfrm>
            <a:off x="4203700" y="4515166"/>
            <a:ext cx="1588" cy="157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49" name="Line 284"/>
          <p:cNvSpPr>
            <a:spLocks noChangeShapeType="1"/>
          </p:cNvSpPr>
          <p:nvPr/>
        </p:nvSpPr>
        <p:spPr bwMode="auto">
          <a:xfrm>
            <a:off x="5697547" y="4515166"/>
            <a:ext cx="1587" cy="157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50" name="Oval 33"/>
          <p:cNvSpPr>
            <a:spLocks noChangeArrowheads="1"/>
          </p:cNvSpPr>
          <p:nvPr/>
        </p:nvSpPr>
        <p:spPr bwMode="auto">
          <a:xfrm>
            <a:off x="1276359" y="4519928"/>
            <a:ext cx="150813" cy="104775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400">
              <a:solidFill>
                <a:srgbClr val="000000"/>
              </a:solidFill>
            </a:endParaRPr>
          </a:p>
        </p:txBody>
      </p:sp>
      <p:sp>
        <p:nvSpPr>
          <p:cNvPr id="6" name="Rechthoek 5"/>
          <p:cNvSpPr/>
          <p:nvPr/>
        </p:nvSpPr>
        <p:spPr>
          <a:xfrm>
            <a:off x="7539047" y="4246085"/>
            <a:ext cx="993775" cy="476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8252" name="Line 207"/>
          <p:cNvSpPr>
            <a:spLocks noChangeShapeType="1"/>
          </p:cNvSpPr>
          <p:nvPr/>
        </p:nvSpPr>
        <p:spPr bwMode="auto">
          <a:xfrm>
            <a:off x="7521576" y="4442550"/>
            <a:ext cx="3175" cy="21669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53" name="Text Box 274"/>
          <p:cNvSpPr txBox="1">
            <a:spLocks noChangeArrowheads="1"/>
          </p:cNvSpPr>
          <p:nvPr/>
        </p:nvSpPr>
        <p:spPr bwMode="auto">
          <a:xfrm>
            <a:off x="5292725" y="3006217"/>
            <a:ext cx="310932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nl-NL" sz="1400" dirty="0" err="1">
                <a:solidFill>
                  <a:srgbClr val="000000"/>
                </a:solidFill>
                <a:latin typeface="+mn-lt"/>
              </a:rPr>
              <a:t>insuline</a:t>
            </a:r>
            <a:r>
              <a:rPr lang="en-US" altLang="nl-NL" sz="1400" dirty="0">
                <a:solidFill>
                  <a:srgbClr val="000000"/>
                </a:solidFill>
                <a:latin typeface="+mn-lt"/>
              </a:rPr>
              <a:t> glargine-300: </a:t>
            </a:r>
            <a:r>
              <a:rPr lang="en-US" altLang="nl-NL" sz="1400" dirty="0" err="1">
                <a:solidFill>
                  <a:srgbClr val="000000"/>
                </a:solidFill>
                <a:latin typeface="+mn-lt"/>
              </a:rPr>
              <a:t>Toujeo</a:t>
            </a:r>
            <a:r>
              <a:rPr lang="en-US" altLang="nl-NL" sz="1400" dirty="0">
                <a:solidFill>
                  <a:srgbClr val="000000"/>
                </a:solidFill>
                <a:latin typeface="+mn-lt"/>
                <a:cs typeface="Times New Roman" pitchFamily="18" charset="0"/>
              </a:rPr>
              <a:t>® </a:t>
            </a:r>
            <a:r>
              <a:rPr lang="en-US" altLang="nl-NL" sz="1400" dirty="0">
                <a:solidFill>
                  <a:srgbClr val="000000"/>
                </a:solidFill>
                <a:latin typeface="+mn-lt"/>
              </a:rPr>
              <a:t>0.4 U/kg</a:t>
            </a:r>
            <a:endParaRPr lang="nl-NL" altLang="nl-NL" sz="1400" dirty="0">
              <a:solidFill>
                <a:srgbClr val="000000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8254" name="Rectangle 234"/>
          <p:cNvSpPr>
            <a:spLocks noChangeArrowheads="1"/>
          </p:cNvSpPr>
          <p:nvPr/>
        </p:nvSpPr>
        <p:spPr bwMode="auto">
          <a:xfrm>
            <a:off x="7524754" y="3327697"/>
            <a:ext cx="647700" cy="43219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400">
              <a:solidFill>
                <a:srgbClr val="000000"/>
              </a:solidFill>
            </a:endParaRPr>
          </a:p>
        </p:txBody>
      </p:sp>
      <p:sp>
        <p:nvSpPr>
          <p:cNvPr id="8255" name="Line 281"/>
          <p:cNvSpPr>
            <a:spLocks noChangeShapeType="1"/>
          </p:cNvSpPr>
          <p:nvPr/>
        </p:nvSpPr>
        <p:spPr bwMode="auto">
          <a:xfrm>
            <a:off x="1363670" y="3561046"/>
            <a:ext cx="1587" cy="157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56" name="Line 282"/>
          <p:cNvSpPr>
            <a:spLocks noChangeShapeType="1"/>
          </p:cNvSpPr>
          <p:nvPr/>
        </p:nvSpPr>
        <p:spPr bwMode="auto">
          <a:xfrm>
            <a:off x="2744797" y="3561046"/>
            <a:ext cx="1587" cy="157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57" name="Line 283"/>
          <p:cNvSpPr>
            <a:spLocks noChangeShapeType="1"/>
          </p:cNvSpPr>
          <p:nvPr/>
        </p:nvSpPr>
        <p:spPr bwMode="auto">
          <a:xfrm>
            <a:off x="4205297" y="3561046"/>
            <a:ext cx="1587" cy="157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58" name="Line 284"/>
          <p:cNvSpPr>
            <a:spLocks noChangeShapeType="1"/>
          </p:cNvSpPr>
          <p:nvPr/>
        </p:nvSpPr>
        <p:spPr bwMode="auto">
          <a:xfrm>
            <a:off x="5699125" y="3561046"/>
            <a:ext cx="1588" cy="157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59" name="Line 207"/>
          <p:cNvSpPr>
            <a:spLocks noChangeShapeType="1"/>
          </p:cNvSpPr>
          <p:nvPr/>
        </p:nvSpPr>
        <p:spPr bwMode="auto">
          <a:xfrm>
            <a:off x="7521576" y="3488431"/>
            <a:ext cx="3175" cy="21669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9" name="Rechthoek 88"/>
          <p:cNvSpPr/>
          <p:nvPr/>
        </p:nvSpPr>
        <p:spPr>
          <a:xfrm>
            <a:off x="1362077" y="3543187"/>
            <a:ext cx="6157913" cy="108347"/>
          </a:xfrm>
          <a:prstGeom prst="rect">
            <a:avLst/>
          </a:prstGeom>
          <a:solidFill>
            <a:srgbClr val="006666"/>
          </a:solidFill>
          <a:ln>
            <a:solidFill>
              <a:srgbClr val="00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90" name="Rechthoekige driehoek 89"/>
          <p:cNvSpPr/>
          <p:nvPr/>
        </p:nvSpPr>
        <p:spPr>
          <a:xfrm>
            <a:off x="1362084" y="3327684"/>
            <a:ext cx="5972175" cy="215504"/>
          </a:xfrm>
          <a:prstGeom prst="rtTriangle">
            <a:avLst/>
          </a:prstGeom>
          <a:solidFill>
            <a:srgbClr val="006666"/>
          </a:solidFill>
          <a:ln>
            <a:solidFill>
              <a:srgbClr val="00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91" name="Vrije vorm 90"/>
          <p:cNvSpPr/>
          <p:nvPr/>
        </p:nvSpPr>
        <p:spPr>
          <a:xfrm>
            <a:off x="1357322" y="3219338"/>
            <a:ext cx="6167437" cy="332184"/>
          </a:xfrm>
          <a:custGeom>
            <a:avLst/>
            <a:gdLst>
              <a:gd name="connsiteX0" fmla="*/ 0 w 6167666"/>
              <a:gd name="connsiteY0" fmla="*/ 143253 h 443747"/>
              <a:gd name="connsiteX1" fmla="*/ 752475 w 6167666"/>
              <a:gd name="connsiteY1" fmla="*/ 378 h 443747"/>
              <a:gd name="connsiteX2" fmla="*/ 1895475 w 6167666"/>
              <a:gd name="connsiteY2" fmla="*/ 181353 h 443747"/>
              <a:gd name="connsiteX3" fmla="*/ 2686050 w 6167666"/>
              <a:gd name="connsiteY3" fmla="*/ 114678 h 443747"/>
              <a:gd name="connsiteX4" fmla="*/ 3590925 w 6167666"/>
              <a:gd name="connsiteY4" fmla="*/ 181353 h 443747"/>
              <a:gd name="connsiteX5" fmla="*/ 4067175 w 6167666"/>
              <a:gd name="connsiteY5" fmla="*/ 190878 h 443747"/>
              <a:gd name="connsiteX6" fmla="*/ 4476750 w 6167666"/>
              <a:gd name="connsiteY6" fmla="*/ 248028 h 443747"/>
              <a:gd name="connsiteX7" fmla="*/ 5467350 w 6167666"/>
              <a:gd name="connsiteY7" fmla="*/ 333753 h 443747"/>
              <a:gd name="connsiteX8" fmla="*/ 6124575 w 6167666"/>
              <a:gd name="connsiteY8" fmla="*/ 438528 h 443747"/>
              <a:gd name="connsiteX9" fmla="*/ 6105525 w 6167666"/>
              <a:gd name="connsiteY9" fmla="*/ 429003 h 443747"/>
              <a:gd name="connsiteX10" fmla="*/ 6115050 w 6167666"/>
              <a:gd name="connsiteY10" fmla="*/ 438528 h 443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167666" h="443747">
                <a:moveTo>
                  <a:pt x="0" y="143253"/>
                </a:moveTo>
                <a:cubicBezTo>
                  <a:pt x="218281" y="68640"/>
                  <a:pt x="436563" y="-5972"/>
                  <a:pt x="752475" y="378"/>
                </a:cubicBezTo>
                <a:cubicBezTo>
                  <a:pt x="1068387" y="6728"/>
                  <a:pt x="1573213" y="162303"/>
                  <a:pt x="1895475" y="181353"/>
                </a:cubicBezTo>
                <a:cubicBezTo>
                  <a:pt x="2217737" y="200403"/>
                  <a:pt x="2403475" y="114678"/>
                  <a:pt x="2686050" y="114678"/>
                </a:cubicBezTo>
                <a:cubicBezTo>
                  <a:pt x="2968625" y="114678"/>
                  <a:pt x="3360738" y="168653"/>
                  <a:pt x="3590925" y="181353"/>
                </a:cubicBezTo>
                <a:cubicBezTo>
                  <a:pt x="3821113" y="194053"/>
                  <a:pt x="3919538" y="179766"/>
                  <a:pt x="4067175" y="190878"/>
                </a:cubicBezTo>
                <a:cubicBezTo>
                  <a:pt x="4214812" y="201990"/>
                  <a:pt x="4243388" y="224216"/>
                  <a:pt x="4476750" y="248028"/>
                </a:cubicBezTo>
                <a:cubicBezTo>
                  <a:pt x="4710113" y="271841"/>
                  <a:pt x="5192713" y="302003"/>
                  <a:pt x="5467350" y="333753"/>
                </a:cubicBezTo>
                <a:cubicBezTo>
                  <a:pt x="5741987" y="365503"/>
                  <a:pt x="6018213" y="422653"/>
                  <a:pt x="6124575" y="438528"/>
                </a:cubicBezTo>
                <a:cubicBezTo>
                  <a:pt x="6230938" y="454403"/>
                  <a:pt x="6107112" y="429003"/>
                  <a:pt x="6105525" y="429003"/>
                </a:cubicBezTo>
                <a:cubicBezTo>
                  <a:pt x="6103938" y="429003"/>
                  <a:pt x="6109494" y="433765"/>
                  <a:pt x="6115050" y="438528"/>
                </a:cubicBezTo>
              </a:path>
            </a:pathLst>
          </a:custGeom>
          <a:solidFill>
            <a:srgbClr val="006666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8268" name="Line 216"/>
          <p:cNvSpPr>
            <a:spLocks noChangeShapeType="1"/>
          </p:cNvSpPr>
          <p:nvPr/>
        </p:nvSpPr>
        <p:spPr bwMode="auto">
          <a:xfrm>
            <a:off x="1352554" y="3651534"/>
            <a:ext cx="6184900" cy="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NL">
              <a:solidFill>
                <a:srgbClr val="000000"/>
              </a:solidFill>
            </a:endParaRPr>
          </a:p>
        </p:txBody>
      </p:sp>
      <p:sp>
        <p:nvSpPr>
          <p:cNvPr id="8269" name="Text Box 242"/>
          <p:cNvSpPr txBox="1">
            <a:spLocks noChangeArrowheads="1"/>
          </p:cNvSpPr>
          <p:nvPr/>
        </p:nvSpPr>
        <p:spPr bwMode="auto">
          <a:xfrm>
            <a:off x="3675063" y="3272915"/>
            <a:ext cx="696912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US" altLang="nl-NL" sz="2400">
                <a:solidFill>
                  <a:srgbClr val="000000"/>
                </a:solidFill>
              </a:rPr>
              <a:t>lw</a:t>
            </a:r>
            <a:endParaRPr lang="nl-NL" altLang="nl-NL" sz="2400">
              <a:solidFill>
                <a:srgbClr val="000000"/>
              </a:solidFill>
            </a:endParaRPr>
          </a:p>
        </p:txBody>
      </p:sp>
      <p:sp>
        <p:nvSpPr>
          <p:cNvPr id="8271" name="Oval 33"/>
          <p:cNvSpPr>
            <a:spLocks noChangeArrowheads="1"/>
          </p:cNvSpPr>
          <p:nvPr/>
        </p:nvSpPr>
        <p:spPr bwMode="auto">
          <a:xfrm>
            <a:off x="1258888" y="3564619"/>
            <a:ext cx="150812" cy="104775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400">
              <a:solidFill>
                <a:srgbClr val="000000"/>
              </a:solidFill>
            </a:endParaRPr>
          </a:p>
        </p:txBody>
      </p:sp>
      <p:sp>
        <p:nvSpPr>
          <p:cNvPr id="80" name="Text Box 3"/>
          <p:cNvSpPr txBox="1">
            <a:spLocks noChangeArrowheads="1"/>
          </p:cNvSpPr>
          <p:nvPr/>
        </p:nvSpPr>
        <p:spPr bwMode="auto">
          <a:xfrm>
            <a:off x="0" y="25015"/>
            <a:ext cx="9144000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nl-NL" b="1" dirty="0" smtClean="0">
                <a:solidFill>
                  <a:srgbClr val="000000"/>
                </a:solidFill>
                <a:latin typeface="+mj-lt"/>
                <a:cs typeface="PT Sans"/>
              </a:rPr>
              <a:t>Langwerkend analoog</a:t>
            </a:r>
            <a:endParaRPr lang="nl-NL" b="1" dirty="0">
              <a:solidFill>
                <a:srgbClr val="000000"/>
              </a:solidFill>
              <a:latin typeface="+mj-lt"/>
              <a:cs typeface="PT Sans"/>
            </a:endParaRPr>
          </a:p>
        </p:txBody>
      </p:sp>
    </p:spTree>
    <p:extLst>
      <p:ext uri="{BB962C8B-B14F-4D97-AF65-F5344CB8AC3E}">
        <p14:creationId xmlns:p14="http://schemas.microsoft.com/office/powerpoint/2010/main" val="42081230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nl-NL" sz="1800" b="1" dirty="0" err="1" smtClean="0"/>
              <a:t>Disclosure</a:t>
            </a:r>
            <a:r>
              <a:rPr lang="nl-NL" sz="1800" b="1" dirty="0" smtClean="0"/>
              <a:t> Jaap van Soest</a:t>
            </a:r>
            <a:endParaRPr lang="nl-NL" sz="1800" b="1" dirty="0"/>
          </a:p>
        </p:txBody>
      </p:sp>
      <p:graphicFrame>
        <p:nvGraphicFramePr>
          <p:cNvPr id="3" name="Tabel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300891"/>
              </p:ext>
            </p:extLst>
          </p:nvPr>
        </p:nvGraphicFramePr>
        <p:xfrm>
          <a:off x="683568" y="1203598"/>
          <a:ext cx="7560840" cy="3224808"/>
        </p:xfrm>
        <a:graphic>
          <a:graphicData uri="http://schemas.openxmlformats.org/drawingml/2006/table">
            <a:tbl>
              <a:tblPr/>
              <a:tblGrid>
                <a:gridCol w="408792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47291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6457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Arial" charset="0"/>
                        </a:rPr>
                        <a:t>(Potentiële) belangenverstrengeling</a:t>
                      </a:r>
                      <a:endParaRPr kumimoji="0" lang="nl-NL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PT Sans"/>
                        <a:cs typeface="Times New Roman" charset="0"/>
                      </a:endParaRPr>
                    </a:p>
                  </a:txBody>
                  <a:tcPr marL="60555" marR="6055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PT Sans"/>
                        <a:cs typeface="Times New Roman" charset="0"/>
                      </a:endParaRPr>
                    </a:p>
                  </a:txBody>
                  <a:tcPr marL="60555" marR="6055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8374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Arial" charset="0"/>
                        </a:rPr>
                        <a:t>Voor bijeenkomst mogelijk relevante relaties met bedrijven</a:t>
                      </a:r>
                      <a:endParaRPr kumimoji="0" lang="nl-NL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PT Sans"/>
                        <a:cs typeface="Times New Roman" charset="0"/>
                      </a:endParaRPr>
                    </a:p>
                  </a:txBody>
                  <a:tcPr marL="60555" marR="6055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Arial" charset="0"/>
                        </a:rPr>
                        <a:t>Bedrijfsnamen</a:t>
                      </a:r>
                      <a:endParaRPr kumimoji="0" lang="nl-NL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PT Sans"/>
                        <a:cs typeface="Times New Roman" charset="0"/>
                      </a:endParaRPr>
                    </a:p>
                  </a:txBody>
                  <a:tcPr marL="60555" marR="6055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995326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charset="0"/>
                        <a:buChar char=""/>
                        <a:tabLst/>
                      </a:pPr>
                      <a:r>
                        <a:rPr kumimoji="0" lang="nl-NL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Arial" charset="0"/>
                        </a:rPr>
                        <a:t>Sponsoring of onderzoeksgeld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charset="0"/>
                        <a:buChar char=""/>
                        <a:tabLst/>
                      </a:pPr>
                      <a:r>
                        <a:rPr kumimoji="0" lang="nl-NL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Arial" charset="0"/>
                        </a:rPr>
                        <a:t>Honorarium of andere (financiële) vergoeding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charset="0"/>
                        <a:buChar char=""/>
                        <a:tabLst/>
                      </a:pPr>
                      <a:r>
                        <a:rPr kumimoji="0" lang="nl-NL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Arial" charset="0"/>
                        </a:rPr>
                        <a:t>Aandeelhouder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charset="0"/>
                        <a:buChar char=""/>
                        <a:tabLst/>
                      </a:pPr>
                      <a:r>
                        <a:rPr kumimoji="0" lang="nl-NL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Arial" charset="0"/>
                        </a:rPr>
                        <a:t>Andere relatie, namelijk …</a:t>
                      </a:r>
                      <a:endParaRPr kumimoji="0" lang="nl-NL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PT Sans"/>
                        <a:cs typeface="Times New Roman" charset="0"/>
                      </a:endParaRPr>
                    </a:p>
                  </a:txBody>
                  <a:tcPr marL="60555" marR="60555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Arial" charset="0"/>
                        </a:rPr>
                        <a:t> </a:t>
                      </a:r>
                    </a:p>
                  </a:txBody>
                  <a:tcPr marL="60555" marR="60555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719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16800" y="1243175"/>
            <a:ext cx="8510400" cy="325087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600" dirty="0" err="1" smtClean="0">
                <a:solidFill>
                  <a:srgbClr val="00142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okkade</a:t>
            </a:r>
            <a:r>
              <a:rPr lang="en-GB" sz="1600" dirty="0" smtClean="0">
                <a:solidFill>
                  <a:srgbClr val="00142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1600" dirty="0" smtClean="0">
                <a:solidFill>
                  <a:srgbClr val="00142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n de SGLT-2 </a:t>
            </a:r>
            <a:r>
              <a:rPr lang="nl-NL" sz="1600" dirty="0" err="1" smtClean="0">
                <a:solidFill>
                  <a:srgbClr val="00142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nsporter</a:t>
            </a:r>
            <a:r>
              <a:rPr lang="nl-NL" sz="1600" dirty="0" smtClean="0">
                <a:solidFill>
                  <a:srgbClr val="00142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 de nieren leidt tot verminderde </a:t>
            </a:r>
            <a:r>
              <a:rPr lang="nl-NL" sz="1600" dirty="0">
                <a:solidFill>
                  <a:srgbClr val="00142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terug)resorptie van glucose naar het bloed, waardoor er meer glucose-excretie met de urine plaatsvindt en de bloedglucosespiegel </a:t>
            </a:r>
            <a:r>
              <a:rPr lang="nl-NL" sz="1600" dirty="0" smtClean="0">
                <a:solidFill>
                  <a:srgbClr val="00142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alt</a:t>
            </a:r>
            <a:endParaRPr lang="en-GB" sz="1600" dirty="0" smtClean="0">
              <a:solidFill>
                <a:srgbClr val="001423"/>
              </a:solidFill>
            </a:endParaRPr>
          </a:p>
          <a:p>
            <a:pPr marL="0" indent="0">
              <a:buNone/>
            </a:pPr>
            <a:endParaRPr lang="en-GB" b="1" dirty="0">
              <a:solidFill>
                <a:srgbClr val="001423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6800" y="470885"/>
            <a:ext cx="8510400" cy="391412"/>
          </a:xfrm>
        </p:spPr>
        <p:txBody>
          <a:bodyPr>
            <a:normAutofit fontScale="90000"/>
          </a:bodyPr>
          <a:lstStyle/>
          <a:p>
            <a:pPr algn="l"/>
            <a:r>
              <a:rPr lang="en-GB" sz="2000" b="1" dirty="0" smtClean="0">
                <a:solidFill>
                  <a:srgbClr val="00142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GLT-2 </a:t>
            </a:r>
            <a:r>
              <a:rPr lang="en-GB" sz="2000" b="1" dirty="0" err="1" smtClean="0">
                <a:solidFill>
                  <a:srgbClr val="00142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mmers</a:t>
            </a:r>
            <a:endParaRPr lang="en-GB" sz="2000" b="1" dirty="0">
              <a:solidFill>
                <a:srgbClr val="00142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53576" y="4652396"/>
            <a:ext cx="63787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smtClean="0">
                <a:solidFill>
                  <a:srgbClr val="001423"/>
                </a:solidFill>
              </a:rPr>
              <a:t>Wright </a:t>
            </a:r>
            <a:r>
              <a:rPr lang="en-GB" sz="800" dirty="0">
                <a:solidFill>
                  <a:srgbClr val="001423"/>
                </a:solidFill>
              </a:rPr>
              <a:t>EM. </a:t>
            </a:r>
            <a:r>
              <a:rPr lang="en-GB" sz="800" i="1" dirty="0">
                <a:solidFill>
                  <a:srgbClr val="001423"/>
                </a:solidFill>
              </a:rPr>
              <a:t>Am J </a:t>
            </a:r>
            <a:r>
              <a:rPr lang="en-GB" sz="800" i="1" dirty="0" err="1">
                <a:solidFill>
                  <a:srgbClr val="001423"/>
                </a:solidFill>
              </a:rPr>
              <a:t>Physiol</a:t>
            </a:r>
            <a:r>
              <a:rPr lang="en-GB" sz="800" i="1" dirty="0">
                <a:solidFill>
                  <a:srgbClr val="001423"/>
                </a:solidFill>
              </a:rPr>
              <a:t> Renal </a:t>
            </a:r>
            <a:r>
              <a:rPr lang="en-GB" sz="800" i="1" dirty="0" err="1">
                <a:solidFill>
                  <a:srgbClr val="001423"/>
                </a:solidFill>
              </a:rPr>
              <a:t>Physiol</a:t>
            </a:r>
            <a:r>
              <a:rPr lang="en-GB" sz="800" i="1" dirty="0">
                <a:solidFill>
                  <a:srgbClr val="001423"/>
                </a:solidFill>
              </a:rPr>
              <a:t> </a:t>
            </a:r>
            <a:r>
              <a:rPr lang="en-GB" sz="800" dirty="0">
                <a:solidFill>
                  <a:srgbClr val="001423"/>
                </a:solidFill>
              </a:rPr>
              <a:t>2001;</a:t>
            </a:r>
            <a:r>
              <a:rPr lang="en-GB" sz="800" b="1" dirty="0">
                <a:solidFill>
                  <a:srgbClr val="001423"/>
                </a:solidFill>
              </a:rPr>
              <a:t>280</a:t>
            </a:r>
            <a:r>
              <a:rPr lang="en-GB" sz="800" dirty="0">
                <a:solidFill>
                  <a:srgbClr val="001423"/>
                </a:solidFill>
              </a:rPr>
              <a:t>:F10–18; 2. Lee YJ, </a:t>
            </a:r>
            <a:r>
              <a:rPr lang="en-GB" sz="800" i="1" dirty="0">
                <a:solidFill>
                  <a:srgbClr val="001423"/>
                </a:solidFill>
              </a:rPr>
              <a:t>et al. Kidney Int </a:t>
            </a:r>
            <a:r>
              <a:rPr lang="en-GB" sz="800" i="1" dirty="0" err="1">
                <a:solidFill>
                  <a:srgbClr val="001423"/>
                </a:solidFill>
              </a:rPr>
              <a:t>Suppl</a:t>
            </a:r>
            <a:r>
              <a:rPr lang="en-GB" sz="800" i="1" dirty="0">
                <a:solidFill>
                  <a:srgbClr val="001423"/>
                </a:solidFill>
              </a:rPr>
              <a:t> </a:t>
            </a:r>
            <a:r>
              <a:rPr lang="en-GB" sz="800" dirty="0">
                <a:solidFill>
                  <a:srgbClr val="001423"/>
                </a:solidFill>
              </a:rPr>
              <a:t>2007;</a:t>
            </a:r>
            <a:r>
              <a:rPr lang="en-GB" sz="800" b="1" dirty="0">
                <a:solidFill>
                  <a:srgbClr val="001423"/>
                </a:solidFill>
              </a:rPr>
              <a:t>106</a:t>
            </a:r>
            <a:r>
              <a:rPr lang="en-GB" sz="800" dirty="0">
                <a:solidFill>
                  <a:srgbClr val="001423"/>
                </a:solidFill>
              </a:rPr>
              <a:t>:S27–35; 3. Hummel CS, </a:t>
            </a:r>
            <a:r>
              <a:rPr lang="en-GB" sz="800" i="1" dirty="0">
                <a:solidFill>
                  <a:srgbClr val="001423"/>
                </a:solidFill>
              </a:rPr>
              <a:t>et al. Am J </a:t>
            </a:r>
            <a:r>
              <a:rPr lang="en-GB" sz="800" i="1" dirty="0" err="1">
                <a:solidFill>
                  <a:srgbClr val="001423"/>
                </a:solidFill>
              </a:rPr>
              <a:t>Physiol</a:t>
            </a:r>
            <a:r>
              <a:rPr lang="en-GB" sz="800" i="1" dirty="0">
                <a:solidFill>
                  <a:srgbClr val="001423"/>
                </a:solidFill>
              </a:rPr>
              <a:t> Cell </a:t>
            </a:r>
            <a:r>
              <a:rPr lang="en-GB" sz="800" i="1" dirty="0" err="1">
                <a:solidFill>
                  <a:srgbClr val="001423"/>
                </a:solidFill>
              </a:rPr>
              <a:t>Physiol</a:t>
            </a:r>
            <a:r>
              <a:rPr lang="en-GB" sz="800" i="1" dirty="0">
                <a:solidFill>
                  <a:srgbClr val="001423"/>
                </a:solidFill>
              </a:rPr>
              <a:t> </a:t>
            </a:r>
            <a:r>
              <a:rPr lang="en-GB" sz="800" dirty="0">
                <a:solidFill>
                  <a:srgbClr val="001423"/>
                </a:solidFill>
              </a:rPr>
              <a:t>2011;</a:t>
            </a:r>
            <a:r>
              <a:rPr lang="en-GB" sz="800" b="1" dirty="0">
                <a:solidFill>
                  <a:srgbClr val="001423"/>
                </a:solidFill>
              </a:rPr>
              <a:t>300</a:t>
            </a:r>
            <a:r>
              <a:rPr lang="en-GB" sz="800" dirty="0">
                <a:solidFill>
                  <a:srgbClr val="001423"/>
                </a:solidFill>
              </a:rPr>
              <a:t>:C14–21; 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331640" y="1851670"/>
            <a:ext cx="5508000" cy="2520000"/>
            <a:chOff x="2191872" y="1809607"/>
            <a:chExt cx="5775780" cy="2808000"/>
          </a:xfrm>
        </p:grpSpPr>
        <p:pic>
          <p:nvPicPr>
            <p:cNvPr id="10" name="Content Placeholder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68272" y="1809607"/>
              <a:ext cx="4099380" cy="2808000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1872" y="2121502"/>
              <a:ext cx="1676400" cy="12382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805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Wat</a:t>
            </a:r>
            <a:r>
              <a:rPr lang="en-GB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zijn</a:t>
            </a:r>
            <a:r>
              <a:rPr lang="en-GB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lang="en-GB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ajor </a:t>
            </a:r>
            <a:r>
              <a:rPr lang="en-GB" sz="1800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lang="en-GB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dverse </a:t>
            </a:r>
            <a:r>
              <a:rPr lang="en-GB" sz="1800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  <a:r>
              <a:rPr lang="en-GB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ardiovascular </a:t>
            </a:r>
            <a:r>
              <a:rPr lang="en-GB" sz="1800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lang="en-GB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vents?</a:t>
            </a:r>
            <a:endParaRPr lang="en-GB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Freeform 14"/>
          <p:cNvSpPr/>
          <p:nvPr/>
        </p:nvSpPr>
        <p:spPr>
          <a:xfrm>
            <a:off x="671513" y="1332267"/>
            <a:ext cx="2563659" cy="1503328"/>
          </a:xfrm>
          <a:custGeom>
            <a:avLst/>
            <a:gdLst>
              <a:gd name="connsiteX0" fmla="*/ 0 w 2709333"/>
              <a:gd name="connsiteY0" fmla="*/ 0 h 4064000"/>
              <a:gd name="connsiteX1" fmla="*/ 2257768 w 2709333"/>
              <a:gd name="connsiteY1" fmla="*/ 0 h 4064000"/>
              <a:gd name="connsiteX2" fmla="*/ 2709333 w 2709333"/>
              <a:gd name="connsiteY2" fmla="*/ 451565 h 4064000"/>
              <a:gd name="connsiteX3" fmla="*/ 2709333 w 2709333"/>
              <a:gd name="connsiteY3" fmla="*/ 4064000 h 4064000"/>
              <a:gd name="connsiteX4" fmla="*/ 0 w 2709333"/>
              <a:gd name="connsiteY4" fmla="*/ 4064000 h 4064000"/>
              <a:gd name="connsiteX5" fmla="*/ 0 w 2709333"/>
              <a:gd name="connsiteY5" fmla="*/ 0 h 40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09333" h="4064000">
                <a:moveTo>
                  <a:pt x="0" y="4063999"/>
                </a:moveTo>
                <a:lnTo>
                  <a:pt x="0" y="677348"/>
                </a:lnTo>
                <a:cubicBezTo>
                  <a:pt x="0" y="303260"/>
                  <a:pt x="134782" y="1"/>
                  <a:pt x="301044" y="1"/>
                </a:cubicBezTo>
                <a:lnTo>
                  <a:pt x="2709333" y="1"/>
                </a:lnTo>
                <a:lnTo>
                  <a:pt x="2709333" y="4063999"/>
                </a:lnTo>
                <a:lnTo>
                  <a:pt x="0" y="4063999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1970" tIns="191970" rIns="191970" bIns="699809" numCol="1" spcCol="953" anchor="ctr" anchorCtr="0">
            <a:noAutofit/>
          </a:bodyPr>
          <a:lstStyle/>
          <a:p>
            <a:pPr algn="ctr" defTabSz="119979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diovasculaire</a:t>
            </a:r>
            <a:r>
              <a:rPr lang="en-GB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erfte</a:t>
            </a:r>
            <a:endParaRPr lang="en-GB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3235174" y="1334502"/>
            <a:ext cx="2563658" cy="1503328"/>
          </a:xfrm>
          <a:custGeom>
            <a:avLst/>
            <a:gdLst>
              <a:gd name="connsiteX0" fmla="*/ 0 w 4064000"/>
              <a:gd name="connsiteY0" fmla="*/ 0 h 2709333"/>
              <a:gd name="connsiteX1" fmla="*/ 3612435 w 4064000"/>
              <a:gd name="connsiteY1" fmla="*/ 0 h 2709333"/>
              <a:gd name="connsiteX2" fmla="*/ 4064000 w 4064000"/>
              <a:gd name="connsiteY2" fmla="*/ 451565 h 2709333"/>
              <a:gd name="connsiteX3" fmla="*/ 4064000 w 4064000"/>
              <a:gd name="connsiteY3" fmla="*/ 2709333 h 2709333"/>
              <a:gd name="connsiteX4" fmla="*/ 0 w 4064000"/>
              <a:gd name="connsiteY4" fmla="*/ 2709333 h 2709333"/>
              <a:gd name="connsiteX5" fmla="*/ 0 w 4064000"/>
              <a:gd name="connsiteY5" fmla="*/ 0 h 2709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64000" h="2709333">
                <a:moveTo>
                  <a:pt x="0" y="0"/>
                </a:moveTo>
                <a:lnTo>
                  <a:pt x="3612435" y="0"/>
                </a:lnTo>
                <a:cubicBezTo>
                  <a:pt x="3861827" y="0"/>
                  <a:pt x="4064000" y="202173"/>
                  <a:pt x="4064000" y="451565"/>
                </a:cubicBezTo>
                <a:lnTo>
                  <a:pt x="4064000" y="2709333"/>
                </a:lnTo>
                <a:lnTo>
                  <a:pt x="0" y="270933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1970" tIns="191970" rIns="191970" bIns="699809" numCol="1" spcCol="953" anchor="ctr" anchorCtr="0">
            <a:noAutofit/>
          </a:bodyPr>
          <a:lstStyle/>
          <a:p>
            <a:pPr algn="ctr" defTabSz="119979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iet-fataal</a:t>
            </a:r>
            <a:r>
              <a:rPr lang="en-GB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ocardinfarct</a:t>
            </a:r>
            <a:endParaRPr lang="en-GB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Freeform 16"/>
          <p:cNvSpPr/>
          <p:nvPr/>
        </p:nvSpPr>
        <p:spPr>
          <a:xfrm>
            <a:off x="671513" y="2816325"/>
            <a:ext cx="2563659" cy="1503328"/>
          </a:xfrm>
          <a:custGeom>
            <a:avLst/>
            <a:gdLst>
              <a:gd name="connsiteX0" fmla="*/ 0 w 4064000"/>
              <a:gd name="connsiteY0" fmla="*/ 0 h 2709333"/>
              <a:gd name="connsiteX1" fmla="*/ 3612435 w 4064000"/>
              <a:gd name="connsiteY1" fmla="*/ 0 h 2709333"/>
              <a:gd name="connsiteX2" fmla="*/ 4064000 w 4064000"/>
              <a:gd name="connsiteY2" fmla="*/ 451565 h 2709333"/>
              <a:gd name="connsiteX3" fmla="*/ 4064000 w 4064000"/>
              <a:gd name="connsiteY3" fmla="*/ 2709333 h 2709333"/>
              <a:gd name="connsiteX4" fmla="*/ 0 w 4064000"/>
              <a:gd name="connsiteY4" fmla="*/ 2709333 h 2709333"/>
              <a:gd name="connsiteX5" fmla="*/ 0 w 4064000"/>
              <a:gd name="connsiteY5" fmla="*/ 0 h 2709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64000" h="2709333">
                <a:moveTo>
                  <a:pt x="4064000" y="2709333"/>
                </a:moveTo>
                <a:lnTo>
                  <a:pt x="451565" y="2709333"/>
                </a:lnTo>
                <a:cubicBezTo>
                  <a:pt x="202173" y="2709333"/>
                  <a:pt x="0" y="2507160"/>
                  <a:pt x="0" y="2257768"/>
                </a:cubicBezTo>
                <a:lnTo>
                  <a:pt x="0" y="0"/>
                </a:lnTo>
                <a:lnTo>
                  <a:pt x="4064000" y="0"/>
                </a:lnTo>
                <a:lnTo>
                  <a:pt x="4064000" y="2709333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1969" tIns="699809" rIns="191970" bIns="191970" numCol="1" spcCol="953" anchor="ctr" anchorCtr="0">
            <a:noAutofit/>
          </a:bodyPr>
          <a:lstStyle/>
          <a:p>
            <a:pPr algn="ctr" defTabSz="119979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iet</a:t>
            </a:r>
            <a:r>
              <a:rPr lang="en-GB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fatale </a:t>
            </a:r>
            <a:r>
              <a:rPr lang="en-GB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roerte</a:t>
            </a:r>
            <a:endParaRPr lang="en-GB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Freeform 17"/>
          <p:cNvSpPr/>
          <p:nvPr/>
        </p:nvSpPr>
        <p:spPr>
          <a:xfrm>
            <a:off x="3235172" y="2816325"/>
            <a:ext cx="2563659" cy="1503328"/>
          </a:xfrm>
          <a:custGeom>
            <a:avLst/>
            <a:gdLst>
              <a:gd name="connsiteX0" fmla="*/ 0 w 2709333"/>
              <a:gd name="connsiteY0" fmla="*/ 0 h 4064000"/>
              <a:gd name="connsiteX1" fmla="*/ 2257768 w 2709333"/>
              <a:gd name="connsiteY1" fmla="*/ 0 h 4064000"/>
              <a:gd name="connsiteX2" fmla="*/ 2709333 w 2709333"/>
              <a:gd name="connsiteY2" fmla="*/ 451565 h 4064000"/>
              <a:gd name="connsiteX3" fmla="*/ 2709333 w 2709333"/>
              <a:gd name="connsiteY3" fmla="*/ 4064000 h 4064000"/>
              <a:gd name="connsiteX4" fmla="*/ 0 w 2709333"/>
              <a:gd name="connsiteY4" fmla="*/ 4064000 h 4064000"/>
              <a:gd name="connsiteX5" fmla="*/ 0 w 2709333"/>
              <a:gd name="connsiteY5" fmla="*/ 0 h 40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09333" h="4064000">
                <a:moveTo>
                  <a:pt x="2709333" y="1"/>
                </a:moveTo>
                <a:lnTo>
                  <a:pt x="2709333" y="3386652"/>
                </a:lnTo>
                <a:cubicBezTo>
                  <a:pt x="2709333" y="3760740"/>
                  <a:pt x="2574551" y="4063999"/>
                  <a:pt x="2408289" y="4063999"/>
                </a:cubicBezTo>
                <a:lnTo>
                  <a:pt x="0" y="4063999"/>
                </a:lnTo>
                <a:lnTo>
                  <a:pt x="0" y="1"/>
                </a:lnTo>
                <a:lnTo>
                  <a:pt x="2709333" y="1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1970" tIns="699809" rIns="191970" bIns="191970" numCol="1" spcCol="953" anchor="ctr" anchorCtr="0">
            <a:noAutofit/>
          </a:bodyPr>
          <a:lstStyle/>
          <a:p>
            <a:pPr algn="ctr" defTabSz="119979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l-NL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anvullende componenten kunnen worden opgenomen</a:t>
            </a:r>
          </a:p>
          <a:p>
            <a:pPr algn="ctr" defTabSz="119979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Freeform 18"/>
          <p:cNvSpPr/>
          <p:nvPr/>
        </p:nvSpPr>
        <p:spPr>
          <a:xfrm>
            <a:off x="2282557" y="2425902"/>
            <a:ext cx="1906850" cy="716507"/>
          </a:xfrm>
          <a:custGeom>
            <a:avLst/>
            <a:gdLst>
              <a:gd name="connsiteX0" fmla="*/ 0 w 2438400"/>
              <a:gd name="connsiteY0" fmla="*/ 225782 h 1354666"/>
              <a:gd name="connsiteX1" fmla="*/ 225782 w 2438400"/>
              <a:gd name="connsiteY1" fmla="*/ 0 h 1354666"/>
              <a:gd name="connsiteX2" fmla="*/ 2212618 w 2438400"/>
              <a:gd name="connsiteY2" fmla="*/ 0 h 1354666"/>
              <a:gd name="connsiteX3" fmla="*/ 2438400 w 2438400"/>
              <a:gd name="connsiteY3" fmla="*/ 225782 h 1354666"/>
              <a:gd name="connsiteX4" fmla="*/ 2438400 w 2438400"/>
              <a:gd name="connsiteY4" fmla="*/ 1128884 h 1354666"/>
              <a:gd name="connsiteX5" fmla="*/ 2212618 w 2438400"/>
              <a:gd name="connsiteY5" fmla="*/ 1354666 h 1354666"/>
              <a:gd name="connsiteX6" fmla="*/ 225782 w 2438400"/>
              <a:gd name="connsiteY6" fmla="*/ 1354666 h 1354666"/>
              <a:gd name="connsiteX7" fmla="*/ 0 w 2438400"/>
              <a:gd name="connsiteY7" fmla="*/ 1128884 h 1354666"/>
              <a:gd name="connsiteX8" fmla="*/ 0 w 2438400"/>
              <a:gd name="connsiteY8" fmla="*/ 225782 h 1354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38400" h="1354666">
                <a:moveTo>
                  <a:pt x="0" y="225782"/>
                </a:moveTo>
                <a:cubicBezTo>
                  <a:pt x="0" y="101086"/>
                  <a:pt x="101086" y="0"/>
                  <a:pt x="225782" y="0"/>
                </a:cubicBezTo>
                <a:lnTo>
                  <a:pt x="2212618" y="0"/>
                </a:lnTo>
                <a:cubicBezTo>
                  <a:pt x="2337314" y="0"/>
                  <a:pt x="2438400" y="101086"/>
                  <a:pt x="2438400" y="225782"/>
                </a:cubicBezTo>
                <a:lnTo>
                  <a:pt x="2438400" y="1128884"/>
                </a:lnTo>
                <a:cubicBezTo>
                  <a:pt x="2438400" y="1253580"/>
                  <a:pt x="2337314" y="1354666"/>
                  <a:pt x="2212618" y="1354666"/>
                </a:cubicBezTo>
                <a:lnTo>
                  <a:pt x="225782" y="1354666"/>
                </a:lnTo>
                <a:cubicBezTo>
                  <a:pt x="101086" y="1354666"/>
                  <a:pt x="0" y="1253580"/>
                  <a:pt x="0" y="1128884"/>
                </a:cubicBezTo>
                <a:lnTo>
                  <a:pt x="0" y="225782"/>
                </a:lnTo>
                <a:close/>
              </a:path>
            </a:pathLst>
          </a:custGeom>
          <a:solidFill>
            <a:srgbClr val="C2DEEA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2429" tIns="152429" rIns="152429" bIns="152429" numCol="1" spcCol="953" anchor="ctr" anchorCtr="0">
            <a:noAutofit/>
          </a:bodyPr>
          <a:lstStyle/>
          <a:p>
            <a:pPr algn="ctr" defTabSz="119979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240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CE</a:t>
            </a:r>
          </a:p>
        </p:txBody>
      </p:sp>
      <p:sp>
        <p:nvSpPr>
          <p:cNvPr id="4" name="Rounded Rectangular Callout 3"/>
          <p:cNvSpPr/>
          <p:nvPr/>
        </p:nvSpPr>
        <p:spPr>
          <a:xfrm>
            <a:off x="6095464" y="1378577"/>
            <a:ext cx="2913800" cy="1614859"/>
          </a:xfrm>
          <a:prstGeom prst="wedgeRoundRectCallout">
            <a:avLst>
              <a:gd name="adj1" fmla="val -74899"/>
              <a:gd name="adj2" fmla="val 59486"/>
              <a:gd name="adj3" fmla="val 16667"/>
            </a:avLst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9" rIns="68562" bIns="34289" rtlCol="0" anchor="ctr"/>
          <a:lstStyle/>
          <a:p>
            <a:pPr defTabSz="685596"/>
            <a:r>
              <a:rPr lang="en-GB" sz="140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CE-plus </a:t>
            </a:r>
            <a:r>
              <a:rPr lang="en-GB" sz="1400" b="1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onenten</a:t>
            </a:r>
            <a:r>
              <a:rPr lang="en-GB" sz="140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1400" b="1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ijv</a:t>
            </a:r>
            <a:r>
              <a:rPr lang="en-GB" sz="140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:</a:t>
            </a:r>
          </a:p>
          <a:p>
            <a:pPr marL="214253" indent="-214253" defTabSz="685596">
              <a:buFont typeface="Arial" panose="020B0604020202020204" pitchFamily="34" charset="0"/>
              <a:buChar char="•"/>
            </a:pPr>
            <a:r>
              <a:rPr lang="nl-NL" sz="14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iekenhuisopname voor acuut coronair syndroom</a:t>
            </a:r>
          </a:p>
          <a:p>
            <a:pPr marL="214253" indent="-214253" defTabSz="685596">
              <a:buFont typeface="Arial" panose="020B0604020202020204" pitchFamily="34" charset="0"/>
              <a:buChar char="•"/>
            </a:pPr>
            <a:r>
              <a:rPr lang="nl-NL" sz="14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ingende </a:t>
            </a:r>
            <a:r>
              <a:rPr lang="nl-NL" sz="1400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vascularisatie</a:t>
            </a:r>
            <a:r>
              <a:rPr lang="nl-NL" sz="14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cedures</a:t>
            </a:r>
          </a:p>
          <a:p>
            <a:pPr marL="214253" indent="-214253" defTabSz="685596">
              <a:buFont typeface="Arial" panose="020B0604020202020204" pitchFamily="34" charset="0"/>
              <a:buChar char="•"/>
            </a:pPr>
            <a:r>
              <a:rPr lang="nl-NL" sz="14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rtfalen</a:t>
            </a:r>
            <a:endParaRPr lang="en-GB" sz="1400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55590" y="4613610"/>
            <a:ext cx="8753674" cy="442582"/>
          </a:xfrm>
          <a:prstGeom prst="rect">
            <a:avLst/>
          </a:prstGeom>
          <a:noFill/>
        </p:spPr>
        <p:txBody>
          <a:bodyPr wrap="square" lIns="72549" tIns="36271" rIns="72549" bIns="36271" anchor="b">
            <a:spAutoFit/>
          </a:bodyPr>
          <a:lstStyle/>
          <a:p>
            <a:pPr defTabSz="913091">
              <a:defRPr/>
            </a:pPr>
            <a:r>
              <a:rPr lang="en-GB" sz="800" dirty="0">
                <a:solidFill>
                  <a:srgbClr val="82786F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MACE, major adverse cardiovascular event</a:t>
            </a:r>
          </a:p>
          <a:p>
            <a:pPr defTabSz="913091">
              <a:defRPr/>
            </a:pPr>
            <a:r>
              <a:rPr lang="en-GB" sz="800" dirty="0">
                <a:solidFill>
                  <a:srgbClr val="82786F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FDA guidance for industry December 2008 </a:t>
            </a:r>
            <a:r>
              <a:rPr lang="en-GB" sz="800" dirty="0" smtClean="0">
                <a:solidFill>
                  <a:srgbClr val="82786F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, available </a:t>
            </a:r>
            <a:r>
              <a:rPr lang="en-GB" sz="800" dirty="0">
                <a:solidFill>
                  <a:srgbClr val="82786F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at: </a:t>
            </a:r>
            <a:r>
              <a:rPr lang="en-GB" sz="800" dirty="0">
                <a:solidFill>
                  <a:srgbClr val="82786F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  <a:hlinkClick r:id="rId3"/>
              </a:rPr>
              <a:t>http://www.fda.gov/downloads/drugs/guidancecomplianceregulatoryinformation/guidances/ucm071627.pdf</a:t>
            </a:r>
            <a:r>
              <a:rPr lang="en-GB" sz="800" dirty="0">
                <a:solidFill>
                  <a:srgbClr val="82786F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; Hirschberg B and Katz </a:t>
            </a:r>
            <a:r>
              <a:rPr lang="en-GB" sz="800" dirty="0" err="1" smtClean="0">
                <a:solidFill>
                  <a:srgbClr val="82786F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A,</a:t>
            </a:r>
            <a:r>
              <a:rPr lang="en-GB" sz="800" i="1" dirty="0" err="1" smtClean="0">
                <a:solidFill>
                  <a:srgbClr val="82786F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Diabetes</a:t>
            </a:r>
            <a:r>
              <a:rPr lang="en-GB" sz="800" i="1" dirty="0" smtClean="0">
                <a:solidFill>
                  <a:srgbClr val="82786F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en-GB" sz="800" i="1" dirty="0">
                <a:solidFill>
                  <a:srgbClr val="82786F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Care </a:t>
            </a:r>
            <a:r>
              <a:rPr lang="en-GB" sz="800" dirty="0">
                <a:solidFill>
                  <a:srgbClr val="82786F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2013;36:S253‒S258</a:t>
            </a:r>
          </a:p>
        </p:txBody>
      </p:sp>
      <p:sp>
        <p:nvSpPr>
          <p:cNvPr id="7" name="Rectangle 6"/>
          <p:cNvSpPr/>
          <p:nvPr/>
        </p:nvSpPr>
        <p:spPr>
          <a:xfrm>
            <a:off x="6047236" y="3702752"/>
            <a:ext cx="173528" cy="186808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9" rIns="68562" bIns="34289" rtlCol="0" anchor="ctr"/>
          <a:lstStyle/>
          <a:p>
            <a:pPr algn="ctr" defTabSz="685596"/>
            <a:endParaRPr lang="en-GB" sz="11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249581" y="4007699"/>
            <a:ext cx="2606097" cy="415497"/>
          </a:xfrm>
          <a:prstGeom prst="rect">
            <a:avLst/>
          </a:prstGeom>
          <a:noFill/>
        </p:spPr>
        <p:txBody>
          <a:bodyPr wrap="square" lIns="68562" tIns="34289" rIns="68562" bIns="34289" rtlCol="0">
            <a:spAutoFit/>
          </a:bodyPr>
          <a:lstStyle/>
          <a:p>
            <a:pPr defTabSz="685596"/>
            <a:r>
              <a:rPr lang="en-GB" sz="1100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itionele</a:t>
            </a:r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100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onenten</a:t>
            </a:r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100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oor</a:t>
            </a:r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CE-plu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6047236" y="4003524"/>
            <a:ext cx="173528" cy="186808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9" rIns="68562" bIns="34289" rtlCol="0" anchor="ctr"/>
          <a:lstStyle/>
          <a:p>
            <a:pPr algn="ctr" defTabSz="685596"/>
            <a:endParaRPr lang="en-GB" sz="11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249626" y="3611110"/>
            <a:ext cx="2931903" cy="415496"/>
          </a:xfrm>
          <a:prstGeom prst="rect">
            <a:avLst/>
          </a:prstGeom>
          <a:noFill/>
        </p:spPr>
        <p:txBody>
          <a:bodyPr wrap="square" lIns="68562" tIns="34289" rIns="68562" bIns="34289" rtlCol="0">
            <a:spAutoFit/>
          </a:bodyPr>
          <a:lstStyle/>
          <a:p>
            <a:pPr defTabSz="685596"/>
            <a:r>
              <a:rPr lang="nl-NL" sz="11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eiste onderdelen </a:t>
            </a:r>
            <a:r>
              <a:rPr lang="nl-NL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n MACE (harde eindpunten van atherosclerose</a:t>
            </a:r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921915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4" grpId="0" animBg="1"/>
      <p:bldP spid="8" grpId="0"/>
      <p:bldP spid="20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GB" sz="2000" b="1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GB" sz="2000" b="1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GB" sz="2000" b="1" dirty="0">
              <a:solidFill>
                <a:srgbClr val="002060"/>
              </a:solidFill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en-GB" sz="2000" b="1" dirty="0" err="1">
                <a:solidFill>
                  <a:srgbClr val="002060"/>
                </a:solidFill>
              </a:rPr>
              <a:t>Recente</a:t>
            </a:r>
            <a:r>
              <a:rPr lang="en-GB" sz="2000" b="1" dirty="0">
                <a:solidFill>
                  <a:srgbClr val="002060"/>
                </a:solidFill>
              </a:rPr>
              <a:t> </a:t>
            </a:r>
            <a:r>
              <a:rPr lang="en-GB" sz="2000" b="1" dirty="0" smtClean="0">
                <a:solidFill>
                  <a:srgbClr val="002060"/>
                </a:solidFill>
              </a:rPr>
              <a:t>CV-</a:t>
            </a:r>
            <a:r>
              <a:rPr lang="en-GB" sz="2000" b="1" dirty="0" err="1" smtClean="0">
                <a:solidFill>
                  <a:srgbClr val="002060"/>
                </a:solidFill>
              </a:rPr>
              <a:t>veiligheidsstudies</a:t>
            </a:r>
            <a:endParaRPr lang="en-GB" sz="2000" b="1" dirty="0" smtClean="0">
              <a:solidFill>
                <a:srgbClr val="002060"/>
              </a:solidFill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en-GB" sz="2000" dirty="0" smtClean="0">
                <a:solidFill>
                  <a:srgbClr val="002060"/>
                </a:solidFill>
              </a:rPr>
              <a:t>1) </a:t>
            </a:r>
            <a:r>
              <a:rPr lang="en-GB" sz="2000" dirty="0" err="1" smtClean="0">
                <a:solidFill>
                  <a:srgbClr val="002060"/>
                </a:solidFill>
              </a:rPr>
              <a:t>Orale</a:t>
            </a:r>
            <a:r>
              <a:rPr lang="en-GB" sz="2000" dirty="0" smtClean="0">
                <a:solidFill>
                  <a:srgbClr val="002060"/>
                </a:solidFill>
              </a:rPr>
              <a:t> </a:t>
            </a:r>
            <a:r>
              <a:rPr lang="en-GB" sz="2000" dirty="0" err="1">
                <a:solidFill>
                  <a:srgbClr val="002060"/>
                </a:solidFill>
              </a:rPr>
              <a:t>middelen</a:t>
            </a:r>
            <a:r>
              <a:rPr lang="en-GB" sz="2000" dirty="0">
                <a:solidFill>
                  <a:srgbClr val="002060"/>
                </a:solidFill>
              </a:rPr>
              <a:t> </a:t>
            </a:r>
            <a:r>
              <a:rPr lang="en-GB" sz="2000" dirty="0" smtClean="0">
                <a:solidFill>
                  <a:srgbClr val="002060"/>
                </a:solidFill>
              </a:rPr>
              <a:t>2</a:t>
            </a:r>
            <a:r>
              <a:rPr lang="en-GB" sz="2000" dirty="0">
                <a:solidFill>
                  <a:srgbClr val="002060"/>
                </a:solidFill>
              </a:rPr>
              <a:t>) </a:t>
            </a:r>
            <a:r>
              <a:rPr lang="en-GB" sz="2000" dirty="0" err="1">
                <a:solidFill>
                  <a:srgbClr val="002060"/>
                </a:solidFill>
              </a:rPr>
              <a:t>Insulines</a:t>
            </a:r>
            <a:r>
              <a:rPr lang="en-GB" sz="2000" dirty="0">
                <a:solidFill>
                  <a:srgbClr val="002060"/>
                </a:solidFill>
              </a:rPr>
              <a:t> 3) GLP-1</a:t>
            </a:r>
          </a:p>
          <a:p>
            <a:pPr marL="0" indent="0">
              <a:buNone/>
            </a:pPr>
            <a:endParaRPr lang="en-GB" sz="2000" dirty="0" smtClean="0">
              <a:solidFill>
                <a:srgbClr val="002060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323528" y="843558"/>
            <a:ext cx="8208912" cy="352839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77761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6799" y="515421"/>
            <a:ext cx="8612003" cy="391412"/>
          </a:xfrm>
        </p:spPr>
        <p:txBody>
          <a:bodyPr/>
          <a:lstStyle/>
          <a:p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PP-4 </a:t>
            </a:r>
            <a:r>
              <a:rPr lang="en-GB" sz="18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mmers</a:t>
            </a:r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</a:t>
            </a:r>
            <a:r>
              <a:rPr lang="en-GB" sz="18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en</a:t>
            </a:r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gnificante</a:t>
            </a:r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schillen</a:t>
            </a:r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p MACE</a:t>
            </a:r>
            <a:endParaRPr lang="en-GB" sz="1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4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9722499"/>
              </p:ext>
            </p:extLst>
          </p:nvPr>
        </p:nvGraphicFramePr>
        <p:xfrm>
          <a:off x="152939" y="2038499"/>
          <a:ext cx="2916000" cy="175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38730088"/>
              </p:ext>
            </p:extLst>
          </p:nvPr>
        </p:nvGraphicFramePr>
        <p:xfrm>
          <a:off x="3158138" y="2038499"/>
          <a:ext cx="2916000" cy="175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97813863"/>
              </p:ext>
            </p:extLst>
          </p:nvPr>
        </p:nvGraphicFramePr>
        <p:xfrm>
          <a:off x="6117100" y="2038499"/>
          <a:ext cx="2916000" cy="175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266700" y="4794638"/>
            <a:ext cx="8572500" cy="301237"/>
          </a:xfrm>
          <a:prstGeom prst="rect">
            <a:avLst/>
          </a:prstGeom>
          <a:noFill/>
        </p:spPr>
        <p:txBody>
          <a:bodyPr lIns="67628" tIns="34862" rIns="67628" bIns="34862" anchor="b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dirty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, confidence interval; CV, cardiovascular</a:t>
            </a:r>
            <a:r>
              <a:rPr lang="en-GB" sz="75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; DPP-4, </a:t>
            </a:r>
            <a:r>
              <a:rPr lang="en-GB" sz="750" dirty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peptidyl peptidase-4; HR, hazard ratio; MI, myocardial infarction; UAP, unstable angina pectori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50" dirty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 Scirica </a:t>
            </a:r>
            <a:r>
              <a:rPr lang="en-GB" sz="750" i="1" dirty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t al. N Engl J Med </a:t>
            </a:r>
            <a:r>
              <a:rPr lang="en-GB" sz="750" dirty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3;369:1317–26; 2. White </a:t>
            </a:r>
            <a:r>
              <a:rPr lang="en-GB" sz="750" i="1" dirty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t al. N Engl J Med </a:t>
            </a:r>
            <a:r>
              <a:rPr lang="en-GB" sz="750" dirty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3;369:1327–35; 3. </a:t>
            </a:r>
            <a:r>
              <a:rPr lang="en-GB" sz="750" spc="-30" dirty="0">
                <a:solidFill>
                  <a:srgbClr val="82786F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Green </a:t>
            </a:r>
            <a:r>
              <a:rPr lang="en-GB" sz="750" i="1" spc="-30" dirty="0">
                <a:solidFill>
                  <a:srgbClr val="82786F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et al. N Engl J Med </a:t>
            </a:r>
            <a:r>
              <a:rPr lang="en-GB" sz="750" spc="-30" dirty="0">
                <a:solidFill>
                  <a:srgbClr val="82786F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2015;16;373:232–42</a:t>
            </a:r>
            <a:endParaRPr lang="en-GB" sz="750" dirty="0">
              <a:solidFill>
                <a:srgbClr val="82786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69"/>
          <p:cNvSpPr txBox="1">
            <a:spLocks noChangeArrowheads="1"/>
          </p:cNvSpPr>
          <p:nvPr/>
        </p:nvSpPr>
        <p:spPr bwMode="auto">
          <a:xfrm>
            <a:off x="608014" y="4030083"/>
            <a:ext cx="2532062" cy="689550"/>
          </a:xfrm>
          <a:prstGeom prst="round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R: 1.00 </a:t>
            </a:r>
            <a:br>
              <a:rPr lang="en-GB" sz="9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9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5% CI (0.89;1.12)</a:t>
            </a:r>
          </a:p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i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en-GB" sz="9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0.001 for non-inferiority</a:t>
            </a:r>
          </a:p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i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en-GB" sz="9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=0.99 for superiority</a:t>
            </a:r>
          </a:p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GB" sz="9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Box 32"/>
          <p:cNvSpPr txBox="1">
            <a:spLocks noChangeArrowheads="1"/>
          </p:cNvSpPr>
          <p:nvPr/>
        </p:nvSpPr>
        <p:spPr bwMode="auto">
          <a:xfrm>
            <a:off x="3627439" y="4106066"/>
            <a:ext cx="2550319" cy="612934"/>
          </a:xfrm>
          <a:prstGeom prst="round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R: 0.96 </a:t>
            </a:r>
            <a:br>
              <a:rPr lang="en-GB" sz="9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9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upper boundary of the one-sided repeated CI, 1.16)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i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en-GB" sz="9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0.001 for non-inferiority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i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en-GB" sz="9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=0.32 for superiority</a:t>
            </a:r>
          </a:p>
        </p:txBody>
      </p:sp>
      <p:sp>
        <p:nvSpPr>
          <p:cNvPr id="14" name="TextBox 105"/>
          <p:cNvSpPr txBox="1">
            <a:spLocks noChangeArrowheads="1"/>
          </p:cNvSpPr>
          <p:nvPr/>
        </p:nvSpPr>
        <p:spPr bwMode="auto">
          <a:xfrm>
            <a:off x="6582517" y="4030083"/>
            <a:ext cx="2401146" cy="689550"/>
          </a:xfrm>
          <a:prstGeom prst="round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R: 0.98</a:t>
            </a:r>
            <a:r>
              <a:rPr lang="en-GB" sz="9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GB" sz="9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9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5% CI (0.88;1.09)</a:t>
            </a:r>
          </a:p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i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en-GB" sz="9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0.001 for non-inferiority</a:t>
            </a:r>
          </a:p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i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en-GB" sz="9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=0.65 for superiority</a:t>
            </a:r>
          </a:p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GB" sz="9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ectangle 49"/>
          <p:cNvSpPr>
            <a:spLocks noChangeArrowheads="1"/>
          </p:cNvSpPr>
          <p:nvPr/>
        </p:nvSpPr>
        <p:spPr bwMode="auto">
          <a:xfrm>
            <a:off x="848295" y="1192213"/>
            <a:ext cx="2081213" cy="242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FDA"/>
              </a:buClr>
              <a:defRPr/>
            </a:pPr>
            <a:r>
              <a:rPr lang="en-GB" sz="1575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VOR-TIMI-53</a:t>
            </a:r>
            <a:r>
              <a:rPr lang="en-GB" sz="1575" b="1" baseline="300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</a:t>
            </a:r>
            <a:r>
              <a:rPr lang="en-GB" sz="8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GB" sz="800" b="1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</a:t>
            </a:r>
            <a:r>
              <a:rPr lang="en-GB" sz="800" b="1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xagliptine</a:t>
            </a:r>
            <a:r>
              <a:rPr lang="en-GB" sz="8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lang="en-GB" sz="800" b="1" baseline="300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GB" sz="800" b="1" baseline="30000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Box 81"/>
          <p:cNvSpPr txBox="1">
            <a:spLocks noChangeArrowheads="1"/>
          </p:cNvSpPr>
          <p:nvPr/>
        </p:nvSpPr>
        <p:spPr bwMode="auto">
          <a:xfrm>
            <a:off x="1076178" y="1627874"/>
            <a:ext cx="1625445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V death, non-fatal MI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 non-fatal ischaemic stroke</a:t>
            </a:r>
          </a:p>
        </p:txBody>
      </p:sp>
      <p:sp>
        <p:nvSpPr>
          <p:cNvPr id="17" name="TextBox 45"/>
          <p:cNvSpPr txBox="1">
            <a:spLocks noChangeArrowheads="1"/>
          </p:cNvSpPr>
          <p:nvPr/>
        </p:nvSpPr>
        <p:spPr bwMode="auto">
          <a:xfrm>
            <a:off x="4185820" y="1607236"/>
            <a:ext cx="129682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V death, non-fatal MI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 non-fatal stroke</a:t>
            </a:r>
          </a:p>
        </p:txBody>
      </p:sp>
      <p:sp>
        <p:nvSpPr>
          <p:cNvPr id="18" name="Rectangle 49"/>
          <p:cNvSpPr>
            <a:spLocks noChangeArrowheads="1"/>
          </p:cNvSpPr>
          <p:nvPr/>
        </p:nvSpPr>
        <p:spPr bwMode="auto">
          <a:xfrm>
            <a:off x="4123827" y="1198564"/>
            <a:ext cx="1420812" cy="242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FDA"/>
              </a:buClr>
              <a:defRPr/>
            </a:pPr>
            <a:r>
              <a:rPr lang="en-GB" sz="1575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AMINE</a:t>
            </a:r>
            <a:r>
              <a:rPr lang="en-GB" sz="1575" b="1" baseline="30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19" name="Rectangle 49"/>
          <p:cNvSpPr>
            <a:spLocks noChangeArrowheads="1"/>
          </p:cNvSpPr>
          <p:nvPr/>
        </p:nvSpPr>
        <p:spPr bwMode="auto">
          <a:xfrm>
            <a:off x="7143751" y="1192213"/>
            <a:ext cx="1195387" cy="242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FDA"/>
              </a:buClr>
              <a:defRPr/>
            </a:pPr>
            <a:r>
              <a:rPr lang="en-GB" sz="1575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OS</a:t>
            </a:r>
            <a:r>
              <a:rPr lang="en-GB" sz="1575" b="1" baseline="30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20" name="TextBox 45"/>
          <p:cNvSpPr txBox="1">
            <a:spLocks noChangeArrowheads="1"/>
          </p:cNvSpPr>
          <p:nvPr/>
        </p:nvSpPr>
        <p:spPr bwMode="auto">
          <a:xfrm>
            <a:off x="6406357" y="1607237"/>
            <a:ext cx="2670175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V death, non-fatal MI, non-fatal stroke, or hospitalisation for UAP</a:t>
            </a:r>
          </a:p>
        </p:txBody>
      </p:sp>
      <p:sp>
        <p:nvSpPr>
          <p:cNvPr id="21" name="Freeform 188"/>
          <p:cNvSpPr>
            <a:spLocks/>
          </p:cNvSpPr>
          <p:nvPr/>
        </p:nvSpPr>
        <p:spPr bwMode="auto">
          <a:xfrm>
            <a:off x="612776" y="2791520"/>
            <a:ext cx="2430000" cy="599400"/>
          </a:xfrm>
          <a:custGeom>
            <a:avLst/>
            <a:gdLst>
              <a:gd name="T0" fmla="*/ 2147483647 w 1586"/>
              <a:gd name="T1" fmla="*/ 0 h 475"/>
              <a:gd name="T2" fmla="*/ 2147483647 w 1586"/>
              <a:gd name="T3" fmla="*/ 2147483647 h 475"/>
              <a:gd name="T4" fmla="*/ 2147483647 w 1586"/>
              <a:gd name="T5" fmla="*/ 2147483647 h 475"/>
              <a:gd name="T6" fmla="*/ 2147483647 w 1586"/>
              <a:gd name="T7" fmla="*/ 2147483647 h 475"/>
              <a:gd name="T8" fmla="*/ 2147483647 w 1586"/>
              <a:gd name="T9" fmla="*/ 2147483647 h 475"/>
              <a:gd name="T10" fmla="*/ 2147483647 w 1586"/>
              <a:gd name="T11" fmla="*/ 2147483647 h 475"/>
              <a:gd name="T12" fmla="*/ 2147483647 w 1586"/>
              <a:gd name="T13" fmla="*/ 2147483647 h 475"/>
              <a:gd name="T14" fmla="*/ 2147483647 w 1586"/>
              <a:gd name="T15" fmla="*/ 2147483647 h 475"/>
              <a:gd name="T16" fmla="*/ 2147483647 w 1586"/>
              <a:gd name="T17" fmla="*/ 2147483647 h 475"/>
              <a:gd name="T18" fmla="*/ 2147483647 w 1586"/>
              <a:gd name="T19" fmla="*/ 2147483647 h 475"/>
              <a:gd name="T20" fmla="*/ 2147483647 w 1586"/>
              <a:gd name="T21" fmla="*/ 2147483647 h 475"/>
              <a:gd name="T22" fmla="*/ 2147483647 w 1586"/>
              <a:gd name="T23" fmla="*/ 2147483647 h 475"/>
              <a:gd name="T24" fmla="*/ 2147483647 w 1586"/>
              <a:gd name="T25" fmla="*/ 2147483647 h 475"/>
              <a:gd name="T26" fmla="*/ 2147483647 w 1586"/>
              <a:gd name="T27" fmla="*/ 2147483647 h 475"/>
              <a:gd name="T28" fmla="*/ 2147483647 w 1586"/>
              <a:gd name="T29" fmla="*/ 2147483647 h 475"/>
              <a:gd name="T30" fmla="*/ 2147483647 w 1586"/>
              <a:gd name="T31" fmla="*/ 2147483647 h 475"/>
              <a:gd name="T32" fmla="*/ 2147483647 w 1586"/>
              <a:gd name="T33" fmla="*/ 2147483647 h 475"/>
              <a:gd name="T34" fmla="*/ 2147483647 w 1586"/>
              <a:gd name="T35" fmla="*/ 2147483647 h 475"/>
              <a:gd name="T36" fmla="*/ 2147483647 w 1586"/>
              <a:gd name="T37" fmla="*/ 2147483647 h 475"/>
              <a:gd name="T38" fmla="*/ 2147483647 w 1586"/>
              <a:gd name="T39" fmla="*/ 2147483647 h 475"/>
              <a:gd name="T40" fmla="*/ 2147483647 w 1586"/>
              <a:gd name="T41" fmla="*/ 2147483647 h 475"/>
              <a:gd name="T42" fmla="*/ 2147483647 w 1586"/>
              <a:gd name="T43" fmla="*/ 2147483647 h 475"/>
              <a:gd name="T44" fmla="*/ 2147483647 w 1586"/>
              <a:gd name="T45" fmla="*/ 2147483647 h 475"/>
              <a:gd name="T46" fmla="*/ 2147483647 w 1586"/>
              <a:gd name="T47" fmla="*/ 2147483647 h 475"/>
              <a:gd name="T48" fmla="*/ 2147483647 w 1586"/>
              <a:gd name="T49" fmla="*/ 2147483647 h 475"/>
              <a:gd name="T50" fmla="*/ 2147483647 w 1586"/>
              <a:gd name="T51" fmla="*/ 2147483647 h 475"/>
              <a:gd name="T52" fmla="*/ 2147483647 w 1586"/>
              <a:gd name="T53" fmla="*/ 2147483647 h 475"/>
              <a:gd name="T54" fmla="*/ 2147483647 w 1586"/>
              <a:gd name="T55" fmla="*/ 2147483647 h 475"/>
              <a:gd name="T56" fmla="*/ 2147483647 w 1586"/>
              <a:gd name="T57" fmla="*/ 2147483647 h 475"/>
              <a:gd name="T58" fmla="*/ 2147483647 w 1586"/>
              <a:gd name="T59" fmla="*/ 2147483647 h 475"/>
              <a:gd name="T60" fmla="*/ 2147483647 w 1586"/>
              <a:gd name="T61" fmla="*/ 2147483647 h 475"/>
              <a:gd name="T62" fmla="*/ 2147483647 w 1586"/>
              <a:gd name="T63" fmla="*/ 2147483647 h 475"/>
              <a:gd name="T64" fmla="*/ 2147483647 w 1586"/>
              <a:gd name="T65" fmla="*/ 2147483647 h 475"/>
              <a:gd name="T66" fmla="*/ 2147483647 w 1586"/>
              <a:gd name="T67" fmla="*/ 2147483647 h 475"/>
              <a:gd name="T68" fmla="*/ 2147483647 w 1586"/>
              <a:gd name="T69" fmla="*/ 2147483647 h 475"/>
              <a:gd name="T70" fmla="*/ 2147483647 w 1586"/>
              <a:gd name="T71" fmla="*/ 2147483647 h 475"/>
              <a:gd name="T72" fmla="*/ 2147483647 w 1586"/>
              <a:gd name="T73" fmla="*/ 2147483647 h 475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586" h="475">
                <a:moveTo>
                  <a:pt x="1586" y="0"/>
                </a:moveTo>
                <a:lnTo>
                  <a:pt x="1551" y="0"/>
                </a:lnTo>
                <a:lnTo>
                  <a:pt x="1539" y="0"/>
                </a:lnTo>
                <a:lnTo>
                  <a:pt x="1533" y="6"/>
                </a:lnTo>
                <a:lnTo>
                  <a:pt x="1527" y="12"/>
                </a:lnTo>
                <a:lnTo>
                  <a:pt x="1515" y="12"/>
                </a:lnTo>
                <a:lnTo>
                  <a:pt x="1503" y="18"/>
                </a:lnTo>
                <a:lnTo>
                  <a:pt x="1497" y="18"/>
                </a:lnTo>
                <a:lnTo>
                  <a:pt x="1486" y="24"/>
                </a:lnTo>
                <a:lnTo>
                  <a:pt x="1480" y="30"/>
                </a:lnTo>
                <a:lnTo>
                  <a:pt x="1474" y="42"/>
                </a:lnTo>
                <a:lnTo>
                  <a:pt x="1450" y="42"/>
                </a:lnTo>
                <a:lnTo>
                  <a:pt x="1438" y="42"/>
                </a:lnTo>
                <a:lnTo>
                  <a:pt x="1426" y="48"/>
                </a:lnTo>
                <a:lnTo>
                  <a:pt x="1409" y="54"/>
                </a:lnTo>
                <a:lnTo>
                  <a:pt x="1391" y="60"/>
                </a:lnTo>
                <a:lnTo>
                  <a:pt x="1379" y="72"/>
                </a:lnTo>
                <a:lnTo>
                  <a:pt x="1338" y="72"/>
                </a:lnTo>
                <a:lnTo>
                  <a:pt x="1320" y="78"/>
                </a:lnTo>
                <a:lnTo>
                  <a:pt x="1302" y="90"/>
                </a:lnTo>
                <a:lnTo>
                  <a:pt x="1278" y="84"/>
                </a:lnTo>
                <a:lnTo>
                  <a:pt x="1267" y="90"/>
                </a:lnTo>
                <a:lnTo>
                  <a:pt x="1249" y="96"/>
                </a:lnTo>
                <a:lnTo>
                  <a:pt x="1237" y="102"/>
                </a:lnTo>
                <a:lnTo>
                  <a:pt x="1213" y="102"/>
                </a:lnTo>
                <a:lnTo>
                  <a:pt x="1196" y="114"/>
                </a:lnTo>
                <a:lnTo>
                  <a:pt x="1166" y="126"/>
                </a:lnTo>
                <a:lnTo>
                  <a:pt x="1136" y="138"/>
                </a:lnTo>
                <a:lnTo>
                  <a:pt x="1113" y="144"/>
                </a:lnTo>
                <a:lnTo>
                  <a:pt x="1107" y="150"/>
                </a:lnTo>
                <a:lnTo>
                  <a:pt x="1059" y="156"/>
                </a:lnTo>
                <a:lnTo>
                  <a:pt x="1012" y="180"/>
                </a:lnTo>
                <a:lnTo>
                  <a:pt x="959" y="192"/>
                </a:lnTo>
                <a:lnTo>
                  <a:pt x="917" y="210"/>
                </a:lnTo>
                <a:lnTo>
                  <a:pt x="864" y="222"/>
                </a:lnTo>
                <a:lnTo>
                  <a:pt x="834" y="228"/>
                </a:lnTo>
                <a:lnTo>
                  <a:pt x="811" y="234"/>
                </a:lnTo>
                <a:lnTo>
                  <a:pt x="799" y="247"/>
                </a:lnTo>
                <a:lnTo>
                  <a:pt x="781" y="253"/>
                </a:lnTo>
                <a:lnTo>
                  <a:pt x="763" y="253"/>
                </a:lnTo>
                <a:lnTo>
                  <a:pt x="722" y="259"/>
                </a:lnTo>
                <a:lnTo>
                  <a:pt x="698" y="265"/>
                </a:lnTo>
                <a:lnTo>
                  <a:pt x="681" y="271"/>
                </a:lnTo>
                <a:lnTo>
                  <a:pt x="651" y="277"/>
                </a:lnTo>
                <a:lnTo>
                  <a:pt x="639" y="289"/>
                </a:lnTo>
                <a:lnTo>
                  <a:pt x="627" y="289"/>
                </a:lnTo>
                <a:lnTo>
                  <a:pt x="598" y="295"/>
                </a:lnTo>
                <a:lnTo>
                  <a:pt x="574" y="313"/>
                </a:lnTo>
                <a:lnTo>
                  <a:pt x="550" y="319"/>
                </a:lnTo>
                <a:lnTo>
                  <a:pt x="527" y="325"/>
                </a:lnTo>
                <a:lnTo>
                  <a:pt x="503" y="325"/>
                </a:lnTo>
                <a:lnTo>
                  <a:pt x="485" y="331"/>
                </a:lnTo>
                <a:lnTo>
                  <a:pt x="456" y="343"/>
                </a:lnTo>
                <a:lnTo>
                  <a:pt x="438" y="349"/>
                </a:lnTo>
                <a:lnTo>
                  <a:pt x="420" y="355"/>
                </a:lnTo>
                <a:lnTo>
                  <a:pt x="396" y="355"/>
                </a:lnTo>
                <a:lnTo>
                  <a:pt x="391" y="373"/>
                </a:lnTo>
                <a:lnTo>
                  <a:pt x="367" y="373"/>
                </a:lnTo>
                <a:lnTo>
                  <a:pt x="349" y="373"/>
                </a:lnTo>
                <a:lnTo>
                  <a:pt x="319" y="379"/>
                </a:lnTo>
                <a:lnTo>
                  <a:pt x="296" y="391"/>
                </a:lnTo>
                <a:lnTo>
                  <a:pt x="278" y="397"/>
                </a:lnTo>
                <a:lnTo>
                  <a:pt x="248" y="409"/>
                </a:lnTo>
                <a:lnTo>
                  <a:pt x="225" y="409"/>
                </a:lnTo>
                <a:lnTo>
                  <a:pt x="219" y="421"/>
                </a:lnTo>
                <a:lnTo>
                  <a:pt x="201" y="427"/>
                </a:lnTo>
                <a:lnTo>
                  <a:pt x="189" y="427"/>
                </a:lnTo>
                <a:lnTo>
                  <a:pt x="171" y="439"/>
                </a:lnTo>
                <a:lnTo>
                  <a:pt x="136" y="451"/>
                </a:lnTo>
                <a:lnTo>
                  <a:pt x="106" y="451"/>
                </a:lnTo>
                <a:lnTo>
                  <a:pt x="95" y="457"/>
                </a:lnTo>
                <a:lnTo>
                  <a:pt x="83" y="463"/>
                </a:lnTo>
                <a:lnTo>
                  <a:pt x="71" y="469"/>
                </a:lnTo>
                <a:lnTo>
                  <a:pt x="41" y="469"/>
                </a:lnTo>
                <a:lnTo>
                  <a:pt x="0" y="475"/>
                </a:lnTo>
              </a:path>
            </a:pathLst>
          </a:custGeom>
          <a:noFill/>
          <a:ln w="12700" cap="rnd" cmpd="sng">
            <a:solidFill>
              <a:schemeClr val="accent5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38" tIns="45719" rIns="91438" bIns="45719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350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Freeform 187"/>
          <p:cNvSpPr>
            <a:spLocks/>
          </p:cNvSpPr>
          <p:nvPr/>
        </p:nvSpPr>
        <p:spPr bwMode="auto">
          <a:xfrm>
            <a:off x="613964" y="2805369"/>
            <a:ext cx="2430000" cy="602100"/>
          </a:xfrm>
          <a:custGeom>
            <a:avLst/>
            <a:gdLst>
              <a:gd name="T0" fmla="*/ 2147483647 w 267"/>
              <a:gd name="T1" fmla="*/ 0 h 78"/>
              <a:gd name="T2" fmla="*/ 2147483647 w 267"/>
              <a:gd name="T3" fmla="*/ 2147483647 h 78"/>
              <a:gd name="T4" fmla="*/ 2147483647 w 267"/>
              <a:gd name="T5" fmla="*/ 2147483647 h 78"/>
              <a:gd name="T6" fmla="*/ 2147483647 w 267"/>
              <a:gd name="T7" fmla="*/ 2147483647 h 78"/>
              <a:gd name="T8" fmla="*/ 2147483647 w 267"/>
              <a:gd name="T9" fmla="*/ 2147483647 h 78"/>
              <a:gd name="T10" fmla="*/ 2147483647 w 267"/>
              <a:gd name="T11" fmla="*/ 2147483647 h 78"/>
              <a:gd name="T12" fmla="*/ 2147483647 w 267"/>
              <a:gd name="T13" fmla="*/ 2147483647 h 78"/>
              <a:gd name="T14" fmla="*/ 2147483647 w 267"/>
              <a:gd name="T15" fmla="*/ 2147483647 h 78"/>
              <a:gd name="T16" fmla="*/ 2147483647 w 267"/>
              <a:gd name="T17" fmla="*/ 2147483647 h 78"/>
              <a:gd name="T18" fmla="*/ 2147483647 w 267"/>
              <a:gd name="T19" fmla="*/ 2147483647 h 78"/>
              <a:gd name="T20" fmla="*/ 2147483647 w 267"/>
              <a:gd name="T21" fmla="*/ 2147483647 h 78"/>
              <a:gd name="T22" fmla="*/ 2147483647 w 267"/>
              <a:gd name="T23" fmla="*/ 2147483647 h 78"/>
              <a:gd name="T24" fmla="*/ 2147483647 w 267"/>
              <a:gd name="T25" fmla="*/ 2147483647 h 78"/>
              <a:gd name="T26" fmla="*/ 2147483647 w 267"/>
              <a:gd name="T27" fmla="*/ 2147483647 h 78"/>
              <a:gd name="T28" fmla="*/ 2147483647 w 267"/>
              <a:gd name="T29" fmla="*/ 2147483647 h 78"/>
              <a:gd name="T30" fmla="*/ 2147483647 w 267"/>
              <a:gd name="T31" fmla="*/ 2147483647 h 78"/>
              <a:gd name="T32" fmla="*/ 2147483647 w 267"/>
              <a:gd name="T33" fmla="*/ 2147483647 h 78"/>
              <a:gd name="T34" fmla="*/ 2147483647 w 267"/>
              <a:gd name="T35" fmla="*/ 2147483647 h 78"/>
              <a:gd name="T36" fmla="*/ 2147483647 w 267"/>
              <a:gd name="T37" fmla="*/ 2147483647 h 78"/>
              <a:gd name="T38" fmla="*/ 2147483647 w 267"/>
              <a:gd name="T39" fmla="*/ 2147483647 h 78"/>
              <a:gd name="T40" fmla="*/ 2147483647 w 267"/>
              <a:gd name="T41" fmla="*/ 2147483647 h 78"/>
              <a:gd name="T42" fmla="*/ 2147483647 w 267"/>
              <a:gd name="T43" fmla="*/ 2147483647 h 78"/>
              <a:gd name="T44" fmla="*/ 2147483647 w 267"/>
              <a:gd name="T45" fmla="*/ 2147483647 h 78"/>
              <a:gd name="T46" fmla="*/ 2147483647 w 267"/>
              <a:gd name="T47" fmla="*/ 2147483647 h 78"/>
              <a:gd name="T48" fmla="*/ 2147483647 w 267"/>
              <a:gd name="T49" fmla="*/ 2147483647 h 78"/>
              <a:gd name="T50" fmla="*/ 2147483647 w 267"/>
              <a:gd name="T51" fmla="*/ 2147483647 h 78"/>
              <a:gd name="T52" fmla="*/ 2147483647 w 267"/>
              <a:gd name="T53" fmla="*/ 2147483647 h 78"/>
              <a:gd name="T54" fmla="*/ 2147483647 w 267"/>
              <a:gd name="T55" fmla="*/ 2147483647 h 78"/>
              <a:gd name="T56" fmla="*/ 2147483647 w 267"/>
              <a:gd name="T57" fmla="*/ 2147483647 h 78"/>
              <a:gd name="T58" fmla="*/ 2147483647 w 267"/>
              <a:gd name="T59" fmla="*/ 2147483647 h 78"/>
              <a:gd name="T60" fmla="*/ 2147483647 w 267"/>
              <a:gd name="T61" fmla="*/ 2147483647 h 78"/>
              <a:gd name="T62" fmla="*/ 2147483647 w 267"/>
              <a:gd name="T63" fmla="*/ 2147483647 h 78"/>
              <a:gd name="T64" fmla="*/ 2147483647 w 267"/>
              <a:gd name="T65" fmla="*/ 2147483647 h 78"/>
              <a:gd name="T66" fmla="*/ 2147483647 w 267"/>
              <a:gd name="T67" fmla="*/ 2147483647 h 78"/>
              <a:gd name="T68" fmla="*/ 2147483647 w 267"/>
              <a:gd name="T69" fmla="*/ 2147483647 h 78"/>
              <a:gd name="T70" fmla="*/ 2147483647 w 267"/>
              <a:gd name="T71" fmla="*/ 2147483647 h 78"/>
              <a:gd name="T72" fmla="*/ 2147483647 w 267"/>
              <a:gd name="T73" fmla="*/ 2147483647 h 78"/>
              <a:gd name="T74" fmla="*/ 2147483647 w 267"/>
              <a:gd name="T75" fmla="*/ 2147483647 h 78"/>
              <a:gd name="T76" fmla="*/ 2147483647 w 267"/>
              <a:gd name="T77" fmla="*/ 2147483647 h 78"/>
              <a:gd name="T78" fmla="*/ 2147483647 w 267"/>
              <a:gd name="T79" fmla="*/ 2147483647 h 78"/>
              <a:gd name="T80" fmla="*/ 2147483647 w 267"/>
              <a:gd name="T81" fmla="*/ 2147483647 h 78"/>
              <a:gd name="T82" fmla="*/ 2147483647 w 267"/>
              <a:gd name="T83" fmla="*/ 2147483647 h 78"/>
              <a:gd name="T84" fmla="*/ 2147483647 w 267"/>
              <a:gd name="T85" fmla="*/ 2147483647 h 78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67" h="78">
                <a:moveTo>
                  <a:pt x="267" y="0"/>
                </a:moveTo>
                <a:cubicBezTo>
                  <a:pt x="264" y="0"/>
                  <a:pt x="264" y="0"/>
                  <a:pt x="264" y="0"/>
                </a:cubicBezTo>
                <a:cubicBezTo>
                  <a:pt x="263" y="0"/>
                  <a:pt x="263" y="0"/>
                  <a:pt x="263" y="0"/>
                </a:cubicBezTo>
                <a:cubicBezTo>
                  <a:pt x="262" y="1"/>
                  <a:pt x="262" y="1"/>
                  <a:pt x="262" y="1"/>
                </a:cubicBezTo>
                <a:cubicBezTo>
                  <a:pt x="259" y="1"/>
                  <a:pt x="259" y="1"/>
                  <a:pt x="259" y="1"/>
                </a:cubicBezTo>
                <a:cubicBezTo>
                  <a:pt x="257" y="2"/>
                  <a:pt x="257" y="2"/>
                  <a:pt x="257" y="2"/>
                </a:cubicBezTo>
                <a:cubicBezTo>
                  <a:pt x="255" y="2"/>
                  <a:pt x="255" y="2"/>
                  <a:pt x="255" y="2"/>
                </a:cubicBezTo>
                <a:cubicBezTo>
                  <a:pt x="252" y="3"/>
                  <a:pt x="252" y="3"/>
                  <a:pt x="252" y="3"/>
                </a:cubicBezTo>
                <a:cubicBezTo>
                  <a:pt x="250" y="4"/>
                  <a:pt x="250" y="4"/>
                  <a:pt x="250" y="4"/>
                </a:cubicBezTo>
                <a:cubicBezTo>
                  <a:pt x="248" y="5"/>
                  <a:pt x="248" y="5"/>
                  <a:pt x="248" y="5"/>
                </a:cubicBezTo>
                <a:cubicBezTo>
                  <a:pt x="248" y="5"/>
                  <a:pt x="247" y="6"/>
                  <a:pt x="247" y="6"/>
                </a:cubicBezTo>
                <a:cubicBezTo>
                  <a:pt x="246" y="6"/>
                  <a:pt x="244" y="6"/>
                  <a:pt x="244" y="6"/>
                </a:cubicBezTo>
                <a:cubicBezTo>
                  <a:pt x="241" y="7"/>
                  <a:pt x="241" y="7"/>
                  <a:pt x="241" y="7"/>
                </a:cubicBezTo>
                <a:cubicBezTo>
                  <a:pt x="238" y="8"/>
                  <a:pt x="238" y="8"/>
                  <a:pt x="238" y="8"/>
                </a:cubicBezTo>
                <a:cubicBezTo>
                  <a:pt x="233" y="8"/>
                  <a:pt x="233" y="8"/>
                  <a:pt x="233" y="8"/>
                </a:cubicBezTo>
                <a:cubicBezTo>
                  <a:pt x="225" y="8"/>
                  <a:pt x="225" y="8"/>
                  <a:pt x="225" y="8"/>
                </a:cubicBezTo>
                <a:cubicBezTo>
                  <a:pt x="222" y="9"/>
                  <a:pt x="222" y="9"/>
                  <a:pt x="222" y="9"/>
                </a:cubicBezTo>
                <a:cubicBezTo>
                  <a:pt x="220" y="10"/>
                  <a:pt x="220" y="10"/>
                  <a:pt x="220" y="10"/>
                </a:cubicBezTo>
                <a:cubicBezTo>
                  <a:pt x="218" y="11"/>
                  <a:pt x="218" y="11"/>
                  <a:pt x="218" y="11"/>
                </a:cubicBezTo>
                <a:cubicBezTo>
                  <a:pt x="214" y="12"/>
                  <a:pt x="214" y="12"/>
                  <a:pt x="214" y="12"/>
                </a:cubicBezTo>
                <a:cubicBezTo>
                  <a:pt x="211" y="12"/>
                  <a:pt x="211" y="12"/>
                  <a:pt x="211" y="12"/>
                </a:cubicBezTo>
                <a:cubicBezTo>
                  <a:pt x="207" y="14"/>
                  <a:pt x="207" y="14"/>
                  <a:pt x="207" y="14"/>
                </a:cubicBezTo>
                <a:cubicBezTo>
                  <a:pt x="204" y="14"/>
                  <a:pt x="204" y="14"/>
                  <a:pt x="204" y="14"/>
                </a:cubicBezTo>
                <a:cubicBezTo>
                  <a:pt x="200" y="15"/>
                  <a:pt x="200" y="15"/>
                  <a:pt x="200" y="15"/>
                </a:cubicBezTo>
                <a:cubicBezTo>
                  <a:pt x="195" y="18"/>
                  <a:pt x="195" y="18"/>
                  <a:pt x="195" y="18"/>
                </a:cubicBezTo>
                <a:cubicBezTo>
                  <a:pt x="192" y="19"/>
                  <a:pt x="192" y="19"/>
                  <a:pt x="192" y="19"/>
                </a:cubicBezTo>
                <a:cubicBezTo>
                  <a:pt x="190" y="21"/>
                  <a:pt x="190" y="21"/>
                  <a:pt x="190" y="21"/>
                </a:cubicBezTo>
                <a:cubicBezTo>
                  <a:pt x="185" y="21"/>
                  <a:pt x="185" y="21"/>
                  <a:pt x="185" y="21"/>
                </a:cubicBezTo>
                <a:cubicBezTo>
                  <a:pt x="182" y="22"/>
                  <a:pt x="182" y="22"/>
                  <a:pt x="182" y="22"/>
                </a:cubicBezTo>
                <a:cubicBezTo>
                  <a:pt x="178" y="23"/>
                  <a:pt x="178" y="23"/>
                  <a:pt x="178" y="23"/>
                </a:cubicBezTo>
                <a:cubicBezTo>
                  <a:pt x="174" y="25"/>
                  <a:pt x="174" y="25"/>
                  <a:pt x="174" y="25"/>
                </a:cubicBezTo>
                <a:cubicBezTo>
                  <a:pt x="169" y="26"/>
                  <a:pt x="169" y="26"/>
                  <a:pt x="169" y="26"/>
                </a:cubicBezTo>
                <a:cubicBezTo>
                  <a:pt x="165" y="28"/>
                  <a:pt x="165" y="28"/>
                  <a:pt x="165" y="28"/>
                </a:cubicBezTo>
                <a:cubicBezTo>
                  <a:pt x="160" y="29"/>
                  <a:pt x="160" y="29"/>
                  <a:pt x="160" y="29"/>
                </a:cubicBezTo>
                <a:cubicBezTo>
                  <a:pt x="157" y="30"/>
                  <a:pt x="157" y="30"/>
                  <a:pt x="157" y="30"/>
                </a:cubicBezTo>
                <a:cubicBezTo>
                  <a:pt x="154" y="31"/>
                  <a:pt x="154" y="31"/>
                  <a:pt x="154" y="31"/>
                </a:cubicBezTo>
                <a:cubicBezTo>
                  <a:pt x="151" y="33"/>
                  <a:pt x="151" y="33"/>
                  <a:pt x="151" y="33"/>
                </a:cubicBezTo>
                <a:cubicBezTo>
                  <a:pt x="146" y="35"/>
                  <a:pt x="146" y="35"/>
                  <a:pt x="146" y="35"/>
                </a:cubicBezTo>
                <a:cubicBezTo>
                  <a:pt x="142" y="36"/>
                  <a:pt x="142" y="36"/>
                  <a:pt x="142" y="36"/>
                </a:cubicBezTo>
                <a:cubicBezTo>
                  <a:pt x="139" y="37"/>
                  <a:pt x="139" y="37"/>
                  <a:pt x="139" y="37"/>
                </a:cubicBezTo>
                <a:cubicBezTo>
                  <a:pt x="135" y="38"/>
                  <a:pt x="135" y="38"/>
                  <a:pt x="135" y="38"/>
                </a:cubicBezTo>
                <a:cubicBezTo>
                  <a:pt x="130" y="39"/>
                  <a:pt x="130" y="39"/>
                  <a:pt x="130" y="39"/>
                </a:cubicBezTo>
                <a:cubicBezTo>
                  <a:pt x="125" y="41"/>
                  <a:pt x="125" y="41"/>
                  <a:pt x="125" y="41"/>
                </a:cubicBezTo>
                <a:cubicBezTo>
                  <a:pt x="122" y="42"/>
                  <a:pt x="122" y="42"/>
                  <a:pt x="122" y="42"/>
                </a:cubicBezTo>
                <a:cubicBezTo>
                  <a:pt x="120" y="43"/>
                  <a:pt x="120" y="43"/>
                  <a:pt x="120" y="43"/>
                </a:cubicBezTo>
                <a:cubicBezTo>
                  <a:pt x="117" y="44"/>
                  <a:pt x="117" y="44"/>
                  <a:pt x="117" y="44"/>
                </a:cubicBezTo>
                <a:cubicBezTo>
                  <a:pt x="112" y="45"/>
                  <a:pt x="112" y="45"/>
                  <a:pt x="112" y="45"/>
                </a:cubicBezTo>
                <a:cubicBezTo>
                  <a:pt x="109" y="45"/>
                  <a:pt x="109" y="45"/>
                  <a:pt x="109" y="45"/>
                </a:cubicBezTo>
                <a:cubicBezTo>
                  <a:pt x="107" y="46"/>
                  <a:pt x="107" y="46"/>
                  <a:pt x="107" y="46"/>
                </a:cubicBezTo>
                <a:cubicBezTo>
                  <a:pt x="105" y="47"/>
                  <a:pt x="105" y="47"/>
                  <a:pt x="105" y="47"/>
                </a:cubicBezTo>
                <a:cubicBezTo>
                  <a:pt x="102" y="47"/>
                  <a:pt x="102" y="47"/>
                  <a:pt x="102" y="47"/>
                </a:cubicBezTo>
                <a:cubicBezTo>
                  <a:pt x="99" y="47"/>
                  <a:pt x="99" y="47"/>
                  <a:pt x="99" y="47"/>
                </a:cubicBezTo>
                <a:cubicBezTo>
                  <a:pt x="96" y="49"/>
                  <a:pt x="96" y="49"/>
                  <a:pt x="96" y="49"/>
                </a:cubicBezTo>
                <a:cubicBezTo>
                  <a:pt x="93" y="50"/>
                  <a:pt x="93" y="50"/>
                  <a:pt x="93" y="50"/>
                </a:cubicBezTo>
                <a:cubicBezTo>
                  <a:pt x="90" y="51"/>
                  <a:pt x="90" y="51"/>
                  <a:pt x="90" y="51"/>
                </a:cubicBezTo>
                <a:cubicBezTo>
                  <a:pt x="88" y="52"/>
                  <a:pt x="88" y="52"/>
                  <a:pt x="88" y="52"/>
                </a:cubicBezTo>
                <a:cubicBezTo>
                  <a:pt x="86" y="53"/>
                  <a:pt x="86" y="53"/>
                  <a:pt x="86" y="53"/>
                </a:cubicBezTo>
                <a:cubicBezTo>
                  <a:pt x="83" y="54"/>
                  <a:pt x="83" y="54"/>
                  <a:pt x="83" y="54"/>
                </a:cubicBezTo>
                <a:cubicBezTo>
                  <a:pt x="81" y="55"/>
                  <a:pt x="81" y="55"/>
                  <a:pt x="81" y="55"/>
                </a:cubicBezTo>
                <a:cubicBezTo>
                  <a:pt x="79" y="56"/>
                  <a:pt x="79" y="56"/>
                  <a:pt x="79" y="56"/>
                </a:cubicBezTo>
                <a:cubicBezTo>
                  <a:pt x="77" y="56"/>
                  <a:pt x="77" y="56"/>
                  <a:pt x="77" y="56"/>
                </a:cubicBezTo>
                <a:cubicBezTo>
                  <a:pt x="75" y="58"/>
                  <a:pt x="75" y="58"/>
                  <a:pt x="75" y="58"/>
                </a:cubicBezTo>
                <a:cubicBezTo>
                  <a:pt x="73" y="58"/>
                  <a:pt x="73" y="58"/>
                  <a:pt x="73" y="58"/>
                </a:cubicBezTo>
                <a:cubicBezTo>
                  <a:pt x="71" y="58"/>
                  <a:pt x="71" y="58"/>
                  <a:pt x="71" y="58"/>
                </a:cubicBezTo>
                <a:cubicBezTo>
                  <a:pt x="69" y="58"/>
                  <a:pt x="69" y="58"/>
                  <a:pt x="69" y="58"/>
                </a:cubicBezTo>
                <a:cubicBezTo>
                  <a:pt x="67" y="59"/>
                  <a:pt x="67" y="59"/>
                  <a:pt x="67" y="59"/>
                </a:cubicBezTo>
                <a:cubicBezTo>
                  <a:pt x="64" y="60"/>
                  <a:pt x="64" y="60"/>
                  <a:pt x="64" y="60"/>
                </a:cubicBezTo>
                <a:cubicBezTo>
                  <a:pt x="61" y="61"/>
                  <a:pt x="61" y="61"/>
                  <a:pt x="61" y="61"/>
                </a:cubicBezTo>
                <a:cubicBezTo>
                  <a:pt x="59" y="61"/>
                  <a:pt x="59" y="61"/>
                  <a:pt x="59" y="61"/>
                </a:cubicBezTo>
                <a:cubicBezTo>
                  <a:pt x="56" y="62"/>
                  <a:pt x="56" y="62"/>
                  <a:pt x="56" y="62"/>
                </a:cubicBezTo>
                <a:cubicBezTo>
                  <a:pt x="55" y="62"/>
                  <a:pt x="55" y="62"/>
                  <a:pt x="55" y="62"/>
                </a:cubicBezTo>
                <a:cubicBezTo>
                  <a:pt x="52" y="63"/>
                  <a:pt x="52" y="63"/>
                  <a:pt x="52" y="63"/>
                </a:cubicBezTo>
                <a:cubicBezTo>
                  <a:pt x="48" y="64"/>
                  <a:pt x="48" y="64"/>
                  <a:pt x="48" y="64"/>
                </a:cubicBezTo>
                <a:cubicBezTo>
                  <a:pt x="44" y="66"/>
                  <a:pt x="44" y="66"/>
                  <a:pt x="44" y="66"/>
                </a:cubicBezTo>
                <a:cubicBezTo>
                  <a:pt x="39" y="68"/>
                  <a:pt x="39" y="68"/>
                  <a:pt x="39" y="68"/>
                </a:cubicBezTo>
                <a:cubicBezTo>
                  <a:pt x="34" y="69"/>
                  <a:pt x="34" y="69"/>
                  <a:pt x="34" y="69"/>
                </a:cubicBezTo>
                <a:cubicBezTo>
                  <a:pt x="30" y="71"/>
                  <a:pt x="30" y="71"/>
                  <a:pt x="30" y="71"/>
                </a:cubicBezTo>
                <a:cubicBezTo>
                  <a:pt x="27" y="72"/>
                  <a:pt x="27" y="72"/>
                  <a:pt x="27" y="72"/>
                </a:cubicBezTo>
                <a:cubicBezTo>
                  <a:pt x="24" y="72"/>
                  <a:pt x="24" y="72"/>
                  <a:pt x="24" y="72"/>
                </a:cubicBezTo>
                <a:cubicBezTo>
                  <a:pt x="21" y="73"/>
                  <a:pt x="21" y="73"/>
                  <a:pt x="21" y="73"/>
                </a:cubicBezTo>
                <a:cubicBezTo>
                  <a:pt x="18" y="74"/>
                  <a:pt x="18" y="74"/>
                  <a:pt x="18" y="74"/>
                </a:cubicBezTo>
                <a:cubicBezTo>
                  <a:pt x="15" y="74"/>
                  <a:pt x="15" y="74"/>
                  <a:pt x="15" y="74"/>
                </a:cubicBezTo>
                <a:cubicBezTo>
                  <a:pt x="11" y="74"/>
                  <a:pt x="11" y="74"/>
                  <a:pt x="11" y="74"/>
                </a:cubicBezTo>
                <a:cubicBezTo>
                  <a:pt x="8" y="75"/>
                  <a:pt x="8" y="75"/>
                  <a:pt x="8" y="75"/>
                </a:cubicBezTo>
                <a:cubicBezTo>
                  <a:pt x="6" y="76"/>
                  <a:pt x="6" y="76"/>
                  <a:pt x="6" y="76"/>
                </a:cubicBezTo>
                <a:cubicBezTo>
                  <a:pt x="3" y="78"/>
                  <a:pt x="3" y="78"/>
                  <a:pt x="3" y="78"/>
                </a:cubicBezTo>
                <a:cubicBezTo>
                  <a:pt x="0" y="78"/>
                  <a:pt x="0" y="78"/>
                  <a:pt x="0" y="78"/>
                </a:cubicBezTo>
              </a:path>
            </a:pathLst>
          </a:custGeom>
          <a:noFill/>
          <a:ln w="12700" cap="rnd" cmpd="sng">
            <a:solidFill>
              <a:schemeClr val="accent2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38" tIns="45719" rIns="91438" bIns="45719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350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extBox 65"/>
          <p:cNvSpPr txBox="1">
            <a:spLocks noChangeArrowheads="1"/>
          </p:cNvSpPr>
          <p:nvPr/>
        </p:nvSpPr>
        <p:spPr bwMode="auto">
          <a:xfrm rot="16200000">
            <a:off x="-942162" y="2733108"/>
            <a:ext cx="2086559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tients with endpoint (%)</a:t>
            </a:r>
          </a:p>
        </p:txBody>
      </p:sp>
      <p:sp>
        <p:nvSpPr>
          <p:cNvPr id="25" name="TextBox 70"/>
          <p:cNvSpPr txBox="1">
            <a:spLocks noChangeArrowheads="1"/>
          </p:cNvSpPr>
          <p:nvPr/>
        </p:nvSpPr>
        <p:spPr bwMode="auto">
          <a:xfrm>
            <a:off x="1617198" y="3727793"/>
            <a:ext cx="424795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nths</a:t>
            </a:r>
          </a:p>
        </p:txBody>
      </p:sp>
      <p:sp>
        <p:nvSpPr>
          <p:cNvPr id="26" name="TextBox 82"/>
          <p:cNvSpPr txBox="1">
            <a:spLocks noChangeArrowheads="1"/>
          </p:cNvSpPr>
          <p:nvPr/>
        </p:nvSpPr>
        <p:spPr bwMode="auto">
          <a:xfrm>
            <a:off x="2570164" y="3109236"/>
            <a:ext cx="50815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xagliptin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cebo</a:t>
            </a:r>
          </a:p>
        </p:txBody>
      </p:sp>
      <p:cxnSp>
        <p:nvCxnSpPr>
          <p:cNvPr id="27" name="Straight Connector 26"/>
          <p:cNvCxnSpPr/>
          <p:nvPr/>
        </p:nvCxnSpPr>
        <p:spPr>
          <a:xfrm>
            <a:off x="2212976" y="3313176"/>
            <a:ext cx="287338" cy="0"/>
          </a:xfrm>
          <a:prstGeom prst="line">
            <a:avLst/>
          </a:prstGeom>
          <a:ln w="19050" cmpd="sng"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2212976" y="3177755"/>
            <a:ext cx="287338" cy="0"/>
          </a:xfrm>
          <a:prstGeom prst="line">
            <a:avLst/>
          </a:prstGeom>
          <a:ln w="1905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Freeform 28"/>
          <p:cNvSpPr/>
          <p:nvPr/>
        </p:nvSpPr>
        <p:spPr>
          <a:xfrm>
            <a:off x="3618707" y="2334158"/>
            <a:ext cx="2403000" cy="1080000"/>
          </a:xfrm>
          <a:custGeom>
            <a:avLst/>
            <a:gdLst>
              <a:gd name="connsiteX0" fmla="*/ 2368550 w 2368550"/>
              <a:gd name="connsiteY0" fmla="*/ 0 h 800100"/>
              <a:gd name="connsiteX1" fmla="*/ 2333625 w 2368550"/>
              <a:gd name="connsiteY1" fmla="*/ 22225 h 800100"/>
              <a:gd name="connsiteX2" fmla="*/ 2301875 w 2368550"/>
              <a:gd name="connsiteY2" fmla="*/ 22225 h 800100"/>
              <a:gd name="connsiteX3" fmla="*/ 2254250 w 2368550"/>
              <a:gd name="connsiteY3" fmla="*/ 22225 h 800100"/>
              <a:gd name="connsiteX4" fmla="*/ 2222500 w 2368550"/>
              <a:gd name="connsiteY4" fmla="*/ 15875 h 800100"/>
              <a:gd name="connsiteX5" fmla="*/ 2178050 w 2368550"/>
              <a:gd name="connsiteY5" fmla="*/ 53975 h 800100"/>
              <a:gd name="connsiteX6" fmla="*/ 2155825 w 2368550"/>
              <a:gd name="connsiteY6" fmla="*/ 69850 h 800100"/>
              <a:gd name="connsiteX7" fmla="*/ 2120900 w 2368550"/>
              <a:gd name="connsiteY7" fmla="*/ 69850 h 800100"/>
              <a:gd name="connsiteX8" fmla="*/ 2120900 w 2368550"/>
              <a:gd name="connsiteY8" fmla="*/ 69850 h 800100"/>
              <a:gd name="connsiteX9" fmla="*/ 2089150 w 2368550"/>
              <a:gd name="connsiteY9" fmla="*/ 82550 h 800100"/>
              <a:gd name="connsiteX10" fmla="*/ 2038350 w 2368550"/>
              <a:gd name="connsiteY10" fmla="*/ 82550 h 800100"/>
              <a:gd name="connsiteX11" fmla="*/ 2000250 w 2368550"/>
              <a:gd name="connsiteY11" fmla="*/ 82550 h 800100"/>
              <a:gd name="connsiteX12" fmla="*/ 1974850 w 2368550"/>
              <a:gd name="connsiteY12" fmla="*/ 98425 h 800100"/>
              <a:gd name="connsiteX13" fmla="*/ 1901825 w 2368550"/>
              <a:gd name="connsiteY13" fmla="*/ 104775 h 800100"/>
              <a:gd name="connsiteX14" fmla="*/ 1838325 w 2368550"/>
              <a:gd name="connsiteY14" fmla="*/ 111125 h 800100"/>
              <a:gd name="connsiteX15" fmla="*/ 1784350 w 2368550"/>
              <a:gd name="connsiteY15" fmla="*/ 107950 h 800100"/>
              <a:gd name="connsiteX16" fmla="*/ 1784350 w 2368550"/>
              <a:gd name="connsiteY16" fmla="*/ 107950 h 800100"/>
              <a:gd name="connsiteX17" fmla="*/ 1711325 w 2368550"/>
              <a:gd name="connsiteY17" fmla="*/ 133350 h 800100"/>
              <a:gd name="connsiteX18" fmla="*/ 1682750 w 2368550"/>
              <a:gd name="connsiteY18" fmla="*/ 146050 h 800100"/>
              <a:gd name="connsiteX19" fmla="*/ 1628775 w 2368550"/>
              <a:gd name="connsiteY19" fmla="*/ 158750 h 800100"/>
              <a:gd name="connsiteX20" fmla="*/ 1600200 w 2368550"/>
              <a:gd name="connsiteY20" fmla="*/ 171450 h 800100"/>
              <a:gd name="connsiteX21" fmla="*/ 1555750 w 2368550"/>
              <a:gd name="connsiteY21" fmla="*/ 184150 h 800100"/>
              <a:gd name="connsiteX22" fmla="*/ 1524000 w 2368550"/>
              <a:gd name="connsiteY22" fmla="*/ 187325 h 800100"/>
              <a:gd name="connsiteX23" fmla="*/ 1473200 w 2368550"/>
              <a:gd name="connsiteY23" fmla="*/ 212725 h 800100"/>
              <a:gd name="connsiteX24" fmla="*/ 1435100 w 2368550"/>
              <a:gd name="connsiteY24" fmla="*/ 222250 h 800100"/>
              <a:gd name="connsiteX25" fmla="*/ 1358900 w 2368550"/>
              <a:gd name="connsiteY25" fmla="*/ 228600 h 800100"/>
              <a:gd name="connsiteX26" fmla="*/ 1330325 w 2368550"/>
              <a:gd name="connsiteY26" fmla="*/ 244475 h 800100"/>
              <a:gd name="connsiteX27" fmla="*/ 1273175 w 2368550"/>
              <a:gd name="connsiteY27" fmla="*/ 250825 h 800100"/>
              <a:gd name="connsiteX28" fmla="*/ 1273175 w 2368550"/>
              <a:gd name="connsiteY28" fmla="*/ 250825 h 800100"/>
              <a:gd name="connsiteX29" fmla="*/ 1228725 w 2368550"/>
              <a:gd name="connsiteY29" fmla="*/ 260350 h 800100"/>
              <a:gd name="connsiteX30" fmla="*/ 1193800 w 2368550"/>
              <a:gd name="connsiteY30" fmla="*/ 266700 h 800100"/>
              <a:gd name="connsiteX31" fmla="*/ 1193800 w 2368550"/>
              <a:gd name="connsiteY31" fmla="*/ 266700 h 800100"/>
              <a:gd name="connsiteX32" fmla="*/ 1146175 w 2368550"/>
              <a:gd name="connsiteY32" fmla="*/ 282575 h 800100"/>
              <a:gd name="connsiteX33" fmla="*/ 1098550 w 2368550"/>
              <a:gd name="connsiteY33" fmla="*/ 282575 h 800100"/>
              <a:gd name="connsiteX34" fmla="*/ 1066800 w 2368550"/>
              <a:gd name="connsiteY34" fmla="*/ 288925 h 800100"/>
              <a:gd name="connsiteX35" fmla="*/ 1025525 w 2368550"/>
              <a:gd name="connsiteY35" fmla="*/ 323850 h 800100"/>
              <a:gd name="connsiteX36" fmla="*/ 981075 w 2368550"/>
              <a:gd name="connsiteY36" fmla="*/ 336550 h 800100"/>
              <a:gd name="connsiteX37" fmla="*/ 946150 w 2368550"/>
              <a:gd name="connsiteY37" fmla="*/ 336550 h 800100"/>
              <a:gd name="connsiteX38" fmla="*/ 911225 w 2368550"/>
              <a:gd name="connsiteY38" fmla="*/ 355600 h 800100"/>
              <a:gd name="connsiteX39" fmla="*/ 911225 w 2368550"/>
              <a:gd name="connsiteY39" fmla="*/ 355600 h 800100"/>
              <a:gd name="connsiteX40" fmla="*/ 854075 w 2368550"/>
              <a:gd name="connsiteY40" fmla="*/ 365125 h 800100"/>
              <a:gd name="connsiteX41" fmla="*/ 812800 w 2368550"/>
              <a:gd name="connsiteY41" fmla="*/ 387350 h 800100"/>
              <a:gd name="connsiteX42" fmla="*/ 758825 w 2368550"/>
              <a:gd name="connsiteY42" fmla="*/ 403225 h 800100"/>
              <a:gd name="connsiteX43" fmla="*/ 708025 w 2368550"/>
              <a:gd name="connsiteY43" fmla="*/ 422275 h 800100"/>
              <a:gd name="connsiteX44" fmla="*/ 669925 w 2368550"/>
              <a:gd name="connsiteY44" fmla="*/ 444500 h 800100"/>
              <a:gd name="connsiteX45" fmla="*/ 612775 w 2368550"/>
              <a:gd name="connsiteY45" fmla="*/ 447675 h 800100"/>
              <a:gd name="connsiteX46" fmla="*/ 568325 w 2368550"/>
              <a:gd name="connsiteY46" fmla="*/ 469900 h 800100"/>
              <a:gd name="connsiteX47" fmla="*/ 536575 w 2368550"/>
              <a:gd name="connsiteY47" fmla="*/ 485775 h 800100"/>
              <a:gd name="connsiteX48" fmla="*/ 501650 w 2368550"/>
              <a:gd name="connsiteY48" fmla="*/ 504825 h 800100"/>
              <a:gd name="connsiteX49" fmla="*/ 454025 w 2368550"/>
              <a:gd name="connsiteY49" fmla="*/ 539750 h 800100"/>
              <a:gd name="connsiteX50" fmla="*/ 384175 w 2368550"/>
              <a:gd name="connsiteY50" fmla="*/ 558800 h 800100"/>
              <a:gd name="connsiteX51" fmla="*/ 317500 w 2368550"/>
              <a:gd name="connsiteY51" fmla="*/ 577850 h 800100"/>
              <a:gd name="connsiteX52" fmla="*/ 282575 w 2368550"/>
              <a:gd name="connsiteY52" fmla="*/ 593725 h 800100"/>
              <a:gd name="connsiteX53" fmla="*/ 241300 w 2368550"/>
              <a:gd name="connsiteY53" fmla="*/ 622300 h 800100"/>
              <a:gd name="connsiteX54" fmla="*/ 193675 w 2368550"/>
              <a:gd name="connsiteY54" fmla="*/ 657225 h 800100"/>
              <a:gd name="connsiteX55" fmla="*/ 149225 w 2368550"/>
              <a:gd name="connsiteY55" fmla="*/ 679450 h 800100"/>
              <a:gd name="connsiteX56" fmla="*/ 101600 w 2368550"/>
              <a:gd name="connsiteY56" fmla="*/ 714375 h 800100"/>
              <a:gd name="connsiteX57" fmla="*/ 50800 w 2368550"/>
              <a:gd name="connsiteY57" fmla="*/ 739775 h 800100"/>
              <a:gd name="connsiteX58" fmla="*/ 15875 w 2368550"/>
              <a:gd name="connsiteY58" fmla="*/ 758825 h 800100"/>
              <a:gd name="connsiteX59" fmla="*/ 0 w 2368550"/>
              <a:gd name="connsiteY59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2368550" h="800100">
                <a:moveTo>
                  <a:pt x="2368550" y="0"/>
                </a:moveTo>
                <a:lnTo>
                  <a:pt x="2333625" y="22225"/>
                </a:lnTo>
                <a:lnTo>
                  <a:pt x="2301875" y="22225"/>
                </a:lnTo>
                <a:lnTo>
                  <a:pt x="2254250" y="22225"/>
                </a:lnTo>
                <a:lnTo>
                  <a:pt x="2222500" y="15875"/>
                </a:lnTo>
                <a:lnTo>
                  <a:pt x="2178050" y="53975"/>
                </a:lnTo>
                <a:lnTo>
                  <a:pt x="2155825" y="69850"/>
                </a:lnTo>
                <a:lnTo>
                  <a:pt x="2120900" y="69850"/>
                </a:lnTo>
                <a:lnTo>
                  <a:pt x="2120900" y="69850"/>
                </a:lnTo>
                <a:lnTo>
                  <a:pt x="2089150" y="82550"/>
                </a:lnTo>
                <a:lnTo>
                  <a:pt x="2038350" y="82550"/>
                </a:lnTo>
                <a:lnTo>
                  <a:pt x="2000250" y="82550"/>
                </a:lnTo>
                <a:lnTo>
                  <a:pt x="1974850" y="98425"/>
                </a:lnTo>
                <a:lnTo>
                  <a:pt x="1901825" y="104775"/>
                </a:lnTo>
                <a:lnTo>
                  <a:pt x="1838325" y="111125"/>
                </a:lnTo>
                <a:lnTo>
                  <a:pt x="1784350" y="107950"/>
                </a:lnTo>
                <a:lnTo>
                  <a:pt x="1784350" y="107950"/>
                </a:lnTo>
                <a:lnTo>
                  <a:pt x="1711325" y="133350"/>
                </a:lnTo>
                <a:lnTo>
                  <a:pt x="1682750" y="146050"/>
                </a:lnTo>
                <a:lnTo>
                  <a:pt x="1628775" y="158750"/>
                </a:lnTo>
                <a:lnTo>
                  <a:pt x="1600200" y="171450"/>
                </a:lnTo>
                <a:lnTo>
                  <a:pt x="1555750" y="184150"/>
                </a:lnTo>
                <a:lnTo>
                  <a:pt x="1524000" y="187325"/>
                </a:lnTo>
                <a:lnTo>
                  <a:pt x="1473200" y="212725"/>
                </a:lnTo>
                <a:lnTo>
                  <a:pt x="1435100" y="222250"/>
                </a:lnTo>
                <a:lnTo>
                  <a:pt x="1358900" y="228600"/>
                </a:lnTo>
                <a:lnTo>
                  <a:pt x="1330325" y="244475"/>
                </a:lnTo>
                <a:lnTo>
                  <a:pt x="1273175" y="250825"/>
                </a:lnTo>
                <a:lnTo>
                  <a:pt x="1273175" y="250825"/>
                </a:lnTo>
                <a:lnTo>
                  <a:pt x="1228725" y="260350"/>
                </a:lnTo>
                <a:lnTo>
                  <a:pt x="1193800" y="266700"/>
                </a:lnTo>
                <a:lnTo>
                  <a:pt x="1193800" y="266700"/>
                </a:lnTo>
                <a:lnTo>
                  <a:pt x="1146175" y="282575"/>
                </a:lnTo>
                <a:lnTo>
                  <a:pt x="1098550" y="282575"/>
                </a:lnTo>
                <a:lnTo>
                  <a:pt x="1066800" y="288925"/>
                </a:lnTo>
                <a:lnTo>
                  <a:pt x="1025525" y="323850"/>
                </a:lnTo>
                <a:lnTo>
                  <a:pt x="981075" y="336550"/>
                </a:lnTo>
                <a:lnTo>
                  <a:pt x="946150" y="336550"/>
                </a:lnTo>
                <a:lnTo>
                  <a:pt x="911225" y="355600"/>
                </a:lnTo>
                <a:lnTo>
                  <a:pt x="911225" y="355600"/>
                </a:lnTo>
                <a:lnTo>
                  <a:pt x="854075" y="365125"/>
                </a:lnTo>
                <a:lnTo>
                  <a:pt x="812800" y="387350"/>
                </a:lnTo>
                <a:lnTo>
                  <a:pt x="758825" y="403225"/>
                </a:lnTo>
                <a:lnTo>
                  <a:pt x="708025" y="422275"/>
                </a:lnTo>
                <a:lnTo>
                  <a:pt x="669925" y="444500"/>
                </a:lnTo>
                <a:lnTo>
                  <a:pt x="612775" y="447675"/>
                </a:lnTo>
                <a:lnTo>
                  <a:pt x="568325" y="469900"/>
                </a:lnTo>
                <a:lnTo>
                  <a:pt x="536575" y="485775"/>
                </a:lnTo>
                <a:lnTo>
                  <a:pt x="501650" y="504825"/>
                </a:lnTo>
                <a:lnTo>
                  <a:pt x="454025" y="539750"/>
                </a:lnTo>
                <a:lnTo>
                  <a:pt x="384175" y="558800"/>
                </a:lnTo>
                <a:lnTo>
                  <a:pt x="317500" y="577850"/>
                </a:lnTo>
                <a:lnTo>
                  <a:pt x="282575" y="593725"/>
                </a:lnTo>
                <a:lnTo>
                  <a:pt x="241300" y="622300"/>
                </a:lnTo>
                <a:lnTo>
                  <a:pt x="193675" y="657225"/>
                </a:lnTo>
                <a:lnTo>
                  <a:pt x="149225" y="679450"/>
                </a:lnTo>
                <a:lnTo>
                  <a:pt x="101600" y="714375"/>
                </a:lnTo>
                <a:lnTo>
                  <a:pt x="50800" y="739775"/>
                </a:lnTo>
                <a:lnTo>
                  <a:pt x="15875" y="758825"/>
                </a:lnTo>
                <a:lnTo>
                  <a:pt x="0" y="800100"/>
                </a:lnTo>
              </a:path>
            </a:pathLst>
          </a:custGeom>
          <a:ln w="19050" cmpd="sng"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438" tIns="45719" rIns="91438" bIns="45719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50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Freeform 30"/>
          <p:cNvSpPr/>
          <p:nvPr/>
        </p:nvSpPr>
        <p:spPr>
          <a:xfrm>
            <a:off x="3636963" y="2397814"/>
            <a:ext cx="2390775" cy="999000"/>
          </a:xfrm>
          <a:custGeom>
            <a:avLst/>
            <a:gdLst>
              <a:gd name="connsiteX0" fmla="*/ 2390775 w 2390775"/>
              <a:gd name="connsiteY0" fmla="*/ 0 h 749300"/>
              <a:gd name="connsiteX1" fmla="*/ 2359025 w 2390775"/>
              <a:gd name="connsiteY1" fmla="*/ 19050 h 749300"/>
              <a:gd name="connsiteX2" fmla="*/ 2311400 w 2390775"/>
              <a:gd name="connsiteY2" fmla="*/ 19050 h 749300"/>
              <a:gd name="connsiteX3" fmla="*/ 2270125 w 2390775"/>
              <a:gd name="connsiteY3" fmla="*/ 19050 h 749300"/>
              <a:gd name="connsiteX4" fmla="*/ 2232025 w 2390775"/>
              <a:gd name="connsiteY4" fmla="*/ 28575 h 749300"/>
              <a:gd name="connsiteX5" fmla="*/ 2203450 w 2390775"/>
              <a:gd name="connsiteY5" fmla="*/ 44450 h 749300"/>
              <a:gd name="connsiteX6" fmla="*/ 2162175 w 2390775"/>
              <a:gd name="connsiteY6" fmla="*/ 57150 h 749300"/>
              <a:gd name="connsiteX7" fmla="*/ 2098675 w 2390775"/>
              <a:gd name="connsiteY7" fmla="*/ 60325 h 749300"/>
              <a:gd name="connsiteX8" fmla="*/ 2041525 w 2390775"/>
              <a:gd name="connsiteY8" fmla="*/ 66675 h 749300"/>
              <a:gd name="connsiteX9" fmla="*/ 1990725 w 2390775"/>
              <a:gd name="connsiteY9" fmla="*/ 76200 h 749300"/>
              <a:gd name="connsiteX10" fmla="*/ 1952625 w 2390775"/>
              <a:gd name="connsiteY10" fmla="*/ 88900 h 749300"/>
              <a:gd name="connsiteX11" fmla="*/ 1905000 w 2390775"/>
              <a:gd name="connsiteY11" fmla="*/ 95250 h 749300"/>
              <a:gd name="connsiteX12" fmla="*/ 1866900 w 2390775"/>
              <a:gd name="connsiteY12" fmla="*/ 92075 h 749300"/>
              <a:gd name="connsiteX13" fmla="*/ 1828800 w 2390775"/>
              <a:gd name="connsiteY13" fmla="*/ 111125 h 749300"/>
              <a:gd name="connsiteX14" fmla="*/ 1774825 w 2390775"/>
              <a:gd name="connsiteY14" fmla="*/ 111125 h 749300"/>
              <a:gd name="connsiteX15" fmla="*/ 1727200 w 2390775"/>
              <a:gd name="connsiteY15" fmla="*/ 117475 h 749300"/>
              <a:gd name="connsiteX16" fmla="*/ 1695450 w 2390775"/>
              <a:gd name="connsiteY16" fmla="*/ 123825 h 749300"/>
              <a:gd name="connsiteX17" fmla="*/ 1635125 w 2390775"/>
              <a:gd name="connsiteY17" fmla="*/ 142875 h 749300"/>
              <a:gd name="connsiteX18" fmla="*/ 1584325 w 2390775"/>
              <a:gd name="connsiteY18" fmla="*/ 152400 h 749300"/>
              <a:gd name="connsiteX19" fmla="*/ 1546225 w 2390775"/>
              <a:gd name="connsiteY19" fmla="*/ 155575 h 749300"/>
              <a:gd name="connsiteX20" fmla="*/ 1546225 w 2390775"/>
              <a:gd name="connsiteY20" fmla="*/ 155575 h 749300"/>
              <a:gd name="connsiteX21" fmla="*/ 1498600 w 2390775"/>
              <a:gd name="connsiteY21" fmla="*/ 174625 h 749300"/>
              <a:gd name="connsiteX22" fmla="*/ 1450975 w 2390775"/>
              <a:gd name="connsiteY22" fmla="*/ 187325 h 749300"/>
              <a:gd name="connsiteX23" fmla="*/ 1416050 w 2390775"/>
              <a:gd name="connsiteY23" fmla="*/ 200025 h 749300"/>
              <a:gd name="connsiteX24" fmla="*/ 1381125 w 2390775"/>
              <a:gd name="connsiteY24" fmla="*/ 215900 h 749300"/>
              <a:gd name="connsiteX25" fmla="*/ 1346200 w 2390775"/>
              <a:gd name="connsiteY25" fmla="*/ 219075 h 749300"/>
              <a:gd name="connsiteX26" fmla="*/ 1327150 w 2390775"/>
              <a:gd name="connsiteY26" fmla="*/ 241300 h 749300"/>
              <a:gd name="connsiteX27" fmla="*/ 1285875 w 2390775"/>
              <a:gd name="connsiteY27" fmla="*/ 241300 h 749300"/>
              <a:gd name="connsiteX28" fmla="*/ 1247775 w 2390775"/>
              <a:gd name="connsiteY28" fmla="*/ 241300 h 749300"/>
              <a:gd name="connsiteX29" fmla="*/ 1190625 w 2390775"/>
              <a:gd name="connsiteY29" fmla="*/ 257175 h 749300"/>
              <a:gd name="connsiteX30" fmla="*/ 1127125 w 2390775"/>
              <a:gd name="connsiteY30" fmla="*/ 273050 h 749300"/>
              <a:gd name="connsiteX31" fmla="*/ 1069975 w 2390775"/>
              <a:gd name="connsiteY31" fmla="*/ 288925 h 749300"/>
              <a:gd name="connsiteX32" fmla="*/ 1003300 w 2390775"/>
              <a:gd name="connsiteY32" fmla="*/ 307975 h 749300"/>
              <a:gd name="connsiteX33" fmla="*/ 946150 w 2390775"/>
              <a:gd name="connsiteY33" fmla="*/ 323850 h 749300"/>
              <a:gd name="connsiteX34" fmla="*/ 914400 w 2390775"/>
              <a:gd name="connsiteY34" fmla="*/ 333375 h 749300"/>
              <a:gd name="connsiteX35" fmla="*/ 876300 w 2390775"/>
              <a:gd name="connsiteY35" fmla="*/ 342900 h 749300"/>
              <a:gd name="connsiteX36" fmla="*/ 831850 w 2390775"/>
              <a:gd name="connsiteY36" fmla="*/ 352425 h 749300"/>
              <a:gd name="connsiteX37" fmla="*/ 787400 w 2390775"/>
              <a:gd name="connsiteY37" fmla="*/ 374650 h 749300"/>
              <a:gd name="connsiteX38" fmla="*/ 749300 w 2390775"/>
              <a:gd name="connsiteY38" fmla="*/ 387350 h 749300"/>
              <a:gd name="connsiteX39" fmla="*/ 714375 w 2390775"/>
              <a:gd name="connsiteY39" fmla="*/ 403225 h 749300"/>
              <a:gd name="connsiteX40" fmla="*/ 666750 w 2390775"/>
              <a:gd name="connsiteY40" fmla="*/ 422275 h 749300"/>
              <a:gd name="connsiteX41" fmla="*/ 615950 w 2390775"/>
              <a:gd name="connsiteY41" fmla="*/ 444500 h 749300"/>
              <a:gd name="connsiteX42" fmla="*/ 565150 w 2390775"/>
              <a:gd name="connsiteY42" fmla="*/ 463550 h 749300"/>
              <a:gd name="connsiteX43" fmla="*/ 530225 w 2390775"/>
              <a:gd name="connsiteY43" fmla="*/ 476250 h 749300"/>
              <a:gd name="connsiteX44" fmla="*/ 485775 w 2390775"/>
              <a:gd name="connsiteY44" fmla="*/ 495300 h 749300"/>
              <a:gd name="connsiteX45" fmla="*/ 422275 w 2390775"/>
              <a:gd name="connsiteY45" fmla="*/ 511175 h 749300"/>
              <a:gd name="connsiteX46" fmla="*/ 374650 w 2390775"/>
              <a:gd name="connsiteY46" fmla="*/ 530225 h 749300"/>
              <a:gd name="connsiteX47" fmla="*/ 339725 w 2390775"/>
              <a:gd name="connsiteY47" fmla="*/ 549275 h 749300"/>
              <a:gd name="connsiteX48" fmla="*/ 304800 w 2390775"/>
              <a:gd name="connsiteY48" fmla="*/ 571500 h 749300"/>
              <a:gd name="connsiteX49" fmla="*/ 257175 w 2390775"/>
              <a:gd name="connsiteY49" fmla="*/ 593725 h 749300"/>
              <a:gd name="connsiteX50" fmla="*/ 203200 w 2390775"/>
              <a:gd name="connsiteY50" fmla="*/ 628650 h 749300"/>
              <a:gd name="connsiteX51" fmla="*/ 155575 w 2390775"/>
              <a:gd name="connsiteY51" fmla="*/ 650875 h 749300"/>
              <a:gd name="connsiteX52" fmla="*/ 117475 w 2390775"/>
              <a:gd name="connsiteY52" fmla="*/ 663575 h 749300"/>
              <a:gd name="connsiteX53" fmla="*/ 82550 w 2390775"/>
              <a:gd name="connsiteY53" fmla="*/ 695325 h 749300"/>
              <a:gd name="connsiteX54" fmla="*/ 57150 w 2390775"/>
              <a:gd name="connsiteY54" fmla="*/ 720725 h 749300"/>
              <a:gd name="connsiteX55" fmla="*/ 22225 w 2390775"/>
              <a:gd name="connsiteY55" fmla="*/ 733425 h 749300"/>
              <a:gd name="connsiteX56" fmla="*/ 0 w 2390775"/>
              <a:gd name="connsiteY56" fmla="*/ 749300 h 74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2390775" h="749300">
                <a:moveTo>
                  <a:pt x="2390775" y="0"/>
                </a:moveTo>
                <a:lnTo>
                  <a:pt x="2359025" y="19050"/>
                </a:lnTo>
                <a:lnTo>
                  <a:pt x="2311400" y="19050"/>
                </a:lnTo>
                <a:lnTo>
                  <a:pt x="2270125" y="19050"/>
                </a:lnTo>
                <a:lnTo>
                  <a:pt x="2232025" y="28575"/>
                </a:lnTo>
                <a:lnTo>
                  <a:pt x="2203450" y="44450"/>
                </a:lnTo>
                <a:lnTo>
                  <a:pt x="2162175" y="57150"/>
                </a:lnTo>
                <a:lnTo>
                  <a:pt x="2098675" y="60325"/>
                </a:lnTo>
                <a:lnTo>
                  <a:pt x="2041525" y="66675"/>
                </a:lnTo>
                <a:lnTo>
                  <a:pt x="1990725" y="76200"/>
                </a:lnTo>
                <a:lnTo>
                  <a:pt x="1952625" y="88900"/>
                </a:lnTo>
                <a:lnTo>
                  <a:pt x="1905000" y="95250"/>
                </a:lnTo>
                <a:lnTo>
                  <a:pt x="1866900" y="92075"/>
                </a:lnTo>
                <a:lnTo>
                  <a:pt x="1828800" y="111125"/>
                </a:lnTo>
                <a:lnTo>
                  <a:pt x="1774825" y="111125"/>
                </a:lnTo>
                <a:lnTo>
                  <a:pt x="1727200" y="117475"/>
                </a:lnTo>
                <a:lnTo>
                  <a:pt x="1695450" y="123825"/>
                </a:lnTo>
                <a:lnTo>
                  <a:pt x="1635125" y="142875"/>
                </a:lnTo>
                <a:lnTo>
                  <a:pt x="1584325" y="152400"/>
                </a:lnTo>
                <a:lnTo>
                  <a:pt x="1546225" y="155575"/>
                </a:lnTo>
                <a:lnTo>
                  <a:pt x="1546225" y="155575"/>
                </a:lnTo>
                <a:lnTo>
                  <a:pt x="1498600" y="174625"/>
                </a:lnTo>
                <a:lnTo>
                  <a:pt x="1450975" y="187325"/>
                </a:lnTo>
                <a:lnTo>
                  <a:pt x="1416050" y="200025"/>
                </a:lnTo>
                <a:lnTo>
                  <a:pt x="1381125" y="215900"/>
                </a:lnTo>
                <a:lnTo>
                  <a:pt x="1346200" y="219075"/>
                </a:lnTo>
                <a:lnTo>
                  <a:pt x="1327150" y="241300"/>
                </a:lnTo>
                <a:lnTo>
                  <a:pt x="1285875" y="241300"/>
                </a:lnTo>
                <a:lnTo>
                  <a:pt x="1247775" y="241300"/>
                </a:lnTo>
                <a:lnTo>
                  <a:pt x="1190625" y="257175"/>
                </a:lnTo>
                <a:lnTo>
                  <a:pt x="1127125" y="273050"/>
                </a:lnTo>
                <a:lnTo>
                  <a:pt x="1069975" y="288925"/>
                </a:lnTo>
                <a:lnTo>
                  <a:pt x="1003300" y="307975"/>
                </a:lnTo>
                <a:lnTo>
                  <a:pt x="946150" y="323850"/>
                </a:lnTo>
                <a:lnTo>
                  <a:pt x="914400" y="333375"/>
                </a:lnTo>
                <a:lnTo>
                  <a:pt x="876300" y="342900"/>
                </a:lnTo>
                <a:lnTo>
                  <a:pt x="831850" y="352425"/>
                </a:lnTo>
                <a:lnTo>
                  <a:pt x="787400" y="374650"/>
                </a:lnTo>
                <a:lnTo>
                  <a:pt x="749300" y="387350"/>
                </a:lnTo>
                <a:lnTo>
                  <a:pt x="714375" y="403225"/>
                </a:lnTo>
                <a:lnTo>
                  <a:pt x="666750" y="422275"/>
                </a:lnTo>
                <a:lnTo>
                  <a:pt x="615950" y="444500"/>
                </a:lnTo>
                <a:lnTo>
                  <a:pt x="565150" y="463550"/>
                </a:lnTo>
                <a:lnTo>
                  <a:pt x="530225" y="476250"/>
                </a:lnTo>
                <a:lnTo>
                  <a:pt x="485775" y="495300"/>
                </a:lnTo>
                <a:lnTo>
                  <a:pt x="422275" y="511175"/>
                </a:lnTo>
                <a:lnTo>
                  <a:pt x="374650" y="530225"/>
                </a:lnTo>
                <a:lnTo>
                  <a:pt x="339725" y="549275"/>
                </a:lnTo>
                <a:lnTo>
                  <a:pt x="304800" y="571500"/>
                </a:lnTo>
                <a:lnTo>
                  <a:pt x="257175" y="593725"/>
                </a:lnTo>
                <a:lnTo>
                  <a:pt x="203200" y="628650"/>
                </a:lnTo>
                <a:lnTo>
                  <a:pt x="155575" y="650875"/>
                </a:lnTo>
                <a:lnTo>
                  <a:pt x="117475" y="663575"/>
                </a:lnTo>
                <a:lnTo>
                  <a:pt x="82550" y="695325"/>
                </a:lnTo>
                <a:lnTo>
                  <a:pt x="57150" y="720725"/>
                </a:lnTo>
                <a:lnTo>
                  <a:pt x="22225" y="733425"/>
                </a:lnTo>
                <a:lnTo>
                  <a:pt x="0" y="749300"/>
                </a:lnTo>
              </a:path>
            </a:pathLst>
          </a:custGeom>
          <a:ln w="19050" cmpd="sng">
            <a:solidFill>
              <a:srgbClr val="3F9C3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438" tIns="45719" rIns="91438" bIns="45719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50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TextBox 33"/>
          <p:cNvSpPr txBox="1">
            <a:spLocks noChangeArrowheads="1"/>
          </p:cNvSpPr>
          <p:nvPr/>
        </p:nvSpPr>
        <p:spPr bwMode="auto">
          <a:xfrm>
            <a:off x="4624716" y="3721830"/>
            <a:ext cx="424795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nths</a:t>
            </a:r>
          </a:p>
        </p:txBody>
      </p:sp>
      <p:sp>
        <p:nvSpPr>
          <p:cNvPr id="33" name="TextBox 47"/>
          <p:cNvSpPr txBox="1">
            <a:spLocks noChangeArrowheads="1"/>
          </p:cNvSpPr>
          <p:nvPr/>
        </p:nvSpPr>
        <p:spPr bwMode="auto">
          <a:xfrm>
            <a:off x="5576888" y="3102662"/>
            <a:ext cx="4520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ogliptin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cebo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5219700" y="3307370"/>
            <a:ext cx="287338" cy="0"/>
          </a:xfrm>
          <a:prstGeom prst="line">
            <a:avLst/>
          </a:prstGeom>
          <a:ln w="19050" cmpd="sng"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5219700" y="3173372"/>
            <a:ext cx="287338" cy="0"/>
          </a:xfrm>
          <a:prstGeom prst="line">
            <a:avLst/>
          </a:prstGeom>
          <a:ln w="19050" cmpd="sng">
            <a:solidFill>
              <a:srgbClr val="3F9C3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Box 118"/>
          <p:cNvSpPr txBox="1">
            <a:spLocks noChangeArrowheads="1"/>
          </p:cNvSpPr>
          <p:nvPr/>
        </p:nvSpPr>
        <p:spPr bwMode="auto">
          <a:xfrm>
            <a:off x="8328245" y="3089433"/>
            <a:ext cx="46968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tagliptin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cebo</a:t>
            </a:r>
          </a:p>
        </p:txBody>
      </p:sp>
      <p:cxnSp>
        <p:nvCxnSpPr>
          <p:cNvPr id="38" name="Straight Connector 37"/>
          <p:cNvCxnSpPr/>
          <p:nvPr/>
        </p:nvCxnSpPr>
        <p:spPr>
          <a:xfrm>
            <a:off x="7986256" y="3304113"/>
            <a:ext cx="275111" cy="0"/>
          </a:xfrm>
          <a:prstGeom prst="line">
            <a:avLst/>
          </a:prstGeom>
          <a:ln w="19050" cmpd="sng"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7986256" y="3188597"/>
            <a:ext cx="275111" cy="0"/>
          </a:xfrm>
          <a:prstGeom prst="line">
            <a:avLst/>
          </a:prstGeom>
          <a:ln w="19050" cmpd="sng">
            <a:solidFill>
              <a:srgbClr val="7030A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15" name="Group 114"/>
          <p:cNvGrpSpPr>
            <a:grpSpLocks/>
          </p:cNvGrpSpPr>
          <p:nvPr/>
        </p:nvGrpSpPr>
        <p:grpSpPr>
          <a:xfrm>
            <a:off x="6545580" y="2416265"/>
            <a:ext cx="2403000" cy="999000"/>
            <a:chOff x="8761578" y="2878151"/>
            <a:chExt cx="2954779" cy="1649650"/>
          </a:xfrm>
        </p:grpSpPr>
        <p:grpSp>
          <p:nvGrpSpPr>
            <p:cNvPr id="116" name="Group 6"/>
            <p:cNvGrpSpPr>
              <a:grpSpLocks/>
            </p:cNvGrpSpPr>
            <p:nvPr/>
          </p:nvGrpSpPr>
          <p:grpSpPr bwMode="auto">
            <a:xfrm>
              <a:off x="11602869" y="2938948"/>
              <a:ext cx="58771" cy="243192"/>
              <a:chOff x="4283968" y="4443958"/>
              <a:chExt cx="73025" cy="113407"/>
            </a:xfrm>
          </p:grpSpPr>
          <p:cxnSp>
            <p:nvCxnSpPr>
              <p:cNvPr id="187" name="Straight Connector 186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 flipV="1">
                <a:off x="4321739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7" name="Group 117"/>
            <p:cNvGrpSpPr>
              <a:grpSpLocks/>
            </p:cNvGrpSpPr>
            <p:nvPr/>
          </p:nvGrpSpPr>
          <p:grpSpPr bwMode="auto">
            <a:xfrm>
              <a:off x="11234027" y="3076757"/>
              <a:ext cx="58771" cy="210766"/>
              <a:chOff x="4283968" y="4443958"/>
              <a:chExt cx="73025" cy="113407"/>
            </a:xfrm>
          </p:grpSpPr>
          <p:cxnSp>
            <p:nvCxnSpPr>
              <p:cNvPr id="184" name="Straight Connector 183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 flipV="1">
                <a:off x="4321739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8" name="Group 124"/>
            <p:cNvGrpSpPr>
              <a:grpSpLocks/>
            </p:cNvGrpSpPr>
            <p:nvPr/>
          </p:nvGrpSpPr>
          <p:grpSpPr bwMode="auto">
            <a:xfrm>
              <a:off x="10873294" y="3214567"/>
              <a:ext cx="58771" cy="188473"/>
              <a:chOff x="4283968" y="4443958"/>
              <a:chExt cx="73025" cy="113407"/>
            </a:xfrm>
          </p:grpSpPr>
          <p:cxnSp>
            <p:nvCxnSpPr>
              <p:cNvPr id="181" name="Straight Connector 180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 flipV="1">
                <a:off x="4321739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9" name="Group 131"/>
            <p:cNvGrpSpPr>
              <a:grpSpLocks/>
            </p:cNvGrpSpPr>
            <p:nvPr/>
          </p:nvGrpSpPr>
          <p:grpSpPr bwMode="auto">
            <a:xfrm>
              <a:off x="10508506" y="3419252"/>
              <a:ext cx="58771" cy="166181"/>
              <a:chOff x="4283968" y="4443958"/>
              <a:chExt cx="73025" cy="113407"/>
            </a:xfrm>
          </p:grpSpPr>
          <p:cxnSp>
            <p:nvCxnSpPr>
              <p:cNvPr id="178" name="Straight Connector 177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 flipV="1">
                <a:off x="4321739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0" name="Group 137"/>
            <p:cNvGrpSpPr>
              <a:grpSpLocks/>
            </p:cNvGrpSpPr>
            <p:nvPr/>
          </p:nvGrpSpPr>
          <p:grpSpPr bwMode="auto">
            <a:xfrm>
              <a:off x="10147772" y="3605698"/>
              <a:ext cx="58771" cy="145915"/>
              <a:chOff x="4283968" y="4443958"/>
              <a:chExt cx="73025" cy="113407"/>
            </a:xfrm>
          </p:grpSpPr>
          <p:cxnSp>
            <p:nvCxnSpPr>
              <p:cNvPr id="175" name="Straight Connector 174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 flipV="1">
                <a:off x="4321739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1" name="Group 141"/>
            <p:cNvGrpSpPr>
              <a:grpSpLocks/>
            </p:cNvGrpSpPr>
            <p:nvPr/>
          </p:nvGrpSpPr>
          <p:grpSpPr bwMode="auto">
            <a:xfrm>
              <a:off x="9782984" y="3790120"/>
              <a:ext cx="58771" cy="137808"/>
              <a:chOff x="4283968" y="4443958"/>
              <a:chExt cx="73025" cy="113407"/>
            </a:xfrm>
          </p:grpSpPr>
          <p:cxnSp>
            <p:nvCxnSpPr>
              <p:cNvPr id="172" name="Straight Connector 171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 flipV="1">
                <a:off x="4321739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2" name="Group 145"/>
            <p:cNvGrpSpPr>
              <a:grpSpLocks/>
            </p:cNvGrpSpPr>
            <p:nvPr/>
          </p:nvGrpSpPr>
          <p:grpSpPr bwMode="auto">
            <a:xfrm>
              <a:off x="9420222" y="3990752"/>
              <a:ext cx="58772" cy="115517"/>
              <a:chOff x="4283968" y="4443958"/>
              <a:chExt cx="73025" cy="113407"/>
            </a:xfrm>
          </p:grpSpPr>
          <p:cxnSp>
            <p:nvCxnSpPr>
              <p:cNvPr id="169" name="Straight Connector 168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Straight Connector 169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 flipV="1">
                <a:off x="4321740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3" name="Group 149"/>
            <p:cNvGrpSpPr>
              <a:grpSpLocks/>
            </p:cNvGrpSpPr>
            <p:nvPr/>
          </p:nvGrpSpPr>
          <p:grpSpPr bwMode="auto">
            <a:xfrm>
              <a:off x="9181084" y="4142747"/>
              <a:ext cx="58772" cy="105383"/>
              <a:chOff x="4283968" y="4443958"/>
              <a:chExt cx="73025" cy="113407"/>
            </a:xfrm>
          </p:grpSpPr>
          <p:cxnSp>
            <p:nvCxnSpPr>
              <p:cNvPr id="166" name="Straight Connector 165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Straight Connector 166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/>
            </p:nvCxnSpPr>
            <p:spPr>
              <a:xfrm flipV="1">
                <a:off x="4321740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4" name="Group 153"/>
            <p:cNvGrpSpPr>
              <a:grpSpLocks/>
            </p:cNvGrpSpPr>
            <p:nvPr/>
          </p:nvGrpSpPr>
          <p:grpSpPr bwMode="auto">
            <a:xfrm>
              <a:off x="8945998" y="4296769"/>
              <a:ext cx="56745" cy="83090"/>
              <a:chOff x="4283968" y="4443958"/>
              <a:chExt cx="73025" cy="113407"/>
            </a:xfrm>
          </p:grpSpPr>
          <p:cxnSp>
            <p:nvCxnSpPr>
              <p:cNvPr id="163" name="Straight Connector 162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/>
            </p:nvCxnSpPr>
            <p:spPr>
              <a:xfrm flipV="1">
                <a:off x="4320480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5" name="Group 157"/>
            <p:cNvGrpSpPr>
              <a:grpSpLocks/>
            </p:cNvGrpSpPr>
            <p:nvPr/>
          </p:nvGrpSpPr>
          <p:grpSpPr bwMode="auto">
            <a:xfrm>
              <a:off x="11657585" y="2878151"/>
              <a:ext cx="58772" cy="253324"/>
              <a:chOff x="4283968" y="4443958"/>
              <a:chExt cx="73025" cy="113407"/>
            </a:xfrm>
          </p:grpSpPr>
          <p:cxnSp>
            <p:nvCxnSpPr>
              <p:cNvPr id="160" name="Straight Connector 159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160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 flipV="1">
                <a:off x="4321740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  <a:prstDash val="sys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6" name="Group 161"/>
            <p:cNvGrpSpPr>
              <a:grpSpLocks/>
            </p:cNvGrpSpPr>
            <p:nvPr/>
          </p:nvGrpSpPr>
          <p:grpSpPr bwMode="auto">
            <a:xfrm>
              <a:off x="11292797" y="3060545"/>
              <a:ext cx="58772" cy="220898"/>
              <a:chOff x="4283968" y="4443958"/>
              <a:chExt cx="73025" cy="113407"/>
            </a:xfrm>
          </p:grpSpPr>
          <p:cxnSp>
            <p:nvCxnSpPr>
              <p:cNvPr id="157" name="Straight Connector 156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157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158"/>
              <p:cNvCxnSpPr/>
              <p:nvPr/>
            </p:nvCxnSpPr>
            <p:spPr>
              <a:xfrm flipV="1">
                <a:off x="4321740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  <a:prstDash val="sys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7" name="Group 165"/>
            <p:cNvGrpSpPr>
              <a:grpSpLocks/>
            </p:cNvGrpSpPr>
            <p:nvPr/>
          </p:nvGrpSpPr>
          <p:grpSpPr bwMode="auto">
            <a:xfrm>
              <a:off x="10932064" y="3202407"/>
              <a:ext cx="58772" cy="188473"/>
              <a:chOff x="4283968" y="4443958"/>
              <a:chExt cx="73025" cy="113407"/>
            </a:xfrm>
          </p:grpSpPr>
          <p:cxnSp>
            <p:nvCxnSpPr>
              <p:cNvPr id="154" name="Straight Connector 153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154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/>
            </p:nvCxnSpPr>
            <p:spPr>
              <a:xfrm flipV="1">
                <a:off x="4321740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  <a:prstDash val="sys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8" name="Group 169"/>
            <p:cNvGrpSpPr>
              <a:grpSpLocks/>
            </p:cNvGrpSpPr>
            <p:nvPr/>
          </p:nvGrpSpPr>
          <p:grpSpPr bwMode="auto">
            <a:xfrm>
              <a:off x="10567276" y="3390879"/>
              <a:ext cx="58772" cy="170234"/>
              <a:chOff x="4283968" y="4443958"/>
              <a:chExt cx="73025" cy="113407"/>
            </a:xfrm>
          </p:grpSpPr>
          <p:cxnSp>
            <p:nvCxnSpPr>
              <p:cNvPr id="151" name="Straight Connector 150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152"/>
              <p:cNvCxnSpPr/>
              <p:nvPr/>
            </p:nvCxnSpPr>
            <p:spPr>
              <a:xfrm flipV="1">
                <a:off x="4321740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  <a:prstDash val="sys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9" name="Group 173"/>
            <p:cNvGrpSpPr>
              <a:grpSpLocks/>
            </p:cNvGrpSpPr>
            <p:nvPr/>
          </p:nvGrpSpPr>
          <p:grpSpPr bwMode="auto">
            <a:xfrm>
              <a:off x="10210595" y="3585433"/>
              <a:ext cx="58772" cy="151996"/>
              <a:chOff x="4283968" y="4443958"/>
              <a:chExt cx="73025" cy="113407"/>
            </a:xfrm>
          </p:grpSpPr>
          <p:cxnSp>
            <p:nvCxnSpPr>
              <p:cNvPr id="148" name="Straight Connector 147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/>
            </p:nvCxnSpPr>
            <p:spPr>
              <a:xfrm flipV="1">
                <a:off x="4321740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  <a:prstDash val="sys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0" name="Group 177"/>
            <p:cNvGrpSpPr>
              <a:grpSpLocks/>
            </p:cNvGrpSpPr>
            <p:nvPr/>
          </p:nvGrpSpPr>
          <p:grpSpPr bwMode="auto">
            <a:xfrm>
              <a:off x="9847835" y="3798226"/>
              <a:ext cx="56745" cy="137808"/>
              <a:chOff x="4283968" y="4443958"/>
              <a:chExt cx="73025" cy="113407"/>
            </a:xfrm>
          </p:grpSpPr>
          <p:cxnSp>
            <p:nvCxnSpPr>
              <p:cNvPr id="145" name="Straight Connector 144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/>
              <p:cNvCxnSpPr/>
              <p:nvPr/>
            </p:nvCxnSpPr>
            <p:spPr>
              <a:xfrm flipV="1">
                <a:off x="4320480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  <a:prstDash val="sys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1" name="Group 181"/>
            <p:cNvGrpSpPr>
              <a:grpSpLocks/>
            </p:cNvGrpSpPr>
            <p:nvPr/>
          </p:nvGrpSpPr>
          <p:grpSpPr bwMode="auto">
            <a:xfrm>
              <a:off x="9481020" y="4015071"/>
              <a:ext cx="58772" cy="113489"/>
              <a:chOff x="4283968" y="4443958"/>
              <a:chExt cx="73025" cy="113407"/>
            </a:xfrm>
          </p:grpSpPr>
          <p:cxnSp>
            <p:nvCxnSpPr>
              <p:cNvPr id="142" name="Straight Connector 141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/>
              <p:cNvCxnSpPr/>
              <p:nvPr/>
            </p:nvCxnSpPr>
            <p:spPr>
              <a:xfrm flipV="1">
                <a:off x="4321740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  <a:prstDash val="sys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2" name="Group 185"/>
            <p:cNvGrpSpPr>
              <a:grpSpLocks/>
            </p:cNvGrpSpPr>
            <p:nvPr/>
          </p:nvGrpSpPr>
          <p:grpSpPr bwMode="auto">
            <a:xfrm>
              <a:off x="9239856" y="4148828"/>
              <a:ext cx="58771" cy="101330"/>
              <a:chOff x="4283968" y="4443958"/>
              <a:chExt cx="73025" cy="113407"/>
            </a:xfrm>
          </p:grpSpPr>
          <p:cxnSp>
            <p:nvCxnSpPr>
              <p:cNvPr id="139" name="Straight Connector 138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/>
              <p:cNvCxnSpPr/>
              <p:nvPr/>
            </p:nvCxnSpPr>
            <p:spPr>
              <a:xfrm flipV="1">
                <a:off x="4321739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  <a:prstDash val="sys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3" name="Group 189"/>
            <p:cNvGrpSpPr>
              <a:grpSpLocks/>
            </p:cNvGrpSpPr>
            <p:nvPr/>
          </p:nvGrpSpPr>
          <p:grpSpPr bwMode="auto">
            <a:xfrm>
              <a:off x="9002743" y="4306902"/>
              <a:ext cx="58772" cy="101330"/>
              <a:chOff x="4283968" y="4443958"/>
              <a:chExt cx="73025" cy="113407"/>
            </a:xfrm>
          </p:grpSpPr>
          <p:cxnSp>
            <p:nvCxnSpPr>
              <p:cNvPr id="136" name="Straight Connector 135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/>
              <p:cNvCxnSpPr/>
              <p:nvPr/>
            </p:nvCxnSpPr>
            <p:spPr>
              <a:xfrm flipV="1">
                <a:off x="4321740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  <a:prstDash val="sys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4" name="Freeform 191"/>
            <p:cNvSpPr>
              <a:spLocks/>
            </p:cNvSpPr>
            <p:nvPr/>
          </p:nvSpPr>
          <p:spPr bwMode="auto">
            <a:xfrm>
              <a:off x="8761579" y="3064598"/>
              <a:ext cx="2930459" cy="1451043"/>
            </a:xfrm>
            <a:custGeom>
              <a:avLst/>
              <a:gdLst>
                <a:gd name="T0" fmla="*/ 2147483647 w 1446"/>
                <a:gd name="T1" fmla="*/ 2147483647 h 716"/>
                <a:gd name="T2" fmla="*/ 2147483647 w 1446"/>
                <a:gd name="T3" fmla="*/ 2147483647 h 716"/>
                <a:gd name="T4" fmla="*/ 2147483647 w 1446"/>
                <a:gd name="T5" fmla="*/ 2147483647 h 716"/>
                <a:gd name="T6" fmla="*/ 2147483647 w 1446"/>
                <a:gd name="T7" fmla="*/ 2147483647 h 716"/>
                <a:gd name="T8" fmla="*/ 2147483647 w 1446"/>
                <a:gd name="T9" fmla="*/ 2147483647 h 716"/>
                <a:gd name="T10" fmla="*/ 2147483647 w 1446"/>
                <a:gd name="T11" fmla="*/ 2147483647 h 716"/>
                <a:gd name="T12" fmla="*/ 2147483647 w 1446"/>
                <a:gd name="T13" fmla="*/ 2147483647 h 716"/>
                <a:gd name="T14" fmla="*/ 2147483647 w 1446"/>
                <a:gd name="T15" fmla="*/ 2147483647 h 716"/>
                <a:gd name="T16" fmla="*/ 2147483647 w 1446"/>
                <a:gd name="T17" fmla="*/ 2147483647 h 716"/>
                <a:gd name="T18" fmla="*/ 2147483647 w 1446"/>
                <a:gd name="T19" fmla="*/ 2147483647 h 716"/>
                <a:gd name="T20" fmla="*/ 2147483647 w 1446"/>
                <a:gd name="T21" fmla="*/ 2147483647 h 716"/>
                <a:gd name="T22" fmla="*/ 2147483647 w 1446"/>
                <a:gd name="T23" fmla="*/ 2147483647 h 716"/>
                <a:gd name="T24" fmla="*/ 2147483647 w 1446"/>
                <a:gd name="T25" fmla="*/ 2147483647 h 716"/>
                <a:gd name="T26" fmla="*/ 2147483647 w 1446"/>
                <a:gd name="T27" fmla="*/ 2147483647 h 716"/>
                <a:gd name="T28" fmla="*/ 2147483647 w 1446"/>
                <a:gd name="T29" fmla="*/ 2147483647 h 716"/>
                <a:gd name="T30" fmla="*/ 2147483647 w 1446"/>
                <a:gd name="T31" fmla="*/ 2147483647 h 716"/>
                <a:gd name="T32" fmla="*/ 2147483647 w 1446"/>
                <a:gd name="T33" fmla="*/ 2147483647 h 716"/>
                <a:gd name="T34" fmla="*/ 2147483647 w 1446"/>
                <a:gd name="T35" fmla="*/ 2147483647 h 716"/>
                <a:gd name="T36" fmla="*/ 2147483647 w 1446"/>
                <a:gd name="T37" fmla="*/ 2147483647 h 716"/>
                <a:gd name="T38" fmla="*/ 2147483647 w 1446"/>
                <a:gd name="T39" fmla="*/ 2147483647 h 716"/>
                <a:gd name="T40" fmla="*/ 2147483647 w 1446"/>
                <a:gd name="T41" fmla="*/ 2147483647 h 716"/>
                <a:gd name="T42" fmla="*/ 2147483647 w 1446"/>
                <a:gd name="T43" fmla="*/ 2147483647 h 716"/>
                <a:gd name="T44" fmla="*/ 2147483647 w 1446"/>
                <a:gd name="T45" fmla="*/ 2147483647 h 716"/>
                <a:gd name="T46" fmla="*/ 2147483647 w 1446"/>
                <a:gd name="T47" fmla="*/ 2147483647 h 716"/>
                <a:gd name="T48" fmla="*/ 2147483647 w 1446"/>
                <a:gd name="T49" fmla="*/ 2147483647 h 716"/>
                <a:gd name="T50" fmla="*/ 2147483647 w 1446"/>
                <a:gd name="T51" fmla="*/ 2147483647 h 716"/>
                <a:gd name="T52" fmla="*/ 2147483647 w 1446"/>
                <a:gd name="T53" fmla="*/ 2147483647 h 716"/>
                <a:gd name="T54" fmla="*/ 2147483647 w 1446"/>
                <a:gd name="T55" fmla="*/ 2147483647 h 716"/>
                <a:gd name="T56" fmla="*/ 2147483647 w 1446"/>
                <a:gd name="T57" fmla="*/ 2147483647 h 716"/>
                <a:gd name="T58" fmla="*/ 2147483647 w 1446"/>
                <a:gd name="T59" fmla="*/ 2147483647 h 716"/>
                <a:gd name="T60" fmla="*/ 2147483647 w 1446"/>
                <a:gd name="T61" fmla="*/ 2147483647 h 716"/>
                <a:gd name="T62" fmla="*/ 2147483647 w 1446"/>
                <a:gd name="T63" fmla="*/ 2147483647 h 716"/>
                <a:gd name="T64" fmla="*/ 2147483647 w 1446"/>
                <a:gd name="T65" fmla="*/ 2147483647 h 716"/>
                <a:gd name="T66" fmla="*/ 2147483647 w 1446"/>
                <a:gd name="T67" fmla="*/ 2147483647 h 716"/>
                <a:gd name="T68" fmla="*/ 2147483647 w 1446"/>
                <a:gd name="T69" fmla="*/ 2147483647 h 716"/>
                <a:gd name="T70" fmla="*/ 2147483647 w 1446"/>
                <a:gd name="T71" fmla="*/ 2147483647 h 716"/>
                <a:gd name="T72" fmla="*/ 2147483647 w 1446"/>
                <a:gd name="T73" fmla="*/ 2147483647 h 716"/>
                <a:gd name="T74" fmla="*/ 2147483647 w 1446"/>
                <a:gd name="T75" fmla="*/ 2147483647 h 716"/>
                <a:gd name="T76" fmla="*/ 2147483647 w 1446"/>
                <a:gd name="T77" fmla="*/ 2147483647 h 716"/>
                <a:gd name="T78" fmla="*/ 2147483647 w 1446"/>
                <a:gd name="T79" fmla="*/ 2147483647 h 716"/>
                <a:gd name="T80" fmla="*/ 2147483647 w 1446"/>
                <a:gd name="T81" fmla="*/ 2147483647 h 716"/>
                <a:gd name="T82" fmla="*/ 2147483647 w 1446"/>
                <a:gd name="T83" fmla="*/ 2147483647 h 716"/>
                <a:gd name="T84" fmla="*/ 2147483647 w 1446"/>
                <a:gd name="T85" fmla="*/ 2147483647 h 716"/>
                <a:gd name="T86" fmla="*/ 2147483647 w 1446"/>
                <a:gd name="T87" fmla="*/ 2147483647 h 716"/>
                <a:gd name="T88" fmla="*/ 2147483647 w 1446"/>
                <a:gd name="T89" fmla="*/ 2147483647 h 716"/>
                <a:gd name="T90" fmla="*/ 2147483647 w 1446"/>
                <a:gd name="T91" fmla="*/ 2147483647 h 716"/>
                <a:gd name="T92" fmla="*/ 2147483647 w 1446"/>
                <a:gd name="T93" fmla="*/ 2147483647 h 716"/>
                <a:gd name="T94" fmla="*/ 2147483647 w 1446"/>
                <a:gd name="T95" fmla="*/ 2147483647 h 716"/>
                <a:gd name="T96" fmla="*/ 2147483647 w 1446"/>
                <a:gd name="T97" fmla="*/ 2147483647 h 716"/>
                <a:gd name="T98" fmla="*/ 2147483647 w 1446"/>
                <a:gd name="T99" fmla="*/ 2147483647 h 716"/>
                <a:gd name="T100" fmla="*/ 2147483647 w 1446"/>
                <a:gd name="T101" fmla="*/ 2147483647 h 716"/>
                <a:gd name="T102" fmla="*/ 2147483647 w 1446"/>
                <a:gd name="T103" fmla="*/ 2147483647 h 716"/>
                <a:gd name="T104" fmla="*/ 2147483647 w 1446"/>
                <a:gd name="T105" fmla="*/ 2147483647 h 716"/>
                <a:gd name="T106" fmla="*/ 2147483647 w 1446"/>
                <a:gd name="T107" fmla="*/ 2147483647 h 716"/>
                <a:gd name="T108" fmla="*/ 2147483647 w 1446"/>
                <a:gd name="T109" fmla="*/ 2147483647 h 71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446" h="716">
                  <a:moveTo>
                    <a:pt x="1446" y="0"/>
                  </a:moveTo>
                  <a:lnTo>
                    <a:pt x="1416" y="0"/>
                  </a:lnTo>
                  <a:lnTo>
                    <a:pt x="1416" y="6"/>
                  </a:lnTo>
                  <a:lnTo>
                    <a:pt x="1404" y="6"/>
                  </a:lnTo>
                  <a:lnTo>
                    <a:pt x="1404" y="18"/>
                  </a:lnTo>
                  <a:lnTo>
                    <a:pt x="1380" y="18"/>
                  </a:lnTo>
                  <a:lnTo>
                    <a:pt x="1362" y="18"/>
                  </a:lnTo>
                  <a:lnTo>
                    <a:pt x="1362" y="24"/>
                  </a:lnTo>
                  <a:lnTo>
                    <a:pt x="1344" y="24"/>
                  </a:lnTo>
                  <a:lnTo>
                    <a:pt x="1338" y="24"/>
                  </a:lnTo>
                  <a:lnTo>
                    <a:pt x="1338" y="30"/>
                  </a:lnTo>
                  <a:lnTo>
                    <a:pt x="1314" y="30"/>
                  </a:lnTo>
                  <a:lnTo>
                    <a:pt x="1314" y="36"/>
                  </a:lnTo>
                  <a:lnTo>
                    <a:pt x="1290" y="36"/>
                  </a:lnTo>
                  <a:lnTo>
                    <a:pt x="1290" y="42"/>
                  </a:lnTo>
                  <a:lnTo>
                    <a:pt x="1278" y="42"/>
                  </a:lnTo>
                  <a:lnTo>
                    <a:pt x="1278" y="48"/>
                  </a:lnTo>
                  <a:lnTo>
                    <a:pt x="1272" y="48"/>
                  </a:lnTo>
                  <a:lnTo>
                    <a:pt x="1272" y="54"/>
                  </a:lnTo>
                  <a:lnTo>
                    <a:pt x="1260" y="54"/>
                  </a:lnTo>
                  <a:lnTo>
                    <a:pt x="1260" y="60"/>
                  </a:lnTo>
                  <a:lnTo>
                    <a:pt x="1242" y="60"/>
                  </a:lnTo>
                  <a:lnTo>
                    <a:pt x="1242" y="66"/>
                  </a:lnTo>
                  <a:lnTo>
                    <a:pt x="1230" y="66"/>
                  </a:lnTo>
                  <a:lnTo>
                    <a:pt x="1230" y="72"/>
                  </a:lnTo>
                  <a:lnTo>
                    <a:pt x="1212" y="72"/>
                  </a:lnTo>
                  <a:lnTo>
                    <a:pt x="1212" y="78"/>
                  </a:lnTo>
                  <a:lnTo>
                    <a:pt x="1194" y="78"/>
                  </a:lnTo>
                  <a:lnTo>
                    <a:pt x="1188" y="78"/>
                  </a:lnTo>
                  <a:lnTo>
                    <a:pt x="1188" y="84"/>
                  </a:lnTo>
                  <a:lnTo>
                    <a:pt x="1176" y="84"/>
                  </a:lnTo>
                  <a:lnTo>
                    <a:pt x="1176" y="90"/>
                  </a:lnTo>
                  <a:lnTo>
                    <a:pt x="1164" y="90"/>
                  </a:lnTo>
                  <a:lnTo>
                    <a:pt x="1164" y="96"/>
                  </a:lnTo>
                  <a:lnTo>
                    <a:pt x="1140" y="96"/>
                  </a:lnTo>
                  <a:lnTo>
                    <a:pt x="1128" y="96"/>
                  </a:lnTo>
                  <a:lnTo>
                    <a:pt x="1128" y="102"/>
                  </a:lnTo>
                  <a:lnTo>
                    <a:pt x="1116" y="102"/>
                  </a:lnTo>
                  <a:lnTo>
                    <a:pt x="1116" y="108"/>
                  </a:lnTo>
                  <a:lnTo>
                    <a:pt x="1104" y="108"/>
                  </a:lnTo>
                  <a:lnTo>
                    <a:pt x="1092" y="108"/>
                  </a:lnTo>
                  <a:lnTo>
                    <a:pt x="1092" y="114"/>
                  </a:lnTo>
                  <a:lnTo>
                    <a:pt x="1080" y="114"/>
                  </a:lnTo>
                  <a:lnTo>
                    <a:pt x="1080" y="120"/>
                  </a:lnTo>
                  <a:lnTo>
                    <a:pt x="1068" y="120"/>
                  </a:lnTo>
                  <a:lnTo>
                    <a:pt x="1068" y="126"/>
                  </a:lnTo>
                  <a:lnTo>
                    <a:pt x="1056" y="126"/>
                  </a:lnTo>
                  <a:lnTo>
                    <a:pt x="1056" y="132"/>
                  </a:lnTo>
                  <a:lnTo>
                    <a:pt x="1044" y="132"/>
                  </a:lnTo>
                  <a:lnTo>
                    <a:pt x="1044" y="138"/>
                  </a:lnTo>
                  <a:lnTo>
                    <a:pt x="1038" y="138"/>
                  </a:lnTo>
                  <a:lnTo>
                    <a:pt x="1038" y="144"/>
                  </a:lnTo>
                  <a:lnTo>
                    <a:pt x="1026" y="144"/>
                  </a:lnTo>
                  <a:lnTo>
                    <a:pt x="1026" y="150"/>
                  </a:lnTo>
                  <a:lnTo>
                    <a:pt x="1020" y="150"/>
                  </a:lnTo>
                  <a:lnTo>
                    <a:pt x="1002" y="150"/>
                  </a:lnTo>
                  <a:lnTo>
                    <a:pt x="1002" y="156"/>
                  </a:lnTo>
                  <a:lnTo>
                    <a:pt x="990" y="156"/>
                  </a:lnTo>
                  <a:lnTo>
                    <a:pt x="990" y="162"/>
                  </a:lnTo>
                  <a:lnTo>
                    <a:pt x="978" y="162"/>
                  </a:lnTo>
                  <a:lnTo>
                    <a:pt x="978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74"/>
                  </a:lnTo>
                  <a:lnTo>
                    <a:pt x="960" y="181"/>
                  </a:lnTo>
                  <a:lnTo>
                    <a:pt x="948" y="181"/>
                  </a:lnTo>
                  <a:lnTo>
                    <a:pt x="948" y="187"/>
                  </a:lnTo>
                  <a:lnTo>
                    <a:pt x="936" y="187"/>
                  </a:lnTo>
                  <a:lnTo>
                    <a:pt x="936" y="193"/>
                  </a:lnTo>
                  <a:lnTo>
                    <a:pt x="918" y="193"/>
                  </a:lnTo>
                  <a:lnTo>
                    <a:pt x="918" y="199"/>
                  </a:lnTo>
                  <a:lnTo>
                    <a:pt x="912" y="199"/>
                  </a:lnTo>
                  <a:lnTo>
                    <a:pt x="912" y="205"/>
                  </a:lnTo>
                  <a:lnTo>
                    <a:pt x="906" y="205"/>
                  </a:lnTo>
                  <a:lnTo>
                    <a:pt x="906" y="217"/>
                  </a:lnTo>
                  <a:lnTo>
                    <a:pt x="894" y="217"/>
                  </a:lnTo>
                  <a:lnTo>
                    <a:pt x="882" y="217"/>
                  </a:lnTo>
                  <a:lnTo>
                    <a:pt x="882" y="223"/>
                  </a:lnTo>
                  <a:lnTo>
                    <a:pt x="876" y="223"/>
                  </a:lnTo>
                  <a:lnTo>
                    <a:pt x="876" y="229"/>
                  </a:lnTo>
                  <a:lnTo>
                    <a:pt x="858" y="229"/>
                  </a:lnTo>
                  <a:lnTo>
                    <a:pt x="858" y="235"/>
                  </a:lnTo>
                  <a:lnTo>
                    <a:pt x="846" y="235"/>
                  </a:lnTo>
                  <a:lnTo>
                    <a:pt x="846" y="241"/>
                  </a:lnTo>
                  <a:lnTo>
                    <a:pt x="828" y="241"/>
                  </a:lnTo>
                  <a:lnTo>
                    <a:pt x="828" y="253"/>
                  </a:lnTo>
                  <a:lnTo>
                    <a:pt x="822" y="253"/>
                  </a:lnTo>
                  <a:lnTo>
                    <a:pt x="822" y="259"/>
                  </a:lnTo>
                  <a:lnTo>
                    <a:pt x="810" y="259"/>
                  </a:lnTo>
                  <a:lnTo>
                    <a:pt x="810" y="265"/>
                  </a:lnTo>
                  <a:lnTo>
                    <a:pt x="798" y="265"/>
                  </a:lnTo>
                  <a:lnTo>
                    <a:pt x="798" y="271"/>
                  </a:lnTo>
                  <a:lnTo>
                    <a:pt x="786" y="271"/>
                  </a:lnTo>
                  <a:lnTo>
                    <a:pt x="786" y="277"/>
                  </a:lnTo>
                  <a:lnTo>
                    <a:pt x="768" y="277"/>
                  </a:lnTo>
                  <a:lnTo>
                    <a:pt x="768" y="289"/>
                  </a:lnTo>
                  <a:lnTo>
                    <a:pt x="744" y="289"/>
                  </a:lnTo>
                  <a:lnTo>
                    <a:pt x="744" y="295"/>
                  </a:lnTo>
                  <a:lnTo>
                    <a:pt x="726" y="295"/>
                  </a:lnTo>
                  <a:lnTo>
                    <a:pt x="726" y="307"/>
                  </a:lnTo>
                  <a:lnTo>
                    <a:pt x="708" y="307"/>
                  </a:lnTo>
                  <a:lnTo>
                    <a:pt x="708" y="313"/>
                  </a:lnTo>
                  <a:lnTo>
                    <a:pt x="696" y="313"/>
                  </a:lnTo>
                  <a:lnTo>
                    <a:pt x="696" y="319"/>
                  </a:lnTo>
                  <a:lnTo>
                    <a:pt x="684" y="319"/>
                  </a:lnTo>
                  <a:lnTo>
                    <a:pt x="684" y="325"/>
                  </a:lnTo>
                  <a:lnTo>
                    <a:pt x="666" y="325"/>
                  </a:lnTo>
                  <a:lnTo>
                    <a:pt x="666" y="337"/>
                  </a:lnTo>
                  <a:lnTo>
                    <a:pt x="648" y="337"/>
                  </a:lnTo>
                  <a:lnTo>
                    <a:pt x="624" y="337"/>
                  </a:lnTo>
                  <a:lnTo>
                    <a:pt x="624" y="349"/>
                  </a:lnTo>
                  <a:lnTo>
                    <a:pt x="612" y="349"/>
                  </a:lnTo>
                  <a:lnTo>
                    <a:pt x="612" y="355"/>
                  </a:lnTo>
                  <a:lnTo>
                    <a:pt x="600" y="355"/>
                  </a:lnTo>
                  <a:lnTo>
                    <a:pt x="600" y="361"/>
                  </a:lnTo>
                  <a:lnTo>
                    <a:pt x="588" y="361"/>
                  </a:lnTo>
                  <a:lnTo>
                    <a:pt x="588" y="367"/>
                  </a:lnTo>
                  <a:lnTo>
                    <a:pt x="570" y="367"/>
                  </a:lnTo>
                  <a:lnTo>
                    <a:pt x="570" y="373"/>
                  </a:lnTo>
                  <a:lnTo>
                    <a:pt x="552" y="373"/>
                  </a:lnTo>
                  <a:lnTo>
                    <a:pt x="552" y="385"/>
                  </a:lnTo>
                  <a:lnTo>
                    <a:pt x="540" y="385"/>
                  </a:lnTo>
                  <a:lnTo>
                    <a:pt x="540" y="391"/>
                  </a:lnTo>
                  <a:lnTo>
                    <a:pt x="516" y="391"/>
                  </a:lnTo>
                  <a:lnTo>
                    <a:pt x="516" y="397"/>
                  </a:lnTo>
                  <a:lnTo>
                    <a:pt x="504" y="397"/>
                  </a:lnTo>
                  <a:lnTo>
                    <a:pt x="504" y="403"/>
                  </a:lnTo>
                  <a:lnTo>
                    <a:pt x="492" y="403"/>
                  </a:lnTo>
                  <a:lnTo>
                    <a:pt x="492" y="409"/>
                  </a:lnTo>
                  <a:lnTo>
                    <a:pt x="474" y="409"/>
                  </a:lnTo>
                  <a:lnTo>
                    <a:pt x="474" y="421"/>
                  </a:lnTo>
                  <a:lnTo>
                    <a:pt x="462" y="421"/>
                  </a:lnTo>
                  <a:lnTo>
                    <a:pt x="456" y="421"/>
                  </a:lnTo>
                  <a:lnTo>
                    <a:pt x="456" y="427"/>
                  </a:lnTo>
                  <a:lnTo>
                    <a:pt x="444" y="427"/>
                  </a:lnTo>
                  <a:lnTo>
                    <a:pt x="444" y="433"/>
                  </a:lnTo>
                  <a:lnTo>
                    <a:pt x="432" y="433"/>
                  </a:lnTo>
                  <a:lnTo>
                    <a:pt x="432" y="445"/>
                  </a:lnTo>
                  <a:lnTo>
                    <a:pt x="420" y="445"/>
                  </a:lnTo>
                  <a:lnTo>
                    <a:pt x="420" y="451"/>
                  </a:lnTo>
                  <a:lnTo>
                    <a:pt x="414" y="451"/>
                  </a:lnTo>
                  <a:lnTo>
                    <a:pt x="414" y="457"/>
                  </a:lnTo>
                  <a:lnTo>
                    <a:pt x="402" y="457"/>
                  </a:lnTo>
                  <a:lnTo>
                    <a:pt x="402" y="463"/>
                  </a:lnTo>
                  <a:lnTo>
                    <a:pt x="396" y="463"/>
                  </a:lnTo>
                  <a:lnTo>
                    <a:pt x="396" y="469"/>
                  </a:lnTo>
                  <a:lnTo>
                    <a:pt x="384" y="469"/>
                  </a:lnTo>
                  <a:lnTo>
                    <a:pt x="384" y="475"/>
                  </a:lnTo>
                  <a:lnTo>
                    <a:pt x="366" y="475"/>
                  </a:lnTo>
                  <a:lnTo>
                    <a:pt x="366" y="481"/>
                  </a:lnTo>
                  <a:lnTo>
                    <a:pt x="360" y="481"/>
                  </a:lnTo>
                  <a:lnTo>
                    <a:pt x="360" y="487"/>
                  </a:lnTo>
                  <a:lnTo>
                    <a:pt x="348" y="487"/>
                  </a:lnTo>
                  <a:lnTo>
                    <a:pt x="348" y="493"/>
                  </a:lnTo>
                  <a:lnTo>
                    <a:pt x="330" y="493"/>
                  </a:lnTo>
                  <a:lnTo>
                    <a:pt x="330" y="505"/>
                  </a:lnTo>
                  <a:lnTo>
                    <a:pt x="318" y="505"/>
                  </a:lnTo>
                  <a:lnTo>
                    <a:pt x="318" y="511"/>
                  </a:lnTo>
                  <a:lnTo>
                    <a:pt x="312" y="511"/>
                  </a:lnTo>
                  <a:lnTo>
                    <a:pt x="312" y="517"/>
                  </a:lnTo>
                  <a:lnTo>
                    <a:pt x="300" y="517"/>
                  </a:lnTo>
                  <a:lnTo>
                    <a:pt x="300" y="523"/>
                  </a:lnTo>
                  <a:lnTo>
                    <a:pt x="288" y="523"/>
                  </a:lnTo>
                  <a:lnTo>
                    <a:pt x="288" y="535"/>
                  </a:lnTo>
                  <a:lnTo>
                    <a:pt x="282" y="535"/>
                  </a:lnTo>
                  <a:lnTo>
                    <a:pt x="282" y="541"/>
                  </a:lnTo>
                  <a:lnTo>
                    <a:pt x="270" y="541"/>
                  </a:lnTo>
                  <a:lnTo>
                    <a:pt x="270" y="547"/>
                  </a:lnTo>
                  <a:lnTo>
                    <a:pt x="258" y="547"/>
                  </a:lnTo>
                  <a:lnTo>
                    <a:pt x="258" y="553"/>
                  </a:lnTo>
                  <a:lnTo>
                    <a:pt x="246" y="553"/>
                  </a:lnTo>
                  <a:lnTo>
                    <a:pt x="246" y="559"/>
                  </a:lnTo>
                  <a:lnTo>
                    <a:pt x="234" y="559"/>
                  </a:lnTo>
                  <a:lnTo>
                    <a:pt x="234" y="565"/>
                  </a:lnTo>
                  <a:lnTo>
                    <a:pt x="216" y="565"/>
                  </a:lnTo>
                  <a:lnTo>
                    <a:pt x="216" y="572"/>
                  </a:lnTo>
                  <a:lnTo>
                    <a:pt x="204" y="572"/>
                  </a:lnTo>
                  <a:lnTo>
                    <a:pt x="204" y="578"/>
                  </a:lnTo>
                  <a:lnTo>
                    <a:pt x="192" y="578"/>
                  </a:lnTo>
                  <a:lnTo>
                    <a:pt x="192" y="584"/>
                  </a:lnTo>
                  <a:lnTo>
                    <a:pt x="174" y="584"/>
                  </a:lnTo>
                  <a:lnTo>
                    <a:pt x="174" y="602"/>
                  </a:lnTo>
                  <a:lnTo>
                    <a:pt x="162" y="602"/>
                  </a:lnTo>
                  <a:lnTo>
                    <a:pt x="162" y="608"/>
                  </a:lnTo>
                  <a:lnTo>
                    <a:pt x="150" y="608"/>
                  </a:lnTo>
                  <a:lnTo>
                    <a:pt x="150" y="614"/>
                  </a:lnTo>
                  <a:lnTo>
                    <a:pt x="138" y="614"/>
                  </a:lnTo>
                  <a:lnTo>
                    <a:pt x="138" y="620"/>
                  </a:lnTo>
                  <a:lnTo>
                    <a:pt x="126" y="620"/>
                  </a:lnTo>
                  <a:lnTo>
                    <a:pt x="126" y="632"/>
                  </a:lnTo>
                  <a:lnTo>
                    <a:pt x="114" y="632"/>
                  </a:lnTo>
                  <a:lnTo>
                    <a:pt x="114" y="638"/>
                  </a:lnTo>
                  <a:lnTo>
                    <a:pt x="102" y="638"/>
                  </a:lnTo>
                  <a:lnTo>
                    <a:pt x="102" y="650"/>
                  </a:lnTo>
                  <a:lnTo>
                    <a:pt x="90" y="650"/>
                  </a:lnTo>
                  <a:lnTo>
                    <a:pt x="90" y="662"/>
                  </a:lnTo>
                  <a:lnTo>
                    <a:pt x="84" y="662"/>
                  </a:lnTo>
                  <a:lnTo>
                    <a:pt x="84" y="668"/>
                  </a:lnTo>
                  <a:lnTo>
                    <a:pt x="72" y="668"/>
                  </a:lnTo>
                  <a:lnTo>
                    <a:pt x="72" y="680"/>
                  </a:lnTo>
                  <a:lnTo>
                    <a:pt x="66" y="680"/>
                  </a:lnTo>
                  <a:lnTo>
                    <a:pt x="66" y="686"/>
                  </a:lnTo>
                  <a:lnTo>
                    <a:pt x="48" y="686"/>
                  </a:lnTo>
                  <a:lnTo>
                    <a:pt x="48" y="692"/>
                  </a:lnTo>
                  <a:lnTo>
                    <a:pt x="36" y="692"/>
                  </a:lnTo>
                  <a:lnTo>
                    <a:pt x="36" y="704"/>
                  </a:lnTo>
                  <a:lnTo>
                    <a:pt x="24" y="704"/>
                  </a:lnTo>
                  <a:lnTo>
                    <a:pt x="24" y="710"/>
                  </a:lnTo>
                  <a:lnTo>
                    <a:pt x="12" y="710"/>
                  </a:lnTo>
                  <a:lnTo>
                    <a:pt x="12" y="716"/>
                  </a:lnTo>
                  <a:lnTo>
                    <a:pt x="6" y="716"/>
                  </a:lnTo>
                  <a:lnTo>
                    <a:pt x="0" y="716"/>
                  </a:lnTo>
                </a:path>
              </a:pathLst>
            </a:custGeom>
            <a:noFill/>
            <a:ln w="12700" cap="flat" cmpd="sng">
              <a:solidFill>
                <a:srgbClr val="7030A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91438" tIns="45719" rIns="91438" bIns="45719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5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5" name="Freeform 192"/>
            <p:cNvSpPr>
              <a:spLocks/>
            </p:cNvSpPr>
            <p:nvPr/>
          </p:nvSpPr>
          <p:spPr bwMode="auto">
            <a:xfrm>
              <a:off x="8761578" y="3003800"/>
              <a:ext cx="2918300" cy="1524001"/>
            </a:xfrm>
            <a:custGeom>
              <a:avLst/>
              <a:gdLst>
                <a:gd name="T0" fmla="*/ 2147483647 w 1440"/>
                <a:gd name="T1" fmla="*/ 2147483647 h 752"/>
                <a:gd name="T2" fmla="*/ 2147483647 w 1440"/>
                <a:gd name="T3" fmla="*/ 2147483647 h 752"/>
                <a:gd name="T4" fmla="*/ 2147483647 w 1440"/>
                <a:gd name="T5" fmla="*/ 2147483647 h 752"/>
                <a:gd name="T6" fmla="*/ 2147483647 w 1440"/>
                <a:gd name="T7" fmla="*/ 2147483647 h 752"/>
                <a:gd name="T8" fmla="*/ 2147483647 w 1440"/>
                <a:gd name="T9" fmla="*/ 2147483647 h 752"/>
                <a:gd name="T10" fmla="*/ 2147483647 w 1440"/>
                <a:gd name="T11" fmla="*/ 2147483647 h 752"/>
                <a:gd name="T12" fmla="*/ 2147483647 w 1440"/>
                <a:gd name="T13" fmla="*/ 2147483647 h 752"/>
                <a:gd name="T14" fmla="*/ 2147483647 w 1440"/>
                <a:gd name="T15" fmla="*/ 2147483647 h 752"/>
                <a:gd name="T16" fmla="*/ 2147483647 w 1440"/>
                <a:gd name="T17" fmla="*/ 2147483647 h 752"/>
                <a:gd name="T18" fmla="*/ 2147483647 w 1440"/>
                <a:gd name="T19" fmla="*/ 2147483647 h 752"/>
                <a:gd name="T20" fmla="*/ 2147483647 w 1440"/>
                <a:gd name="T21" fmla="*/ 2147483647 h 752"/>
                <a:gd name="T22" fmla="*/ 2147483647 w 1440"/>
                <a:gd name="T23" fmla="*/ 2147483647 h 752"/>
                <a:gd name="T24" fmla="*/ 2147483647 w 1440"/>
                <a:gd name="T25" fmla="*/ 2147483647 h 752"/>
                <a:gd name="T26" fmla="*/ 2147483647 w 1440"/>
                <a:gd name="T27" fmla="*/ 2147483647 h 752"/>
                <a:gd name="T28" fmla="*/ 2147483647 w 1440"/>
                <a:gd name="T29" fmla="*/ 2147483647 h 752"/>
                <a:gd name="T30" fmla="*/ 2147483647 w 1440"/>
                <a:gd name="T31" fmla="*/ 2147483647 h 752"/>
                <a:gd name="T32" fmla="*/ 2147483647 w 1440"/>
                <a:gd name="T33" fmla="*/ 2147483647 h 752"/>
                <a:gd name="T34" fmla="*/ 2147483647 w 1440"/>
                <a:gd name="T35" fmla="*/ 2147483647 h 752"/>
                <a:gd name="T36" fmla="*/ 2147483647 w 1440"/>
                <a:gd name="T37" fmla="*/ 2147483647 h 752"/>
                <a:gd name="T38" fmla="*/ 2147483647 w 1440"/>
                <a:gd name="T39" fmla="*/ 2147483647 h 752"/>
                <a:gd name="T40" fmla="*/ 2147483647 w 1440"/>
                <a:gd name="T41" fmla="*/ 2147483647 h 752"/>
                <a:gd name="T42" fmla="*/ 2147483647 w 1440"/>
                <a:gd name="T43" fmla="*/ 2147483647 h 752"/>
                <a:gd name="T44" fmla="*/ 2147483647 w 1440"/>
                <a:gd name="T45" fmla="*/ 2147483647 h 752"/>
                <a:gd name="T46" fmla="*/ 2147483647 w 1440"/>
                <a:gd name="T47" fmla="*/ 2147483647 h 752"/>
                <a:gd name="T48" fmla="*/ 2147483647 w 1440"/>
                <a:gd name="T49" fmla="*/ 2147483647 h 752"/>
                <a:gd name="T50" fmla="*/ 2147483647 w 1440"/>
                <a:gd name="T51" fmla="*/ 2147483647 h 752"/>
                <a:gd name="T52" fmla="*/ 2147483647 w 1440"/>
                <a:gd name="T53" fmla="*/ 2147483647 h 752"/>
                <a:gd name="T54" fmla="*/ 2147483647 w 1440"/>
                <a:gd name="T55" fmla="*/ 2147483647 h 752"/>
                <a:gd name="T56" fmla="*/ 2147483647 w 1440"/>
                <a:gd name="T57" fmla="*/ 2147483647 h 752"/>
                <a:gd name="T58" fmla="*/ 2147483647 w 1440"/>
                <a:gd name="T59" fmla="*/ 2147483647 h 752"/>
                <a:gd name="T60" fmla="*/ 2147483647 w 1440"/>
                <a:gd name="T61" fmla="*/ 2147483647 h 752"/>
                <a:gd name="T62" fmla="*/ 2147483647 w 1440"/>
                <a:gd name="T63" fmla="*/ 2147483647 h 752"/>
                <a:gd name="T64" fmla="*/ 2147483647 w 1440"/>
                <a:gd name="T65" fmla="*/ 2147483647 h 752"/>
                <a:gd name="T66" fmla="*/ 2147483647 w 1440"/>
                <a:gd name="T67" fmla="*/ 2147483647 h 752"/>
                <a:gd name="T68" fmla="*/ 2147483647 w 1440"/>
                <a:gd name="T69" fmla="*/ 2147483647 h 752"/>
                <a:gd name="T70" fmla="*/ 2147483647 w 1440"/>
                <a:gd name="T71" fmla="*/ 2147483647 h 752"/>
                <a:gd name="T72" fmla="*/ 2147483647 w 1440"/>
                <a:gd name="T73" fmla="*/ 2147483647 h 752"/>
                <a:gd name="T74" fmla="*/ 2147483647 w 1440"/>
                <a:gd name="T75" fmla="*/ 2147483647 h 752"/>
                <a:gd name="T76" fmla="*/ 2147483647 w 1440"/>
                <a:gd name="T77" fmla="*/ 2147483647 h 752"/>
                <a:gd name="T78" fmla="*/ 2147483647 w 1440"/>
                <a:gd name="T79" fmla="*/ 2147483647 h 752"/>
                <a:gd name="T80" fmla="*/ 2147483647 w 1440"/>
                <a:gd name="T81" fmla="*/ 2147483647 h 752"/>
                <a:gd name="T82" fmla="*/ 2147483647 w 1440"/>
                <a:gd name="T83" fmla="*/ 2147483647 h 752"/>
                <a:gd name="T84" fmla="*/ 2147483647 w 1440"/>
                <a:gd name="T85" fmla="*/ 2147483647 h 752"/>
                <a:gd name="T86" fmla="*/ 2147483647 w 1440"/>
                <a:gd name="T87" fmla="*/ 2147483647 h 752"/>
                <a:gd name="T88" fmla="*/ 2147483647 w 1440"/>
                <a:gd name="T89" fmla="*/ 2147483647 h 752"/>
                <a:gd name="T90" fmla="*/ 0 w 1440"/>
                <a:gd name="T91" fmla="*/ 2147483647 h 75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440" h="752">
                  <a:moveTo>
                    <a:pt x="1440" y="0"/>
                  </a:moveTo>
                  <a:lnTo>
                    <a:pt x="1410" y="0"/>
                  </a:lnTo>
                  <a:lnTo>
                    <a:pt x="1410" y="12"/>
                  </a:lnTo>
                  <a:lnTo>
                    <a:pt x="1392" y="12"/>
                  </a:lnTo>
                  <a:lnTo>
                    <a:pt x="1392" y="18"/>
                  </a:lnTo>
                  <a:lnTo>
                    <a:pt x="1368" y="18"/>
                  </a:lnTo>
                  <a:lnTo>
                    <a:pt x="1368" y="30"/>
                  </a:lnTo>
                  <a:lnTo>
                    <a:pt x="1326" y="30"/>
                  </a:lnTo>
                  <a:lnTo>
                    <a:pt x="1326" y="36"/>
                  </a:lnTo>
                  <a:lnTo>
                    <a:pt x="1308" y="36"/>
                  </a:lnTo>
                  <a:lnTo>
                    <a:pt x="1308" y="54"/>
                  </a:lnTo>
                  <a:lnTo>
                    <a:pt x="1290" y="54"/>
                  </a:lnTo>
                  <a:lnTo>
                    <a:pt x="1290" y="60"/>
                  </a:lnTo>
                  <a:lnTo>
                    <a:pt x="1266" y="60"/>
                  </a:lnTo>
                  <a:lnTo>
                    <a:pt x="1266" y="72"/>
                  </a:lnTo>
                  <a:lnTo>
                    <a:pt x="1260" y="72"/>
                  </a:lnTo>
                  <a:lnTo>
                    <a:pt x="1260" y="84"/>
                  </a:lnTo>
                  <a:lnTo>
                    <a:pt x="1242" y="84"/>
                  </a:lnTo>
                  <a:lnTo>
                    <a:pt x="1242" y="90"/>
                  </a:lnTo>
                  <a:lnTo>
                    <a:pt x="1206" y="90"/>
                  </a:lnTo>
                  <a:lnTo>
                    <a:pt x="1206" y="96"/>
                  </a:lnTo>
                  <a:lnTo>
                    <a:pt x="1176" y="96"/>
                  </a:lnTo>
                  <a:lnTo>
                    <a:pt x="1176" y="108"/>
                  </a:lnTo>
                  <a:lnTo>
                    <a:pt x="1170" y="108"/>
                  </a:lnTo>
                  <a:lnTo>
                    <a:pt x="1170" y="114"/>
                  </a:lnTo>
                  <a:lnTo>
                    <a:pt x="1140" y="114"/>
                  </a:lnTo>
                  <a:lnTo>
                    <a:pt x="1140" y="132"/>
                  </a:lnTo>
                  <a:lnTo>
                    <a:pt x="1116" y="132"/>
                  </a:lnTo>
                  <a:lnTo>
                    <a:pt x="1116" y="138"/>
                  </a:lnTo>
                  <a:lnTo>
                    <a:pt x="1092" y="138"/>
                  </a:lnTo>
                  <a:lnTo>
                    <a:pt x="1092" y="144"/>
                  </a:lnTo>
                  <a:lnTo>
                    <a:pt x="1074" y="144"/>
                  </a:lnTo>
                  <a:lnTo>
                    <a:pt x="1074" y="150"/>
                  </a:lnTo>
                  <a:lnTo>
                    <a:pt x="1056" y="150"/>
                  </a:lnTo>
                  <a:lnTo>
                    <a:pt x="1056" y="156"/>
                  </a:lnTo>
                  <a:lnTo>
                    <a:pt x="1038" y="156"/>
                  </a:lnTo>
                  <a:lnTo>
                    <a:pt x="1038" y="162"/>
                  </a:lnTo>
                  <a:lnTo>
                    <a:pt x="1014" y="162"/>
                  </a:lnTo>
                  <a:lnTo>
                    <a:pt x="1014" y="174"/>
                  </a:lnTo>
                  <a:lnTo>
                    <a:pt x="984" y="174"/>
                  </a:lnTo>
                  <a:lnTo>
                    <a:pt x="984" y="186"/>
                  </a:lnTo>
                  <a:lnTo>
                    <a:pt x="966" y="186"/>
                  </a:lnTo>
                  <a:lnTo>
                    <a:pt x="966" y="198"/>
                  </a:lnTo>
                  <a:lnTo>
                    <a:pt x="936" y="198"/>
                  </a:lnTo>
                  <a:lnTo>
                    <a:pt x="936" y="211"/>
                  </a:lnTo>
                  <a:lnTo>
                    <a:pt x="924" y="211"/>
                  </a:lnTo>
                  <a:lnTo>
                    <a:pt x="924" y="217"/>
                  </a:lnTo>
                  <a:lnTo>
                    <a:pt x="900" y="217"/>
                  </a:lnTo>
                  <a:lnTo>
                    <a:pt x="900" y="229"/>
                  </a:lnTo>
                  <a:lnTo>
                    <a:pt x="882" y="229"/>
                  </a:lnTo>
                  <a:lnTo>
                    <a:pt x="882" y="241"/>
                  </a:lnTo>
                  <a:lnTo>
                    <a:pt x="870" y="241"/>
                  </a:lnTo>
                  <a:lnTo>
                    <a:pt x="870" y="253"/>
                  </a:lnTo>
                  <a:lnTo>
                    <a:pt x="852" y="253"/>
                  </a:lnTo>
                  <a:lnTo>
                    <a:pt x="852" y="259"/>
                  </a:lnTo>
                  <a:lnTo>
                    <a:pt x="828" y="259"/>
                  </a:lnTo>
                  <a:lnTo>
                    <a:pt x="828" y="277"/>
                  </a:lnTo>
                  <a:lnTo>
                    <a:pt x="810" y="277"/>
                  </a:lnTo>
                  <a:lnTo>
                    <a:pt x="810" y="283"/>
                  </a:lnTo>
                  <a:lnTo>
                    <a:pt x="780" y="283"/>
                  </a:lnTo>
                  <a:lnTo>
                    <a:pt x="780" y="295"/>
                  </a:lnTo>
                  <a:lnTo>
                    <a:pt x="762" y="295"/>
                  </a:lnTo>
                  <a:lnTo>
                    <a:pt x="762" y="307"/>
                  </a:lnTo>
                  <a:lnTo>
                    <a:pt x="750" y="307"/>
                  </a:lnTo>
                  <a:lnTo>
                    <a:pt x="750" y="313"/>
                  </a:lnTo>
                  <a:lnTo>
                    <a:pt x="726" y="313"/>
                  </a:lnTo>
                  <a:lnTo>
                    <a:pt x="726" y="319"/>
                  </a:lnTo>
                  <a:lnTo>
                    <a:pt x="708" y="319"/>
                  </a:lnTo>
                  <a:lnTo>
                    <a:pt x="708" y="337"/>
                  </a:lnTo>
                  <a:lnTo>
                    <a:pt x="702" y="337"/>
                  </a:lnTo>
                  <a:lnTo>
                    <a:pt x="702" y="349"/>
                  </a:lnTo>
                  <a:lnTo>
                    <a:pt x="684" y="349"/>
                  </a:lnTo>
                  <a:lnTo>
                    <a:pt x="684" y="361"/>
                  </a:lnTo>
                  <a:lnTo>
                    <a:pt x="648" y="361"/>
                  </a:lnTo>
                  <a:lnTo>
                    <a:pt x="648" y="373"/>
                  </a:lnTo>
                  <a:lnTo>
                    <a:pt x="624" y="373"/>
                  </a:lnTo>
                  <a:lnTo>
                    <a:pt x="624" y="385"/>
                  </a:lnTo>
                  <a:lnTo>
                    <a:pt x="612" y="385"/>
                  </a:lnTo>
                  <a:lnTo>
                    <a:pt x="612" y="391"/>
                  </a:lnTo>
                  <a:lnTo>
                    <a:pt x="576" y="391"/>
                  </a:lnTo>
                  <a:lnTo>
                    <a:pt x="576" y="403"/>
                  </a:lnTo>
                  <a:lnTo>
                    <a:pt x="564" y="403"/>
                  </a:lnTo>
                  <a:lnTo>
                    <a:pt x="564" y="415"/>
                  </a:lnTo>
                  <a:lnTo>
                    <a:pt x="552" y="415"/>
                  </a:lnTo>
                  <a:lnTo>
                    <a:pt x="552" y="427"/>
                  </a:lnTo>
                  <a:lnTo>
                    <a:pt x="534" y="427"/>
                  </a:lnTo>
                  <a:lnTo>
                    <a:pt x="534" y="439"/>
                  </a:lnTo>
                  <a:lnTo>
                    <a:pt x="510" y="439"/>
                  </a:lnTo>
                  <a:lnTo>
                    <a:pt x="510" y="451"/>
                  </a:lnTo>
                  <a:lnTo>
                    <a:pt x="498" y="451"/>
                  </a:lnTo>
                  <a:lnTo>
                    <a:pt x="498" y="463"/>
                  </a:lnTo>
                  <a:lnTo>
                    <a:pt x="480" y="463"/>
                  </a:lnTo>
                  <a:lnTo>
                    <a:pt x="480" y="469"/>
                  </a:lnTo>
                  <a:lnTo>
                    <a:pt x="456" y="469"/>
                  </a:lnTo>
                  <a:lnTo>
                    <a:pt x="456" y="475"/>
                  </a:lnTo>
                  <a:lnTo>
                    <a:pt x="438" y="475"/>
                  </a:lnTo>
                  <a:lnTo>
                    <a:pt x="438" y="487"/>
                  </a:lnTo>
                  <a:lnTo>
                    <a:pt x="426" y="487"/>
                  </a:lnTo>
                  <a:lnTo>
                    <a:pt x="426" y="499"/>
                  </a:lnTo>
                  <a:lnTo>
                    <a:pt x="414" y="499"/>
                  </a:lnTo>
                  <a:lnTo>
                    <a:pt x="414" y="511"/>
                  </a:lnTo>
                  <a:lnTo>
                    <a:pt x="384" y="511"/>
                  </a:lnTo>
                  <a:lnTo>
                    <a:pt x="384" y="523"/>
                  </a:lnTo>
                  <a:lnTo>
                    <a:pt x="366" y="523"/>
                  </a:lnTo>
                  <a:lnTo>
                    <a:pt x="366" y="529"/>
                  </a:lnTo>
                  <a:lnTo>
                    <a:pt x="342" y="529"/>
                  </a:lnTo>
                  <a:lnTo>
                    <a:pt x="342" y="541"/>
                  </a:lnTo>
                  <a:lnTo>
                    <a:pt x="324" y="541"/>
                  </a:lnTo>
                  <a:lnTo>
                    <a:pt x="324" y="559"/>
                  </a:lnTo>
                  <a:lnTo>
                    <a:pt x="300" y="559"/>
                  </a:lnTo>
                  <a:lnTo>
                    <a:pt x="300" y="571"/>
                  </a:lnTo>
                  <a:lnTo>
                    <a:pt x="270" y="571"/>
                  </a:lnTo>
                  <a:lnTo>
                    <a:pt x="270" y="595"/>
                  </a:lnTo>
                  <a:lnTo>
                    <a:pt x="246" y="595"/>
                  </a:lnTo>
                  <a:lnTo>
                    <a:pt x="246" y="602"/>
                  </a:lnTo>
                  <a:lnTo>
                    <a:pt x="222" y="602"/>
                  </a:lnTo>
                  <a:lnTo>
                    <a:pt x="222" y="614"/>
                  </a:lnTo>
                  <a:lnTo>
                    <a:pt x="204" y="614"/>
                  </a:lnTo>
                  <a:lnTo>
                    <a:pt x="204" y="626"/>
                  </a:lnTo>
                  <a:lnTo>
                    <a:pt x="186" y="626"/>
                  </a:lnTo>
                  <a:lnTo>
                    <a:pt x="186" y="638"/>
                  </a:lnTo>
                  <a:lnTo>
                    <a:pt x="162" y="638"/>
                  </a:lnTo>
                  <a:lnTo>
                    <a:pt x="162" y="650"/>
                  </a:lnTo>
                  <a:lnTo>
                    <a:pt x="144" y="650"/>
                  </a:lnTo>
                  <a:lnTo>
                    <a:pt x="144" y="668"/>
                  </a:lnTo>
                  <a:lnTo>
                    <a:pt x="120" y="668"/>
                  </a:lnTo>
                  <a:lnTo>
                    <a:pt x="120" y="686"/>
                  </a:lnTo>
                  <a:lnTo>
                    <a:pt x="90" y="686"/>
                  </a:lnTo>
                  <a:lnTo>
                    <a:pt x="90" y="698"/>
                  </a:lnTo>
                  <a:lnTo>
                    <a:pt x="78" y="698"/>
                  </a:lnTo>
                  <a:lnTo>
                    <a:pt x="78" y="704"/>
                  </a:lnTo>
                  <a:lnTo>
                    <a:pt x="54" y="704"/>
                  </a:lnTo>
                  <a:lnTo>
                    <a:pt x="54" y="728"/>
                  </a:lnTo>
                  <a:lnTo>
                    <a:pt x="30" y="728"/>
                  </a:lnTo>
                  <a:lnTo>
                    <a:pt x="30" y="740"/>
                  </a:lnTo>
                  <a:lnTo>
                    <a:pt x="6" y="740"/>
                  </a:lnTo>
                  <a:lnTo>
                    <a:pt x="6" y="752"/>
                  </a:lnTo>
                  <a:lnTo>
                    <a:pt x="0" y="752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ys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91438" tIns="45719" rIns="91438" bIns="45719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5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90" name="TextBox 106"/>
          <p:cNvSpPr txBox="1">
            <a:spLocks noChangeArrowheads="1"/>
          </p:cNvSpPr>
          <p:nvPr/>
        </p:nvSpPr>
        <p:spPr bwMode="auto">
          <a:xfrm>
            <a:off x="7472879" y="3725186"/>
            <a:ext cx="45525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nths </a:t>
            </a:r>
          </a:p>
        </p:txBody>
      </p:sp>
      <p:grpSp>
        <p:nvGrpSpPr>
          <p:cNvPr id="229" name="Group 228"/>
          <p:cNvGrpSpPr>
            <a:grpSpLocks/>
          </p:cNvGrpSpPr>
          <p:nvPr/>
        </p:nvGrpSpPr>
        <p:grpSpPr>
          <a:xfrm>
            <a:off x="6566298" y="2421746"/>
            <a:ext cx="2378863" cy="985500"/>
            <a:chOff x="8750300" y="2878151"/>
            <a:chExt cx="2966057" cy="1630349"/>
          </a:xfrm>
        </p:grpSpPr>
        <p:grpSp>
          <p:nvGrpSpPr>
            <p:cNvPr id="230" name="Group 157"/>
            <p:cNvGrpSpPr>
              <a:grpSpLocks/>
            </p:cNvGrpSpPr>
            <p:nvPr/>
          </p:nvGrpSpPr>
          <p:grpSpPr bwMode="auto">
            <a:xfrm>
              <a:off x="11657585" y="2878151"/>
              <a:ext cx="58772" cy="253324"/>
              <a:chOff x="4283968" y="4443958"/>
              <a:chExt cx="73025" cy="113407"/>
            </a:xfrm>
          </p:grpSpPr>
          <p:cxnSp>
            <p:nvCxnSpPr>
              <p:cNvPr id="264" name="Straight Connector 263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Straight Connector 264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Straight Connector 265"/>
              <p:cNvCxnSpPr/>
              <p:nvPr/>
            </p:nvCxnSpPr>
            <p:spPr>
              <a:xfrm flipV="1">
                <a:off x="4321740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  <a:prstDash val="sys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1" name="Group 161"/>
            <p:cNvGrpSpPr>
              <a:grpSpLocks/>
            </p:cNvGrpSpPr>
            <p:nvPr/>
          </p:nvGrpSpPr>
          <p:grpSpPr bwMode="auto">
            <a:xfrm>
              <a:off x="11292797" y="3060545"/>
              <a:ext cx="58772" cy="220898"/>
              <a:chOff x="4283968" y="4443958"/>
              <a:chExt cx="73025" cy="113407"/>
            </a:xfrm>
          </p:grpSpPr>
          <p:cxnSp>
            <p:nvCxnSpPr>
              <p:cNvPr id="261" name="Straight Connector 260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2" name="Straight Connector 261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3" name="Straight Connector 262"/>
              <p:cNvCxnSpPr/>
              <p:nvPr/>
            </p:nvCxnSpPr>
            <p:spPr>
              <a:xfrm flipV="1">
                <a:off x="4321740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  <a:prstDash val="sys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2" name="Group 165"/>
            <p:cNvGrpSpPr>
              <a:grpSpLocks/>
            </p:cNvGrpSpPr>
            <p:nvPr/>
          </p:nvGrpSpPr>
          <p:grpSpPr bwMode="auto">
            <a:xfrm>
              <a:off x="10932064" y="3202407"/>
              <a:ext cx="58772" cy="188473"/>
              <a:chOff x="4283968" y="4443958"/>
              <a:chExt cx="73025" cy="113407"/>
            </a:xfrm>
          </p:grpSpPr>
          <p:cxnSp>
            <p:nvCxnSpPr>
              <p:cNvPr id="258" name="Straight Connector 257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Straight Connector 258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0" name="Straight Connector 259"/>
              <p:cNvCxnSpPr/>
              <p:nvPr/>
            </p:nvCxnSpPr>
            <p:spPr>
              <a:xfrm flipV="1">
                <a:off x="4321740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  <a:prstDash val="sys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3" name="Group 169"/>
            <p:cNvGrpSpPr>
              <a:grpSpLocks/>
            </p:cNvGrpSpPr>
            <p:nvPr/>
          </p:nvGrpSpPr>
          <p:grpSpPr bwMode="auto">
            <a:xfrm>
              <a:off x="10567276" y="3390879"/>
              <a:ext cx="58772" cy="170234"/>
              <a:chOff x="4283968" y="4443958"/>
              <a:chExt cx="73025" cy="113407"/>
            </a:xfrm>
          </p:grpSpPr>
          <p:cxnSp>
            <p:nvCxnSpPr>
              <p:cNvPr id="255" name="Straight Connector 254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6" name="Straight Connector 255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7" name="Straight Connector 256"/>
              <p:cNvCxnSpPr/>
              <p:nvPr/>
            </p:nvCxnSpPr>
            <p:spPr>
              <a:xfrm flipV="1">
                <a:off x="4321740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  <a:prstDash val="sys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4" name="Group 173"/>
            <p:cNvGrpSpPr>
              <a:grpSpLocks/>
            </p:cNvGrpSpPr>
            <p:nvPr/>
          </p:nvGrpSpPr>
          <p:grpSpPr bwMode="auto">
            <a:xfrm>
              <a:off x="10210595" y="3585419"/>
              <a:ext cx="58772" cy="151997"/>
              <a:chOff x="4283968" y="4443958"/>
              <a:chExt cx="73025" cy="113408"/>
            </a:xfrm>
          </p:grpSpPr>
          <p:cxnSp>
            <p:nvCxnSpPr>
              <p:cNvPr id="252" name="Straight Connector 251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3" name="Straight Connector 252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Straight Connector 253"/>
              <p:cNvCxnSpPr/>
              <p:nvPr/>
            </p:nvCxnSpPr>
            <p:spPr>
              <a:xfrm flipV="1">
                <a:off x="4321740" y="4443959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  <a:prstDash val="sys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5" name="Group 177"/>
            <p:cNvGrpSpPr>
              <a:grpSpLocks/>
            </p:cNvGrpSpPr>
            <p:nvPr/>
          </p:nvGrpSpPr>
          <p:grpSpPr bwMode="auto">
            <a:xfrm>
              <a:off x="9847835" y="3798226"/>
              <a:ext cx="56745" cy="137808"/>
              <a:chOff x="4283968" y="4443958"/>
              <a:chExt cx="73025" cy="113407"/>
            </a:xfrm>
          </p:grpSpPr>
          <p:cxnSp>
            <p:nvCxnSpPr>
              <p:cNvPr id="249" name="Straight Connector 248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0" name="Straight Connector 249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Straight Connector 250"/>
              <p:cNvCxnSpPr/>
              <p:nvPr/>
            </p:nvCxnSpPr>
            <p:spPr>
              <a:xfrm flipV="1">
                <a:off x="4320480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  <a:prstDash val="sys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6" name="Group 181"/>
            <p:cNvGrpSpPr>
              <a:grpSpLocks/>
            </p:cNvGrpSpPr>
            <p:nvPr/>
          </p:nvGrpSpPr>
          <p:grpSpPr bwMode="auto">
            <a:xfrm>
              <a:off x="9481020" y="4015071"/>
              <a:ext cx="58772" cy="113489"/>
              <a:chOff x="4283968" y="4443958"/>
              <a:chExt cx="73025" cy="113407"/>
            </a:xfrm>
          </p:grpSpPr>
          <p:cxnSp>
            <p:nvCxnSpPr>
              <p:cNvPr id="246" name="Straight Connector 245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Straight Connector 246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8" name="Straight Connector 247"/>
              <p:cNvCxnSpPr/>
              <p:nvPr/>
            </p:nvCxnSpPr>
            <p:spPr>
              <a:xfrm flipV="1">
                <a:off x="4321740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  <a:prstDash val="sys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7" name="Group 185"/>
            <p:cNvGrpSpPr>
              <a:grpSpLocks/>
            </p:cNvGrpSpPr>
            <p:nvPr/>
          </p:nvGrpSpPr>
          <p:grpSpPr bwMode="auto">
            <a:xfrm>
              <a:off x="9239856" y="4148828"/>
              <a:ext cx="58771" cy="101330"/>
              <a:chOff x="4283968" y="4443958"/>
              <a:chExt cx="73025" cy="113407"/>
            </a:xfrm>
          </p:grpSpPr>
          <p:cxnSp>
            <p:nvCxnSpPr>
              <p:cNvPr id="243" name="Straight Connector 242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Straight Connector 243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5" name="Straight Connector 244"/>
              <p:cNvCxnSpPr/>
              <p:nvPr/>
            </p:nvCxnSpPr>
            <p:spPr>
              <a:xfrm flipV="1">
                <a:off x="4321739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  <a:prstDash val="sys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8" name="Group 189"/>
            <p:cNvGrpSpPr>
              <a:grpSpLocks/>
            </p:cNvGrpSpPr>
            <p:nvPr/>
          </p:nvGrpSpPr>
          <p:grpSpPr bwMode="auto">
            <a:xfrm>
              <a:off x="9002743" y="4306902"/>
              <a:ext cx="58772" cy="101330"/>
              <a:chOff x="4283968" y="4443958"/>
              <a:chExt cx="73025" cy="113407"/>
            </a:xfrm>
          </p:grpSpPr>
          <p:cxnSp>
            <p:nvCxnSpPr>
              <p:cNvPr id="240" name="Straight Connector 239"/>
              <p:cNvCxnSpPr/>
              <p:nvPr/>
            </p:nvCxnSpPr>
            <p:spPr>
              <a:xfrm>
                <a:off x="4283968" y="4443958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1" name="Straight Connector 240"/>
              <p:cNvCxnSpPr/>
              <p:nvPr/>
            </p:nvCxnSpPr>
            <p:spPr>
              <a:xfrm>
                <a:off x="4283968" y="4557365"/>
                <a:ext cx="73025" cy="0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2" name="Straight Connector 241"/>
              <p:cNvCxnSpPr/>
              <p:nvPr/>
            </p:nvCxnSpPr>
            <p:spPr>
              <a:xfrm flipV="1">
                <a:off x="4321740" y="4443958"/>
                <a:ext cx="0" cy="113407"/>
              </a:xfrm>
              <a:prstGeom prst="line">
                <a:avLst/>
              </a:prstGeom>
              <a:ln w="9525" cmpd="sng">
                <a:solidFill>
                  <a:srgbClr val="000000"/>
                </a:solidFill>
                <a:prstDash val="sys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9" name="Freeform 192"/>
            <p:cNvSpPr>
              <a:spLocks/>
            </p:cNvSpPr>
            <p:nvPr/>
          </p:nvSpPr>
          <p:spPr bwMode="auto">
            <a:xfrm>
              <a:off x="8750300" y="2984499"/>
              <a:ext cx="2918300" cy="1524001"/>
            </a:xfrm>
            <a:custGeom>
              <a:avLst/>
              <a:gdLst>
                <a:gd name="T0" fmla="*/ 2147483647 w 1440"/>
                <a:gd name="T1" fmla="*/ 2147483647 h 752"/>
                <a:gd name="T2" fmla="*/ 2147483647 w 1440"/>
                <a:gd name="T3" fmla="*/ 2147483647 h 752"/>
                <a:gd name="T4" fmla="*/ 2147483647 w 1440"/>
                <a:gd name="T5" fmla="*/ 2147483647 h 752"/>
                <a:gd name="T6" fmla="*/ 2147483647 w 1440"/>
                <a:gd name="T7" fmla="*/ 2147483647 h 752"/>
                <a:gd name="T8" fmla="*/ 2147483647 w 1440"/>
                <a:gd name="T9" fmla="*/ 2147483647 h 752"/>
                <a:gd name="T10" fmla="*/ 2147483647 w 1440"/>
                <a:gd name="T11" fmla="*/ 2147483647 h 752"/>
                <a:gd name="T12" fmla="*/ 2147483647 w 1440"/>
                <a:gd name="T13" fmla="*/ 2147483647 h 752"/>
                <a:gd name="T14" fmla="*/ 2147483647 w 1440"/>
                <a:gd name="T15" fmla="*/ 2147483647 h 752"/>
                <a:gd name="T16" fmla="*/ 2147483647 w 1440"/>
                <a:gd name="T17" fmla="*/ 2147483647 h 752"/>
                <a:gd name="T18" fmla="*/ 2147483647 w 1440"/>
                <a:gd name="T19" fmla="*/ 2147483647 h 752"/>
                <a:gd name="T20" fmla="*/ 2147483647 w 1440"/>
                <a:gd name="T21" fmla="*/ 2147483647 h 752"/>
                <a:gd name="T22" fmla="*/ 2147483647 w 1440"/>
                <a:gd name="T23" fmla="*/ 2147483647 h 752"/>
                <a:gd name="T24" fmla="*/ 2147483647 w 1440"/>
                <a:gd name="T25" fmla="*/ 2147483647 h 752"/>
                <a:gd name="T26" fmla="*/ 2147483647 w 1440"/>
                <a:gd name="T27" fmla="*/ 2147483647 h 752"/>
                <a:gd name="T28" fmla="*/ 2147483647 w 1440"/>
                <a:gd name="T29" fmla="*/ 2147483647 h 752"/>
                <a:gd name="T30" fmla="*/ 2147483647 w 1440"/>
                <a:gd name="T31" fmla="*/ 2147483647 h 752"/>
                <a:gd name="T32" fmla="*/ 2147483647 w 1440"/>
                <a:gd name="T33" fmla="*/ 2147483647 h 752"/>
                <a:gd name="T34" fmla="*/ 2147483647 w 1440"/>
                <a:gd name="T35" fmla="*/ 2147483647 h 752"/>
                <a:gd name="T36" fmla="*/ 2147483647 w 1440"/>
                <a:gd name="T37" fmla="*/ 2147483647 h 752"/>
                <a:gd name="T38" fmla="*/ 2147483647 w 1440"/>
                <a:gd name="T39" fmla="*/ 2147483647 h 752"/>
                <a:gd name="T40" fmla="*/ 2147483647 w 1440"/>
                <a:gd name="T41" fmla="*/ 2147483647 h 752"/>
                <a:gd name="T42" fmla="*/ 2147483647 w 1440"/>
                <a:gd name="T43" fmla="*/ 2147483647 h 752"/>
                <a:gd name="T44" fmla="*/ 2147483647 w 1440"/>
                <a:gd name="T45" fmla="*/ 2147483647 h 752"/>
                <a:gd name="T46" fmla="*/ 2147483647 w 1440"/>
                <a:gd name="T47" fmla="*/ 2147483647 h 752"/>
                <a:gd name="T48" fmla="*/ 2147483647 w 1440"/>
                <a:gd name="T49" fmla="*/ 2147483647 h 752"/>
                <a:gd name="T50" fmla="*/ 2147483647 w 1440"/>
                <a:gd name="T51" fmla="*/ 2147483647 h 752"/>
                <a:gd name="T52" fmla="*/ 2147483647 w 1440"/>
                <a:gd name="T53" fmla="*/ 2147483647 h 752"/>
                <a:gd name="T54" fmla="*/ 2147483647 w 1440"/>
                <a:gd name="T55" fmla="*/ 2147483647 h 752"/>
                <a:gd name="T56" fmla="*/ 2147483647 w 1440"/>
                <a:gd name="T57" fmla="*/ 2147483647 h 752"/>
                <a:gd name="T58" fmla="*/ 2147483647 w 1440"/>
                <a:gd name="T59" fmla="*/ 2147483647 h 752"/>
                <a:gd name="T60" fmla="*/ 2147483647 w 1440"/>
                <a:gd name="T61" fmla="*/ 2147483647 h 752"/>
                <a:gd name="T62" fmla="*/ 2147483647 w 1440"/>
                <a:gd name="T63" fmla="*/ 2147483647 h 752"/>
                <a:gd name="T64" fmla="*/ 2147483647 w 1440"/>
                <a:gd name="T65" fmla="*/ 2147483647 h 752"/>
                <a:gd name="T66" fmla="*/ 2147483647 w 1440"/>
                <a:gd name="T67" fmla="*/ 2147483647 h 752"/>
                <a:gd name="T68" fmla="*/ 2147483647 w 1440"/>
                <a:gd name="T69" fmla="*/ 2147483647 h 752"/>
                <a:gd name="T70" fmla="*/ 2147483647 w 1440"/>
                <a:gd name="T71" fmla="*/ 2147483647 h 752"/>
                <a:gd name="T72" fmla="*/ 2147483647 w 1440"/>
                <a:gd name="T73" fmla="*/ 2147483647 h 752"/>
                <a:gd name="T74" fmla="*/ 2147483647 w 1440"/>
                <a:gd name="T75" fmla="*/ 2147483647 h 752"/>
                <a:gd name="T76" fmla="*/ 2147483647 w 1440"/>
                <a:gd name="T77" fmla="*/ 2147483647 h 752"/>
                <a:gd name="T78" fmla="*/ 2147483647 w 1440"/>
                <a:gd name="T79" fmla="*/ 2147483647 h 752"/>
                <a:gd name="T80" fmla="*/ 2147483647 w 1440"/>
                <a:gd name="T81" fmla="*/ 2147483647 h 752"/>
                <a:gd name="T82" fmla="*/ 2147483647 w 1440"/>
                <a:gd name="T83" fmla="*/ 2147483647 h 752"/>
                <a:gd name="T84" fmla="*/ 2147483647 w 1440"/>
                <a:gd name="T85" fmla="*/ 2147483647 h 752"/>
                <a:gd name="T86" fmla="*/ 2147483647 w 1440"/>
                <a:gd name="T87" fmla="*/ 2147483647 h 752"/>
                <a:gd name="T88" fmla="*/ 2147483647 w 1440"/>
                <a:gd name="T89" fmla="*/ 2147483647 h 752"/>
                <a:gd name="T90" fmla="*/ 0 w 1440"/>
                <a:gd name="T91" fmla="*/ 2147483647 h 75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440" h="752">
                  <a:moveTo>
                    <a:pt x="1440" y="0"/>
                  </a:moveTo>
                  <a:lnTo>
                    <a:pt x="1410" y="0"/>
                  </a:lnTo>
                  <a:lnTo>
                    <a:pt x="1410" y="12"/>
                  </a:lnTo>
                  <a:lnTo>
                    <a:pt x="1392" y="12"/>
                  </a:lnTo>
                  <a:lnTo>
                    <a:pt x="1392" y="18"/>
                  </a:lnTo>
                  <a:lnTo>
                    <a:pt x="1368" y="18"/>
                  </a:lnTo>
                  <a:lnTo>
                    <a:pt x="1368" y="30"/>
                  </a:lnTo>
                  <a:lnTo>
                    <a:pt x="1326" y="30"/>
                  </a:lnTo>
                  <a:lnTo>
                    <a:pt x="1326" y="36"/>
                  </a:lnTo>
                  <a:lnTo>
                    <a:pt x="1308" y="36"/>
                  </a:lnTo>
                  <a:lnTo>
                    <a:pt x="1308" y="54"/>
                  </a:lnTo>
                  <a:lnTo>
                    <a:pt x="1290" y="54"/>
                  </a:lnTo>
                  <a:lnTo>
                    <a:pt x="1290" y="60"/>
                  </a:lnTo>
                  <a:lnTo>
                    <a:pt x="1266" y="60"/>
                  </a:lnTo>
                  <a:lnTo>
                    <a:pt x="1266" y="72"/>
                  </a:lnTo>
                  <a:lnTo>
                    <a:pt x="1260" y="72"/>
                  </a:lnTo>
                  <a:lnTo>
                    <a:pt x="1260" y="84"/>
                  </a:lnTo>
                  <a:lnTo>
                    <a:pt x="1242" y="84"/>
                  </a:lnTo>
                  <a:lnTo>
                    <a:pt x="1242" y="90"/>
                  </a:lnTo>
                  <a:lnTo>
                    <a:pt x="1206" y="90"/>
                  </a:lnTo>
                  <a:lnTo>
                    <a:pt x="1206" y="96"/>
                  </a:lnTo>
                  <a:lnTo>
                    <a:pt x="1176" y="96"/>
                  </a:lnTo>
                  <a:lnTo>
                    <a:pt x="1176" y="108"/>
                  </a:lnTo>
                  <a:lnTo>
                    <a:pt x="1170" y="108"/>
                  </a:lnTo>
                  <a:lnTo>
                    <a:pt x="1170" y="114"/>
                  </a:lnTo>
                  <a:lnTo>
                    <a:pt x="1140" y="114"/>
                  </a:lnTo>
                  <a:lnTo>
                    <a:pt x="1140" y="132"/>
                  </a:lnTo>
                  <a:lnTo>
                    <a:pt x="1116" y="132"/>
                  </a:lnTo>
                  <a:lnTo>
                    <a:pt x="1116" y="138"/>
                  </a:lnTo>
                  <a:lnTo>
                    <a:pt x="1092" y="138"/>
                  </a:lnTo>
                  <a:lnTo>
                    <a:pt x="1092" y="144"/>
                  </a:lnTo>
                  <a:lnTo>
                    <a:pt x="1074" y="144"/>
                  </a:lnTo>
                  <a:lnTo>
                    <a:pt x="1074" y="150"/>
                  </a:lnTo>
                  <a:lnTo>
                    <a:pt x="1056" y="150"/>
                  </a:lnTo>
                  <a:lnTo>
                    <a:pt x="1056" y="156"/>
                  </a:lnTo>
                  <a:lnTo>
                    <a:pt x="1038" y="156"/>
                  </a:lnTo>
                  <a:lnTo>
                    <a:pt x="1038" y="162"/>
                  </a:lnTo>
                  <a:lnTo>
                    <a:pt x="1014" y="162"/>
                  </a:lnTo>
                  <a:lnTo>
                    <a:pt x="1014" y="174"/>
                  </a:lnTo>
                  <a:lnTo>
                    <a:pt x="984" y="174"/>
                  </a:lnTo>
                  <a:lnTo>
                    <a:pt x="984" y="186"/>
                  </a:lnTo>
                  <a:lnTo>
                    <a:pt x="966" y="186"/>
                  </a:lnTo>
                  <a:lnTo>
                    <a:pt x="966" y="198"/>
                  </a:lnTo>
                  <a:lnTo>
                    <a:pt x="936" y="198"/>
                  </a:lnTo>
                  <a:lnTo>
                    <a:pt x="936" y="211"/>
                  </a:lnTo>
                  <a:lnTo>
                    <a:pt x="924" y="211"/>
                  </a:lnTo>
                  <a:lnTo>
                    <a:pt x="924" y="217"/>
                  </a:lnTo>
                  <a:lnTo>
                    <a:pt x="900" y="217"/>
                  </a:lnTo>
                  <a:lnTo>
                    <a:pt x="900" y="229"/>
                  </a:lnTo>
                  <a:lnTo>
                    <a:pt x="882" y="229"/>
                  </a:lnTo>
                  <a:lnTo>
                    <a:pt x="882" y="241"/>
                  </a:lnTo>
                  <a:lnTo>
                    <a:pt x="870" y="241"/>
                  </a:lnTo>
                  <a:lnTo>
                    <a:pt x="870" y="253"/>
                  </a:lnTo>
                  <a:lnTo>
                    <a:pt x="852" y="253"/>
                  </a:lnTo>
                  <a:lnTo>
                    <a:pt x="852" y="259"/>
                  </a:lnTo>
                  <a:lnTo>
                    <a:pt x="828" y="259"/>
                  </a:lnTo>
                  <a:lnTo>
                    <a:pt x="828" y="277"/>
                  </a:lnTo>
                  <a:lnTo>
                    <a:pt x="810" y="277"/>
                  </a:lnTo>
                  <a:lnTo>
                    <a:pt x="810" y="283"/>
                  </a:lnTo>
                  <a:lnTo>
                    <a:pt x="780" y="283"/>
                  </a:lnTo>
                  <a:lnTo>
                    <a:pt x="780" y="295"/>
                  </a:lnTo>
                  <a:lnTo>
                    <a:pt x="762" y="295"/>
                  </a:lnTo>
                  <a:lnTo>
                    <a:pt x="762" y="307"/>
                  </a:lnTo>
                  <a:lnTo>
                    <a:pt x="750" y="307"/>
                  </a:lnTo>
                  <a:lnTo>
                    <a:pt x="750" y="313"/>
                  </a:lnTo>
                  <a:lnTo>
                    <a:pt x="726" y="313"/>
                  </a:lnTo>
                  <a:lnTo>
                    <a:pt x="726" y="319"/>
                  </a:lnTo>
                  <a:lnTo>
                    <a:pt x="708" y="319"/>
                  </a:lnTo>
                  <a:lnTo>
                    <a:pt x="708" y="337"/>
                  </a:lnTo>
                  <a:lnTo>
                    <a:pt x="702" y="337"/>
                  </a:lnTo>
                  <a:lnTo>
                    <a:pt x="702" y="349"/>
                  </a:lnTo>
                  <a:lnTo>
                    <a:pt x="684" y="349"/>
                  </a:lnTo>
                  <a:lnTo>
                    <a:pt x="684" y="361"/>
                  </a:lnTo>
                  <a:lnTo>
                    <a:pt x="648" y="361"/>
                  </a:lnTo>
                  <a:lnTo>
                    <a:pt x="648" y="373"/>
                  </a:lnTo>
                  <a:lnTo>
                    <a:pt x="624" y="373"/>
                  </a:lnTo>
                  <a:lnTo>
                    <a:pt x="624" y="385"/>
                  </a:lnTo>
                  <a:lnTo>
                    <a:pt x="612" y="385"/>
                  </a:lnTo>
                  <a:lnTo>
                    <a:pt x="612" y="391"/>
                  </a:lnTo>
                  <a:lnTo>
                    <a:pt x="576" y="391"/>
                  </a:lnTo>
                  <a:lnTo>
                    <a:pt x="576" y="403"/>
                  </a:lnTo>
                  <a:lnTo>
                    <a:pt x="564" y="403"/>
                  </a:lnTo>
                  <a:lnTo>
                    <a:pt x="564" y="415"/>
                  </a:lnTo>
                  <a:lnTo>
                    <a:pt x="552" y="415"/>
                  </a:lnTo>
                  <a:lnTo>
                    <a:pt x="552" y="427"/>
                  </a:lnTo>
                  <a:lnTo>
                    <a:pt x="534" y="427"/>
                  </a:lnTo>
                  <a:lnTo>
                    <a:pt x="534" y="439"/>
                  </a:lnTo>
                  <a:lnTo>
                    <a:pt x="510" y="439"/>
                  </a:lnTo>
                  <a:lnTo>
                    <a:pt x="510" y="451"/>
                  </a:lnTo>
                  <a:lnTo>
                    <a:pt x="498" y="451"/>
                  </a:lnTo>
                  <a:lnTo>
                    <a:pt x="498" y="463"/>
                  </a:lnTo>
                  <a:lnTo>
                    <a:pt x="480" y="463"/>
                  </a:lnTo>
                  <a:lnTo>
                    <a:pt x="480" y="469"/>
                  </a:lnTo>
                  <a:lnTo>
                    <a:pt x="456" y="469"/>
                  </a:lnTo>
                  <a:lnTo>
                    <a:pt x="456" y="475"/>
                  </a:lnTo>
                  <a:lnTo>
                    <a:pt x="438" y="475"/>
                  </a:lnTo>
                  <a:lnTo>
                    <a:pt x="438" y="487"/>
                  </a:lnTo>
                  <a:lnTo>
                    <a:pt x="426" y="487"/>
                  </a:lnTo>
                  <a:lnTo>
                    <a:pt x="426" y="499"/>
                  </a:lnTo>
                  <a:lnTo>
                    <a:pt x="414" y="499"/>
                  </a:lnTo>
                  <a:lnTo>
                    <a:pt x="414" y="511"/>
                  </a:lnTo>
                  <a:lnTo>
                    <a:pt x="384" y="511"/>
                  </a:lnTo>
                  <a:lnTo>
                    <a:pt x="384" y="523"/>
                  </a:lnTo>
                  <a:lnTo>
                    <a:pt x="366" y="523"/>
                  </a:lnTo>
                  <a:lnTo>
                    <a:pt x="366" y="529"/>
                  </a:lnTo>
                  <a:lnTo>
                    <a:pt x="342" y="529"/>
                  </a:lnTo>
                  <a:lnTo>
                    <a:pt x="342" y="541"/>
                  </a:lnTo>
                  <a:lnTo>
                    <a:pt x="324" y="541"/>
                  </a:lnTo>
                  <a:lnTo>
                    <a:pt x="324" y="559"/>
                  </a:lnTo>
                  <a:lnTo>
                    <a:pt x="300" y="559"/>
                  </a:lnTo>
                  <a:lnTo>
                    <a:pt x="300" y="571"/>
                  </a:lnTo>
                  <a:lnTo>
                    <a:pt x="270" y="571"/>
                  </a:lnTo>
                  <a:lnTo>
                    <a:pt x="270" y="595"/>
                  </a:lnTo>
                  <a:lnTo>
                    <a:pt x="246" y="595"/>
                  </a:lnTo>
                  <a:lnTo>
                    <a:pt x="246" y="602"/>
                  </a:lnTo>
                  <a:lnTo>
                    <a:pt x="222" y="602"/>
                  </a:lnTo>
                  <a:lnTo>
                    <a:pt x="222" y="614"/>
                  </a:lnTo>
                  <a:lnTo>
                    <a:pt x="204" y="614"/>
                  </a:lnTo>
                  <a:lnTo>
                    <a:pt x="204" y="626"/>
                  </a:lnTo>
                  <a:lnTo>
                    <a:pt x="186" y="626"/>
                  </a:lnTo>
                  <a:lnTo>
                    <a:pt x="186" y="638"/>
                  </a:lnTo>
                  <a:lnTo>
                    <a:pt x="162" y="638"/>
                  </a:lnTo>
                  <a:lnTo>
                    <a:pt x="162" y="650"/>
                  </a:lnTo>
                  <a:lnTo>
                    <a:pt x="144" y="650"/>
                  </a:lnTo>
                  <a:lnTo>
                    <a:pt x="144" y="668"/>
                  </a:lnTo>
                  <a:lnTo>
                    <a:pt x="120" y="668"/>
                  </a:lnTo>
                  <a:lnTo>
                    <a:pt x="120" y="686"/>
                  </a:lnTo>
                  <a:lnTo>
                    <a:pt x="90" y="686"/>
                  </a:lnTo>
                  <a:lnTo>
                    <a:pt x="90" y="698"/>
                  </a:lnTo>
                  <a:lnTo>
                    <a:pt x="78" y="698"/>
                  </a:lnTo>
                  <a:lnTo>
                    <a:pt x="78" y="704"/>
                  </a:lnTo>
                  <a:lnTo>
                    <a:pt x="54" y="704"/>
                  </a:lnTo>
                  <a:lnTo>
                    <a:pt x="54" y="728"/>
                  </a:lnTo>
                  <a:lnTo>
                    <a:pt x="30" y="728"/>
                  </a:lnTo>
                  <a:lnTo>
                    <a:pt x="30" y="740"/>
                  </a:lnTo>
                  <a:lnTo>
                    <a:pt x="6" y="740"/>
                  </a:lnTo>
                  <a:lnTo>
                    <a:pt x="6" y="752"/>
                  </a:lnTo>
                  <a:lnTo>
                    <a:pt x="0" y="752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ys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91438" tIns="45719" rIns="91438" bIns="45719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5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91" name="TextBox 190"/>
          <p:cNvSpPr txBox="1"/>
          <p:nvPr/>
        </p:nvSpPr>
        <p:spPr>
          <a:xfrm>
            <a:off x="733158" y="2275724"/>
            <a:ext cx="2365549" cy="459700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GB" sz="7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re hospital admissions for CHF with </a:t>
            </a:r>
            <a:r>
              <a:rPr lang="en-GB" sz="700" b="1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xagliptin</a:t>
            </a:r>
            <a:r>
              <a:rPr lang="en-GB" sz="7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s placebo (3.5% vs 2.8%; HR: 1.27; 95% CI, 1.07 to 1.51; </a:t>
            </a:r>
            <a:r>
              <a:rPr lang="en-GB" sz="700" b="1" i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en-GB" sz="7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=0.007)</a:t>
            </a:r>
          </a:p>
        </p:txBody>
      </p:sp>
      <p:sp>
        <p:nvSpPr>
          <p:cNvPr id="7" name="Rectangle 6"/>
          <p:cNvSpPr/>
          <p:nvPr/>
        </p:nvSpPr>
        <p:spPr>
          <a:xfrm>
            <a:off x="5293623" y="1208191"/>
            <a:ext cx="72808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FDA"/>
              </a:buClr>
              <a:defRPr/>
            </a:pPr>
            <a:r>
              <a:rPr lang="en-GB" sz="8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GB" sz="800" b="1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ogliptine</a:t>
            </a:r>
            <a:r>
              <a:rPr lang="en-GB" sz="8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lang="en-GB" sz="800" b="1" baseline="300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GB" sz="800" b="1" baseline="30000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038803" y="1193712"/>
            <a:ext cx="72968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FDA"/>
              </a:buClr>
              <a:defRPr/>
            </a:pPr>
            <a:r>
              <a:rPr lang="en-GB" sz="8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GB" sz="800" b="1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tagliptine</a:t>
            </a:r>
            <a:r>
              <a:rPr lang="en-GB" sz="8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en-GB" sz="800" b="1" baseline="30000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04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1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Title 2"/>
          <p:cNvSpPr>
            <a:spLocks noGrp="1"/>
          </p:cNvSpPr>
          <p:nvPr>
            <p:ph type="title"/>
          </p:nvPr>
        </p:nvSpPr>
        <p:spPr>
          <a:xfrm>
            <a:off x="317502" y="515939"/>
            <a:ext cx="8509000" cy="390525"/>
          </a:xfrm>
        </p:spPr>
        <p:txBody>
          <a:bodyPr/>
          <a:lstStyle/>
          <a:p>
            <a:r>
              <a:rPr lang="nl-NL" alt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GLT 2: EMPA-REG OUTCOME (</a:t>
            </a:r>
            <a:r>
              <a:rPr lang="nl-NL" altLang="en-US" sz="18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pagliflozine</a:t>
            </a:r>
            <a:r>
              <a:rPr lang="nl-NL" alt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– </a:t>
            </a:r>
            <a:r>
              <a:rPr lang="nl-NL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gnificant verschil op MACE</a:t>
            </a:r>
            <a:endParaRPr lang="nl-NL" altLang="en-US" sz="22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0291" name="Freeform 4"/>
          <p:cNvSpPr>
            <a:spLocks/>
          </p:cNvSpPr>
          <p:nvPr/>
        </p:nvSpPr>
        <p:spPr bwMode="auto">
          <a:xfrm>
            <a:off x="1631960" y="1276365"/>
            <a:ext cx="5535613" cy="2441575"/>
          </a:xfrm>
          <a:custGeom>
            <a:avLst/>
            <a:gdLst>
              <a:gd name="T0" fmla="*/ 0 w 4501661"/>
              <a:gd name="T1" fmla="*/ 0 h 2440745"/>
              <a:gd name="T2" fmla="*/ 0 w 4501661"/>
              <a:gd name="T3" fmla="*/ 2444898 h 2440745"/>
              <a:gd name="T4" fmla="*/ 15564395 w 4501661"/>
              <a:gd name="T5" fmla="*/ 2437852 h 2440745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4501661" h="2440745">
                <a:moveTo>
                  <a:pt x="0" y="0"/>
                </a:moveTo>
                <a:lnTo>
                  <a:pt x="0" y="2440745"/>
                </a:lnTo>
                <a:lnTo>
                  <a:pt x="4501661" y="2433711"/>
                </a:lnTo>
              </a:path>
            </a:pathLst>
          </a:cu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1982" tIns="71982" rIns="71982" bIns="71982" anchor="ctr"/>
          <a:lstStyle/>
          <a:p>
            <a:pPr defTabSz="685596"/>
            <a:endParaRPr lang="nl-NL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0292" name="TextBox 5"/>
          <p:cNvSpPr txBox="1">
            <a:spLocks noChangeArrowheads="1"/>
          </p:cNvSpPr>
          <p:nvPr/>
        </p:nvSpPr>
        <p:spPr bwMode="auto">
          <a:xfrm>
            <a:off x="4209881" y="3965577"/>
            <a:ext cx="36388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 defTabSz="685596"/>
            <a:r>
              <a:rPr lang="nl-NL" altLang="en-US" sz="1000" b="1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nth</a:t>
            </a:r>
            <a:endParaRPr lang="nl-NL" altLang="en-US" sz="1000" b="1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0293" name="Group 6"/>
          <p:cNvGrpSpPr>
            <a:grpSpLocks/>
          </p:cNvGrpSpPr>
          <p:nvPr/>
        </p:nvGrpSpPr>
        <p:grpSpPr bwMode="auto">
          <a:xfrm>
            <a:off x="1600284" y="3714745"/>
            <a:ext cx="5621111" cy="244938"/>
            <a:chOff x="2132743" y="4881639"/>
            <a:chExt cx="7495151" cy="327570"/>
          </a:xfrm>
        </p:grpSpPr>
        <p:grpSp>
          <p:nvGrpSpPr>
            <p:cNvPr id="140354" name="Group 8"/>
            <p:cNvGrpSpPr>
              <a:grpSpLocks/>
            </p:cNvGrpSpPr>
            <p:nvPr/>
          </p:nvGrpSpPr>
          <p:grpSpPr bwMode="auto">
            <a:xfrm>
              <a:off x="2132743" y="4881639"/>
              <a:ext cx="87634" cy="327570"/>
              <a:chOff x="7192027" y="4033076"/>
              <a:chExt cx="32753" cy="245677"/>
            </a:xfrm>
          </p:grpSpPr>
          <p:sp>
            <p:nvSpPr>
              <p:cNvPr id="140379" name="TextBox 33"/>
              <p:cNvSpPr txBox="1">
                <a:spLocks noChangeArrowheads="1"/>
              </p:cNvSpPr>
              <p:nvPr/>
            </p:nvSpPr>
            <p:spPr bwMode="auto">
              <a:xfrm>
                <a:off x="7192027" y="4124401"/>
                <a:ext cx="32753" cy="1543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685596"/>
                <a:r>
                  <a:rPr lang="nl-NL" altLang="en-US" sz="1000" dirty="0" smtClean="0">
                    <a:solidFill>
                      <a:srgbClr val="00196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</a:t>
                </a:r>
                <a:endParaRPr lang="nl-NL" altLang="en-US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40380" name="Straight Connector 34"/>
              <p:cNvCxnSpPr>
                <a:cxnSpLocks noChangeShapeType="1"/>
              </p:cNvCxnSpPr>
              <p:nvPr/>
            </p:nvCxnSpPr>
            <p:spPr bwMode="auto">
              <a:xfrm rot="5400000">
                <a:off x="7177179" y="4064301"/>
                <a:ext cx="62450" cy="0"/>
              </a:xfrm>
              <a:prstGeom prst="line">
                <a:avLst/>
              </a:prstGeom>
              <a:noFill/>
              <a:ln w="28575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grpSp>
          <p:nvGrpSpPr>
            <p:cNvPr id="140355" name="Group 9"/>
            <p:cNvGrpSpPr>
              <a:grpSpLocks/>
            </p:cNvGrpSpPr>
            <p:nvPr/>
          </p:nvGrpSpPr>
          <p:grpSpPr bwMode="auto">
            <a:xfrm>
              <a:off x="3054177" y="4881639"/>
              <a:ext cx="87634" cy="327570"/>
              <a:chOff x="7192025" y="4033076"/>
              <a:chExt cx="32753" cy="245677"/>
            </a:xfrm>
          </p:grpSpPr>
          <p:sp>
            <p:nvSpPr>
              <p:cNvPr id="140377" name="TextBox 31"/>
              <p:cNvSpPr txBox="1">
                <a:spLocks noChangeArrowheads="1"/>
              </p:cNvSpPr>
              <p:nvPr/>
            </p:nvSpPr>
            <p:spPr bwMode="auto">
              <a:xfrm>
                <a:off x="7192025" y="4124401"/>
                <a:ext cx="32753" cy="1543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685596"/>
                <a:r>
                  <a:rPr lang="nl-NL" altLang="en-US" sz="1000" dirty="0" smtClean="0">
                    <a:solidFill>
                      <a:srgbClr val="00196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6</a:t>
                </a:r>
                <a:endParaRPr lang="nl-NL" altLang="en-US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40378" name="Straight Connector 32"/>
              <p:cNvCxnSpPr>
                <a:cxnSpLocks noChangeShapeType="1"/>
              </p:cNvCxnSpPr>
              <p:nvPr/>
            </p:nvCxnSpPr>
            <p:spPr bwMode="auto">
              <a:xfrm rot="5400000">
                <a:off x="7177179" y="4064301"/>
                <a:ext cx="62450" cy="0"/>
              </a:xfrm>
              <a:prstGeom prst="line">
                <a:avLst/>
              </a:prstGeom>
              <a:noFill/>
              <a:ln w="28575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grpSp>
          <p:nvGrpSpPr>
            <p:cNvPr id="140356" name="Group 10"/>
            <p:cNvGrpSpPr>
              <a:grpSpLocks/>
            </p:cNvGrpSpPr>
            <p:nvPr/>
          </p:nvGrpSpPr>
          <p:grpSpPr bwMode="auto">
            <a:xfrm>
              <a:off x="3921079" y="4881639"/>
              <a:ext cx="175268" cy="327570"/>
              <a:chOff x="7175649" y="4033076"/>
              <a:chExt cx="65506" cy="245677"/>
            </a:xfrm>
          </p:grpSpPr>
          <p:sp>
            <p:nvSpPr>
              <p:cNvPr id="140375" name="TextBox 29"/>
              <p:cNvSpPr txBox="1">
                <a:spLocks noChangeArrowheads="1"/>
              </p:cNvSpPr>
              <p:nvPr/>
            </p:nvSpPr>
            <p:spPr bwMode="auto">
              <a:xfrm>
                <a:off x="7175649" y="4124401"/>
                <a:ext cx="65506" cy="1543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685596"/>
                <a:r>
                  <a:rPr lang="nl-NL" altLang="en-US" sz="1000" dirty="0" smtClean="0">
                    <a:solidFill>
                      <a:srgbClr val="00196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2</a:t>
                </a:r>
                <a:endParaRPr lang="nl-NL" altLang="en-US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40376" name="Straight Connector 30"/>
              <p:cNvCxnSpPr>
                <a:cxnSpLocks noChangeShapeType="1"/>
              </p:cNvCxnSpPr>
              <p:nvPr/>
            </p:nvCxnSpPr>
            <p:spPr bwMode="auto">
              <a:xfrm rot="5400000">
                <a:off x="7177179" y="4064301"/>
                <a:ext cx="62450" cy="0"/>
              </a:xfrm>
              <a:prstGeom prst="line">
                <a:avLst/>
              </a:prstGeom>
              <a:noFill/>
              <a:ln w="28575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grpSp>
          <p:nvGrpSpPr>
            <p:cNvPr id="140357" name="Group 11"/>
            <p:cNvGrpSpPr>
              <a:grpSpLocks/>
            </p:cNvGrpSpPr>
            <p:nvPr/>
          </p:nvGrpSpPr>
          <p:grpSpPr bwMode="auto">
            <a:xfrm>
              <a:off x="4843004" y="4881639"/>
              <a:ext cx="175268" cy="327570"/>
              <a:chOff x="7175651" y="4033076"/>
              <a:chExt cx="65506" cy="245677"/>
            </a:xfrm>
          </p:grpSpPr>
          <p:sp>
            <p:nvSpPr>
              <p:cNvPr id="140373" name="TextBox 27"/>
              <p:cNvSpPr txBox="1">
                <a:spLocks noChangeArrowheads="1"/>
              </p:cNvSpPr>
              <p:nvPr/>
            </p:nvSpPr>
            <p:spPr bwMode="auto">
              <a:xfrm>
                <a:off x="7175651" y="4124401"/>
                <a:ext cx="65506" cy="1543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685596"/>
                <a:r>
                  <a:rPr lang="nl-NL" altLang="en-US" sz="1000" dirty="0" smtClean="0">
                    <a:solidFill>
                      <a:srgbClr val="00196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8</a:t>
                </a:r>
                <a:endParaRPr lang="nl-NL" altLang="en-US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40374" name="Straight Connector 28"/>
              <p:cNvCxnSpPr>
                <a:cxnSpLocks noChangeShapeType="1"/>
              </p:cNvCxnSpPr>
              <p:nvPr/>
            </p:nvCxnSpPr>
            <p:spPr bwMode="auto">
              <a:xfrm rot="5400000">
                <a:off x="7177179" y="4064301"/>
                <a:ext cx="62450" cy="0"/>
              </a:xfrm>
              <a:prstGeom prst="line">
                <a:avLst/>
              </a:prstGeom>
              <a:noFill/>
              <a:ln w="28575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grpSp>
          <p:nvGrpSpPr>
            <p:cNvPr id="140358" name="Group 12"/>
            <p:cNvGrpSpPr>
              <a:grpSpLocks/>
            </p:cNvGrpSpPr>
            <p:nvPr/>
          </p:nvGrpSpPr>
          <p:grpSpPr bwMode="auto">
            <a:xfrm>
              <a:off x="6686854" y="4881639"/>
              <a:ext cx="175268" cy="327570"/>
              <a:chOff x="7175651" y="4033076"/>
              <a:chExt cx="65506" cy="245677"/>
            </a:xfrm>
          </p:grpSpPr>
          <p:sp>
            <p:nvSpPr>
              <p:cNvPr id="140371" name="TextBox 25"/>
              <p:cNvSpPr txBox="1">
                <a:spLocks noChangeArrowheads="1"/>
              </p:cNvSpPr>
              <p:nvPr/>
            </p:nvSpPr>
            <p:spPr bwMode="auto">
              <a:xfrm>
                <a:off x="7175651" y="4124401"/>
                <a:ext cx="65506" cy="1543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685596"/>
                <a:r>
                  <a:rPr lang="nl-NL" altLang="en-US" sz="1000" dirty="0" smtClean="0">
                    <a:solidFill>
                      <a:srgbClr val="00196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30</a:t>
                </a:r>
                <a:endParaRPr lang="nl-NL" altLang="en-US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40372" name="Straight Connector 26"/>
              <p:cNvCxnSpPr>
                <a:cxnSpLocks noChangeShapeType="1"/>
              </p:cNvCxnSpPr>
              <p:nvPr/>
            </p:nvCxnSpPr>
            <p:spPr bwMode="auto">
              <a:xfrm rot="5400000">
                <a:off x="7177179" y="4064301"/>
                <a:ext cx="62450" cy="0"/>
              </a:xfrm>
              <a:prstGeom prst="line">
                <a:avLst/>
              </a:prstGeom>
              <a:noFill/>
              <a:ln w="28575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grpSp>
          <p:nvGrpSpPr>
            <p:cNvPr id="140359" name="Group 13"/>
            <p:cNvGrpSpPr>
              <a:grpSpLocks/>
            </p:cNvGrpSpPr>
            <p:nvPr/>
          </p:nvGrpSpPr>
          <p:grpSpPr bwMode="auto">
            <a:xfrm>
              <a:off x="5764929" y="4881639"/>
              <a:ext cx="175268" cy="327570"/>
              <a:chOff x="7175651" y="4033076"/>
              <a:chExt cx="65506" cy="245677"/>
            </a:xfrm>
          </p:grpSpPr>
          <p:sp>
            <p:nvSpPr>
              <p:cNvPr id="140369" name="TextBox 23"/>
              <p:cNvSpPr txBox="1">
                <a:spLocks noChangeArrowheads="1"/>
              </p:cNvSpPr>
              <p:nvPr/>
            </p:nvSpPr>
            <p:spPr bwMode="auto">
              <a:xfrm>
                <a:off x="7175651" y="4124401"/>
                <a:ext cx="65506" cy="1543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685596"/>
                <a:r>
                  <a:rPr lang="nl-NL" altLang="en-US" sz="1000" dirty="0" smtClean="0">
                    <a:solidFill>
                      <a:srgbClr val="00196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4</a:t>
                </a:r>
                <a:endParaRPr lang="nl-NL" altLang="en-US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40370" name="Straight Connector 24"/>
              <p:cNvCxnSpPr>
                <a:cxnSpLocks noChangeShapeType="1"/>
              </p:cNvCxnSpPr>
              <p:nvPr/>
            </p:nvCxnSpPr>
            <p:spPr bwMode="auto">
              <a:xfrm rot="5400000">
                <a:off x="7177179" y="4064301"/>
                <a:ext cx="62450" cy="0"/>
              </a:xfrm>
              <a:prstGeom prst="line">
                <a:avLst/>
              </a:prstGeom>
              <a:noFill/>
              <a:ln w="28575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grpSp>
          <p:nvGrpSpPr>
            <p:cNvPr id="140360" name="Group 14"/>
            <p:cNvGrpSpPr>
              <a:grpSpLocks/>
            </p:cNvGrpSpPr>
            <p:nvPr/>
          </p:nvGrpSpPr>
          <p:grpSpPr bwMode="auto">
            <a:xfrm>
              <a:off x="8530704" y="4881639"/>
              <a:ext cx="175268" cy="327570"/>
              <a:chOff x="7175651" y="4033076"/>
              <a:chExt cx="65506" cy="245677"/>
            </a:xfrm>
          </p:grpSpPr>
          <p:sp>
            <p:nvSpPr>
              <p:cNvPr id="140367" name="TextBox 21"/>
              <p:cNvSpPr txBox="1">
                <a:spLocks noChangeArrowheads="1"/>
              </p:cNvSpPr>
              <p:nvPr/>
            </p:nvSpPr>
            <p:spPr bwMode="auto">
              <a:xfrm>
                <a:off x="7175651" y="4124401"/>
                <a:ext cx="65506" cy="1543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685596"/>
                <a:r>
                  <a:rPr lang="nl-NL" altLang="en-US" sz="1000" dirty="0" smtClean="0">
                    <a:solidFill>
                      <a:srgbClr val="00196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42</a:t>
                </a:r>
                <a:endParaRPr lang="nl-NL" altLang="en-US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40368" name="Straight Connector 22"/>
              <p:cNvCxnSpPr>
                <a:cxnSpLocks noChangeShapeType="1"/>
              </p:cNvCxnSpPr>
              <p:nvPr/>
            </p:nvCxnSpPr>
            <p:spPr bwMode="auto">
              <a:xfrm rot="5400000">
                <a:off x="7177179" y="4064301"/>
                <a:ext cx="62450" cy="0"/>
              </a:xfrm>
              <a:prstGeom prst="line">
                <a:avLst/>
              </a:prstGeom>
              <a:noFill/>
              <a:ln w="28575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grpSp>
          <p:nvGrpSpPr>
            <p:cNvPr id="140361" name="Group 15"/>
            <p:cNvGrpSpPr>
              <a:grpSpLocks/>
            </p:cNvGrpSpPr>
            <p:nvPr/>
          </p:nvGrpSpPr>
          <p:grpSpPr bwMode="auto">
            <a:xfrm>
              <a:off x="7608779" y="4881639"/>
              <a:ext cx="175268" cy="327570"/>
              <a:chOff x="7175651" y="4033076"/>
              <a:chExt cx="65506" cy="245677"/>
            </a:xfrm>
          </p:grpSpPr>
          <p:sp>
            <p:nvSpPr>
              <p:cNvPr id="140365" name="TextBox 19"/>
              <p:cNvSpPr txBox="1">
                <a:spLocks noChangeArrowheads="1"/>
              </p:cNvSpPr>
              <p:nvPr/>
            </p:nvSpPr>
            <p:spPr bwMode="auto">
              <a:xfrm>
                <a:off x="7175651" y="4124401"/>
                <a:ext cx="65506" cy="1543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685596"/>
                <a:r>
                  <a:rPr lang="nl-NL" altLang="en-US" sz="1000" dirty="0" smtClean="0">
                    <a:solidFill>
                      <a:srgbClr val="00196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36</a:t>
                </a:r>
                <a:endParaRPr lang="nl-NL" altLang="en-US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40366" name="Straight Connector 20"/>
              <p:cNvCxnSpPr>
                <a:cxnSpLocks noChangeShapeType="1"/>
              </p:cNvCxnSpPr>
              <p:nvPr/>
            </p:nvCxnSpPr>
            <p:spPr bwMode="auto">
              <a:xfrm rot="5400000">
                <a:off x="7177179" y="4064301"/>
                <a:ext cx="62450" cy="0"/>
              </a:xfrm>
              <a:prstGeom prst="line">
                <a:avLst/>
              </a:prstGeom>
              <a:noFill/>
              <a:ln w="28575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grpSp>
          <p:nvGrpSpPr>
            <p:cNvPr id="140362" name="Group 16"/>
            <p:cNvGrpSpPr>
              <a:grpSpLocks/>
            </p:cNvGrpSpPr>
            <p:nvPr/>
          </p:nvGrpSpPr>
          <p:grpSpPr bwMode="auto">
            <a:xfrm>
              <a:off x="9452626" y="4881639"/>
              <a:ext cx="175268" cy="327570"/>
              <a:chOff x="7175651" y="4033076"/>
              <a:chExt cx="65506" cy="245677"/>
            </a:xfrm>
          </p:grpSpPr>
          <p:sp>
            <p:nvSpPr>
              <p:cNvPr id="140363" name="TextBox 17"/>
              <p:cNvSpPr txBox="1">
                <a:spLocks noChangeArrowheads="1"/>
              </p:cNvSpPr>
              <p:nvPr/>
            </p:nvSpPr>
            <p:spPr bwMode="auto">
              <a:xfrm>
                <a:off x="7175651" y="4124401"/>
                <a:ext cx="65506" cy="1543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685596"/>
                <a:r>
                  <a:rPr lang="nl-NL" altLang="en-US" sz="1000" dirty="0" smtClean="0">
                    <a:solidFill>
                      <a:srgbClr val="00196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48</a:t>
                </a:r>
                <a:endParaRPr lang="nl-NL" altLang="en-US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40364" name="Straight Connector 18"/>
              <p:cNvCxnSpPr>
                <a:cxnSpLocks noChangeShapeType="1"/>
              </p:cNvCxnSpPr>
              <p:nvPr/>
            </p:nvCxnSpPr>
            <p:spPr bwMode="auto">
              <a:xfrm rot="5400000">
                <a:off x="7177179" y="4064301"/>
                <a:ext cx="62450" cy="0"/>
              </a:xfrm>
              <a:prstGeom prst="line">
                <a:avLst/>
              </a:prstGeom>
              <a:noFill/>
              <a:ln w="28575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</p:grpSp>
      <p:grpSp>
        <p:nvGrpSpPr>
          <p:cNvPr id="140294" name="Group 35"/>
          <p:cNvGrpSpPr>
            <a:grpSpLocks/>
          </p:cNvGrpSpPr>
          <p:nvPr/>
        </p:nvGrpSpPr>
        <p:grpSpPr bwMode="auto">
          <a:xfrm>
            <a:off x="1413673" y="1196981"/>
            <a:ext cx="224618" cy="2584489"/>
            <a:chOff x="1884988" y="1524258"/>
            <a:chExt cx="298590" cy="3446857"/>
          </a:xfrm>
        </p:grpSpPr>
        <p:grpSp>
          <p:nvGrpSpPr>
            <p:cNvPr id="140339" name="Group 36"/>
            <p:cNvGrpSpPr>
              <a:grpSpLocks/>
            </p:cNvGrpSpPr>
            <p:nvPr/>
          </p:nvGrpSpPr>
          <p:grpSpPr bwMode="auto">
            <a:xfrm>
              <a:off x="1884988" y="1524258"/>
              <a:ext cx="298590" cy="205236"/>
              <a:chOff x="788263" y="1815138"/>
              <a:chExt cx="223943" cy="153927"/>
            </a:xfrm>
          </p:grpSpPr>
          <p:sp>
            <p:nvSpPr>
              <p:cNvPr id="140352" name="TextBox 49"/>
              <p:cNvSpPr txBox="1">
                <a:spLocks noChangeArrowheads="1"/>
              </p:cNvSpPr>
              <p:nvPr/>
            </p:nvSpPr>
            <p:spPr bwMode="auto">
              <a:xfrm>
                <a:off x="788263" y="1815138"/>
                <a:ext cx="131051" cy="1539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9pPr>
              </a:lstStyle>
              <a:p>
                <a:pPr algn="r" defTabSz="685596"/>
                <a:r>
                  <a:rPr lang="nl-NL" altLang="en-US" sz="1000" dirty="0" smtClean="0">
                    <a:solidFill>
                      <a:srgbClr val="00196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0</a:t>
                </a:r>
                <a:endParaRPr lang="nl-NL" altLang="en-US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40353" name="Straight Connector 50"/>
              <p:cNvCxnSpPr>
                <a:cxnSpLocks noChangeShapeType="1"/>
              </p:cNvCxnSpPr>
              <p:nvPr/>
            </p:nvCxnSpPr>
            <p:spPr bwMode="auto">
              <a:xfrm>
                <a:off x="949756" y="1907471"/>
                <a:ext cx="62450" cy="0"/>
              </a:xfrm>
              <a:prstGeom prst="line">
                <a:avLst/>
              </a:prstGeom>
              <a:noFill/>
              <a:ln w="28575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grpSp>
          <p:nvGrpSpPr>
            <p:cNvPr id="140340" name="Group 37"/>
            <p:cNvGrpSpPr>
              <a:grpSpLocks/>
            </p:cNvGrpSpPr>
            <p:nvPr/>
          </p:nvGrpSpPr>
          <p:grpSpPr bwMode="auto">
            <a:xfrm>
              <a:off x="1884988" y="3145068"/>
              <a:ext cx="298590" cy="205236"/>
              <a:chOff x="788263" y="1815138"/>
              <a:chExt cx="223943" cy="153927"/>
            </a:xfrm>
          </p:grpSpPr>
          <p:sp>
            <p:nvSpPr>
              <p:cNvPr id="140350" name="TextBox 47"/>
              <p:cNvSpPr txBox="1">
                <a:spLocks noChangeArrowheads="1"/>
              </p:cNvSpPr>
              <p:nvPr/>
            </p:nvSpPr>
            <p:spPr bwMode="auto">
              <a:xfrm>
                <a:off x="788263" y="1815138"/>
                <a:ext cx="131051" cy="1539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9pPr>
              </a:lstStyle>
              <a:p>
                <a:pPr algn="r" defTabSz="685596"/>
                <a:r>
                  <a:rPr lang="nl-NL" altLang="en-US" sz="1000" dirty="0" smtClean="0">
                    <a:solidFill>
                      <a:srgbClr val="00196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0</a:t>
                </a:r>
                <a:endParaRPr lang="nl-NL" altLang="en-US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40351" name="Straight Connector 48"/>
              <p:cNvCxnSpPr>
                <a:cxnSpLocks noChangeShapeType="1"/>
              </p:cNvCxnSpPr>
              <p:nvPr/>
            </p:nvCxnSpPr>
            <p:spPr bwMode="auto">
              <a:xfrm>
                <a:off x="949756" y="1907471"/>
                <a:ext cx="62450" cy="0"/>
              </a:xfrm>
              <a:prstGeom prst="line">
                <a:avLst/>
              </a:prstGeom>
              <a:noFill/>
              <a:ln w="28575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grpSp>
          <p:nvGrpSpPr>
            <p:cNvPr id="140341" name="Group 38"/>
            <p:cNvGrpSpPr>
              <a:grpSpLocks/>
            </p:cNvGrpSpPr>
            <p:nvPr/>
          </p:nvGrpSpPr>
          <p:grpSpPr bwMode="auto">
            <a:xfrm>
              <a:off x="1972348" y="3955473"/>
              <a:ext cx="211224" cy="205236"/>
              <a:chOff x="853787" y="1815138"/>
              <a:chExt cx="158419" cy="153927"/>
            </a:xfrm>
          </p:grpSpPr>
          <p:sp>
            <p:nvSpPr>
              <p:cNvPr id="140348" name="TextBox 45"/>
              <p:cNvSpPr txBox="1">
                <a:spLocks noChangeArrowheads="1"/>
              </p:cNvSpPr>
              <p:nvPr/>
            </p:nvSpPr>
            <p:spPr bwMode="auto">
              <a:xfrm>
                <a:off x="853787" y="1815138"/>
                <a:ext cx="65526" cy="1539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9pPr>
              </a:lstStyle>
              <a:p>
                <a:pPr algn="r" defTabSz="685596"/>
                <a:r>
                  <a:rPr lang="nl-NL" altLang="en-US" sz="1000" dirty="0" smtClean="0">
                    <a:solidFill>
                      <a:srgbClr val="00196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5</a:t>
                </a:r>
                <a:endParaRPr lang="nl-NL" altLang="en-US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40349" name="Straight Connector 46"/>
              <p:cNvCxnSpPr>
                <a:cxnSpLocks noChangeShapeType="1"/>
              </p:cNvCxnSpPr>
              <p:nvPr/>
            </p:nvCxnSpPr>
            <p:spPr bwMode="auto">
              <a:xfrm>
                <a:off x="949756" y="1907471"/>
                <a:ext cx="62450" cy="0"/>
              </a:xfrm>
              <a:prstGeom prst="line">
                <a:avLst/>
              </a:prstGeom>
              <a:noFill/>
              <a:ln w="28575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grpSp>
          <p:nvGrpSpPr>
            <p:cNvPr id="140342" name="Group 39"/>
            <p:cNvGrpSpPr>
              <a:grpSpLocks/>
            </p:cNvGrpSpPr>
            <p:nvPr/>
          </p:nvGrpSpPr>
          <p:grpSpPr bwMode="auto">
            <a:xfrm>
              <a:off x="1972351" y="4765879"/>
              <a:ext cx="211224" cy="205236"/>
              <a:chOff x="853787" y="1815138"/>
              <a:chExt cx="158419" cy="153927"/>
            </a:xfrm>
          </p:grpSpPr>
          <p:sp>
            <p:nvSpPr>
              <p:cNvPr id="140346" name="TextBox 43"/>
              <p:cNvSpPr txBox="1">
                <a:spLocks noChangeArrowheads="1"/>
              </p:cNvSpPr>
              <p:nvPr/>
            </p:nvSpPr>
            <p:spPr bwMode="auto">
              <a:xfrm>
                <a:off x="853787" y="1815138"/>
                <a:ext cx="65526" cy="1539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9pPr>
              </a:lstStyle>
              <a:p>
                <a:pPr algn="r" defTabSz="685596"/>
                <a:r>
                  <a:rPr lang="nl-NL" altLang="en-US" sz="1000" dirty="0" smtClean="0">
                    <a:solidFill>
                      <a:srgbClr val="00196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0</a:t>
                </a:r>
                <a:endParaRPr lang="nl-NL" altLang="en-US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40347" name="Straight Connector 44"/>
              <p:cNvCxnSpPr>
                <a:cxnSpLocks noChangeShapeType="1"/>
              </p:cNvCxnSpPr>
              <p:nvPr/>
            </p:nvCxnSpPr>
            <p:spPr bwMode="auto">
              <a:xfrm>
                <a:off x="949756" y="1907471"/>
                <a:ext cx="62450" cy="0"/>
              </a:xfrm>
              <a:prstGeom prst="line">
                <a:avLst/>
              </a:prstGeom>
              <a:noFill/>
              <a:ln w="28575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grpSp>
          <p:nvGrpSpPr>
            <p:cNvPr id="140343" name="Group 40"/>
            <p:cNvGrpSpPr>
              <a:grpSpLocks/>
            </p:cNvGrpSpPr>
            <p:nvPr/>
          </p:nvGrpSpPr>
          <p:grpSpPr bwMode="auto">
            <a:xfrm>
              <a:off x="1884988" y="2334663"/>
              <a:ext cx="298590" cy="205236"/>
              <a:chOff x="788263" y="1815138"/>
              <a:chExt cx="223943" cy="153927"/>
            </a:xfrm>
          </p:grpSpPr>
          <p:sp>
            <p:nvSpPr>
              <p:cNvPr id="140344" name="TextBox 41"/>
              <p:cNvSpPr txBox="1">
                <a:spLocks noChangeArrowheads="1"/>
              </p:cNvSpPr>
              <p:nvPr/>
            </p:nvSpPr>
            <p:spPr bwMode="auto">
              <a:xfrm>
                <a:off x="788263" y="1815138"/>
                <a:ext cx="131051" cy="1539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anose="020B0604030504040204" pitchFamily="34" charset="0"/>
                    <a:cs typeface="Arial" panose="020B0604020202020204" pitchFamily="34" charset="0"/>
                  </a:defRPr>
                </a:lvl9pPr>
              </a:lstStyle>
              <a:p>
                <a:pPr algn="r" defTabSz="685596"/>
                <a:r>
                  <a:rPr lang="nl-NL" altLang="en-US" sz="1000" dirty="0" smtClean="0">
                    <a:solidFill>
                      <a:srgbClr val="00196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5</a:t>
                </a:r>
                <a:endParaRPr lang="nl-NL" altLang="en-US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40345" name="Straight Connector 42"/>
              <p:cNvCxnSpPr>
                <a:cxnSpLocks noChangeShapeType="1"/>
              </p:cNvCxnSpPr>
              <p:nvPr/>
            </p:nvCxnSpPr>
            <p:spPr bwMode="auto">
              <a:xfrm>
                <a:off x="949756" y="1907471"/>
                <a:ext cx="62450" cy="0"/>
              </a:xfrm>
              <a:prstGeom prst="line">
                <a:avLst/>
              </a:prstGeom>
              <a:noFill/>
              <a:ln w="28575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</p:grpSp>
      <p:sp>
        <p:nvSpPr>
          <p:cNvPr id="140295" name="TextBox 51"/>
          <p:cNvSpPr txBox="1">
            <a:spLocks noChangeArrowheads="1"/>
          </p:cNvSpPr>
          <p:nvPr/>
        </p:nvSpPr>
        <p:spPr bwMode="auto">
          <a:xfrm>
            <a:off x="2115929" y="2000261"/>
            <a:ext cx="1029129" cy="415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 defTabSz="685596"/>
            <a:r>
              <a:rPr lang="nl-NL" altLang="en-US" sz="9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zard ratio=0.86</a:t>
            </a:r>
          </a:p>
          <a:p>
            <a:pPr algn="ctr" defTabSz="685596"/>
            <a:r>
              <a:rPr lang="nl-NL" altLang="en-US" sz="9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5.02% CI (0.74–0.99)</a:t>
            </a:r>
            <a:br>
              <a:rPr lang="nl-NL" altLang="en-US" sz="9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nl-NL" altLang="en-US" sz="900" i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nl-NL" altLang="en-US" sz="9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=0.04 </a:t>
            </a:r>
            <a:r>
              <a:rPr lang="nl-NL" altLang="en-US" sz="900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nl-NL" altLang="en-US" sz="9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altLang="en-US" sz="900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periority</a:t>
            </a:r>
            <a:endParaRPr lang="nl-NL" altLang="en-US" sz="900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0296" name="TextBox 52"/>
          <p:cNvSpPr txBox="1">
            <a:spLocks noChangeArrowheads="1"/>
          </p:cNvSpPr>
          <p:nvPr/>
        </p:nvSpPr>
        <p:spPr bwMode="auto">
          <a:xfrm rot="-5400000">
            <a:off x="-103188" y="2421025"/>
            <a:ext cx="2443163" cy="153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 defTabSz="685596"/>
            <a:r>
              <a:rPr lang="nl-NL" altLang="en-US" sz="1000" b="1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tients</a:t>
            </a:r>
            <a:r>
              <a:rPr lang="nl-NL" altLang="en-US" sz="10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altLang="en-US" sz="1000" b="1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th</a:t>
            </a:r>
            <a:r>
              <a:rPr lang="nl-NL" altLang="en-US" sz="10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vent (%)</a:t>
            </a:r>
            <a:endParaRPr lang="nl-NL" altLang="en-US" sz="1000" b="1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Freeform 53"/>
          <p:cNvSpPr/>
          <p:nvPr/>
        </p:nvSpPr>
        <p:spPr>
          <a:xfrm>
            <a:off x="1636726" y="1730382"/>
            <a:ext cx="5516563" cy="1966913"/>
          </a:xfrm>
          <a:custGeom>
            <a:avLst/>
            <a:gdLst>
              <a:gd name="connsiteX0" fmla="*/ 7357035 w 7357035"/>
              <a:gd name="connsiteY0" fmla="*/ 0 h 2623671"/>
              <a:gd name="connsiteX1" fmla="*/ 7261412 w 7357035"/>
              <a:gd name="connsiteY1" fmla="*/ 0 h 2623671"/>
              <a:gd name="connsiteX2" fmla="*/ 7261412 w 7357035"/>
              <a:gd name="connsiteY2" fmla="*/ 89647 h 2623671"/>
              <a:gd name="connsiteX3" fmla="*/ 7171764 w 7357035"/>
              <a:gd name="connsiteY3" fmla="*/ 89647 h 2623671"/>
              <a:gd name="connsiteX4" fmla="*/ 7159812 w 7357035"/>
              <a:gd name="connsiteY4" fmla="*/ 101599 h 2623671"/>
              <a:gd name="connsiteX5" fmla="*/ 7159812 w 7357035"/>
              <a:gd name="connsiteY5" fmla="*/ 161365 h 2623671"/>
              <a:gd name="connsiteX6" fmla="*/ 7123953 w 7357035"/>
              <a:gd name="connsiteY6" fmla="*/ 161365 h 2623671"/>
              <a:gd name="connsiteX7" fmla="*/ 7123953 w 7357035"/>
              <a:gd name="connsiteY7" fmla="*/ 215153 h 2623671"/>
              <a:gd name="connsiteX8" fmla="*/ 6968564 w 7357035"/>
              <a:gd name="connsiteY8" fmla="*/ 215153 h 2623671"/>
              <a:gd name="connsiteX9" fmla="*/ 6968564 w 7357035"/>
              <a:gd name="connsiteY9" fmla="*/ 251012 h 2623671"/>
              <a:gd name="connsiteX10" fmla="*/ 6920753 w 7357035"/>
              <a:gd name="connsiteY10" fmla="*/ 251012 h 2623671"/>
              <a:gd name="connsiteX11" fmla="*/ 6920753 w 7357035"/>
              <a:gd name="connsiteY11" fmla="*/ 268941 h 2623671"/>
              <a:gd name="connsiteX12" fmla="*/ 6872941 w 7357035"/>
              <a:gd name="connsiteY12" fmla="*/ 268941 h 2623671"/>
              <a:gd name="connsiteX13" fmla="*/ 6872941 w 7357035"/>
              <a:gd name="connsiteY13" fmla="*/ 316753 h 2623671"/>
              <a:gd name="connsiteX14" fmla="*/ 6771341 w 7357035"/>
              <a:gd name="connsiteY14" fmla="*/ 316753 h 2623671"/>
              <a:gd name="connsiteX15" fmla="*/ 6771341 w 7357035"/>
              <a:gd name="connsiteY15" fmla="*/ 334682 h 2623671"/>
              <a:gd name="connsiteX16" fmla="*/ 6681694 w 7357035"/>
              <a:gd name="connsiteY16" fmla="*/ 334682 h 2623671"/>
              <a:gd name="connsiteX17" fmla="*/ 6681694 w 7357035"/>
              <a:gd name="connsiteY17" fmla="*/ 358588 h 2623671"/>
              <a:gd name="connsiteX18" fmla="*/ 6627906 w 7357035"/>
              <a:gd name="connsiteY18" fmla="*/ 358588 h 2623671"/>
              <a:gd name="connsiteX19" fmla="*/ 6627906 w 7357035"/>
              <a:gd name="connsiteY19" fmla="*/ 382494 h 2623671"/>
              <a:gd name="connsiteX20" fmla="*/ 6490447 w 7357035"/>
              <a:gd name="connsiteY20" fmla="*/ 382494 h 2623671"/>
              <a:gd name="connsiteX21" fmla="*/ 6490447 w 7357035"/>
              <a:gd name="connsiteY21" fmla="*/ 412376 h 2623671"/>
              <a:gd name="connsiteX22" fmla="*/ 6370917 w 7357035"/>
              <a:gd name="connsiteY22" fmla="*/ 412376 h 2623671"/>
              <a:gd name="connsiteX23" fmla="*/ 6370917 w 7357035"/>
              <a:gd name="connsiteY23" fmla="*/ 436282 h 2623671"/>
              <a:gd name="connsiteX24" fmla="*/ 6329082 w 7357035"/>
              <a:gd name="connsiteY24" fmla="*/ 436282 h 2623671"/>
              <a:gd name="connsiteX25" fmla="*/ 6341035 w 7357035"/>
              <a:gd name="connsiteY25" fmla="*/ 448235 h 2623671"/>
              <a:gd name="connsiteX26" fmla="*/ 6305176 w 7357035"/>
              <a:gd name="connsiteY26" fmla="*/ 448235 h 2623671"/>
              <a:gd name="connsiteX27" fmla="*/ 6305176 w 7357035"/>
              <a:gd name="connsiteY27" fmla="*/ 472141 h 2623671"/>
              <a:gd name="connsiteX28" fmla="*/ 6263341 w 7357035"/>
              <a:gd name="connsiteY28" fmla="*/ 472141 h 2623671"/>
              <a:gd name="connsiteX29" fmla="*/ 6257364 w 7357035"/>
              <a:gd name="connsiteY29" fmla="*/ 478118 h 2623671"/>
              <a:gd name="connsiteX30" fmla="*/ 6209553 w 7357035"/>
              <a:gd name="connsiteY30" fmla="*/ 478118 h 2623671"/>
              <a:gd name="connsiteX31" fmla="*/ 6209553 w 7357035"/>
              <a:gd name="connsiteY31" fmla="*/ 508000 h 2623671"/>
              <a:gd name="connsiteX32" fmla="*/ 6179670 w 7357035"/>
              <a:gd name="connsiteY32" fmla="*/ 508000 h 2623671"/>
              <a:gd name="connsiteX33" fmla="*/ 6191623 w 7357035"/>
              <a:gd name="connsiteY33" fmla="*/ 519953 h 2623671"/>
              <a:gd name="connsiteX34" fmla="*/ 6155764 w 7357035"/>
              <a:gd name="connsiteY34" fmla="*/ 519953 h 2623671"/>
              <a:gd name="connsiteX35" fmla="*/ 6155764 w 7357035"/>
              <a:gd name="connsiteY35" fmla="*/ 549835 h 2623671"/>
              <a:gd name="connsiteX36" fmla="*/ 6119906 w 7357035"/>
              <a:gd name="connsiteY36" fmla="*/ 549835 h 2623671"/>
              <a:gd name="connsiteX37" fmla="*/ 6119906 w 7357035"/>
              <a:gd name="connsiteY37" fmla="*/ 579718 h 2623671"/>
              <a:gd name="connsiteX38" fmla="*/ 6101977 w 7357035"/>
              <a:gd name="connsiteY38" fmla="*/ 597647 h 2623671"/>
              <a:gd name="connsiteX39" fmla="*/ 6078070 w 7357035"/>
              <a:gd name="connsiteY39" fmla="*/ 597647 h 2623671"/>
              <a:gd name="connsiteX40" fmla="*/ 6078070 w 7357035"/>
              <a:gd name="connsiteY40" fmla="*/ 615576 h 2623671"/>
              <a:gd name="connsiteX41" fmla="*/ 6024282 w 7357035"/>
              <a:gd name="connsiteY41" fmla="*/ 615576 h 2623671"/>
              <a:gd name="connsiteX42" fmla="*/ 6030259 w 7357035"/>
              <a:gd name="connsiteY42" fmla="*/ 621553 h 2623671"/>
              <a:gd name="connsiteX43" fmla="*/ 5940612 w 7357035"/>
              <a:gd name="connsiteY43" fmla="*/ 621553 h 2623671"/>
              <a:gd name="connsiteX44" fmla="*/ 5940612 w 7357035"/>
              <a:gd name="connsiteY44" fmla="*/ 645459 h 2623671"/>
              <a:gd name="connsiteX45" fmla="*/ 5934635 w 7357035"/>
              <a:gd name="connsiteY45" fmla="*/ 639482 h 2623671"/>
              <a:gd name="connsiteX46" fmla="*/ 5934635 w 7357035"/>
              <a:gd name="connsiteY46" fmla="*/ 657412 h 2623671"/>
              <a:gd name="connsiteX47" fmla="*/ 5898776 w 7357035"/>
              <a:gd name="connsiteY47" fmla="*/ 657412 h 2623671"/>
              <a:gd name="connsiteX48" fmla="*/ 5898776 w 7357035"/>
              <a:gd name="connsiteY48" fmla="*/ 675341 h 2623671"/>
              <a:gd name="connsiteX49" fmla="*/ 5868894 w 7357035"/>
              <a:gd name="connsiteY49" fmla="*/ 675341 h 2623671"/>
              <a:gd name="connsiteX50" fmla="*/ 5868894 w 7357035"/>
              <a:gd name="connsiteY50" fmla="*/ 687294 h 2623671"/>
              <a:gd name="connsiteX51" fmla="*/ 5850964 w 7357035"/>
              <a:gd name="connsiteY51" fmla="*/ 705224 h 2623671"/>
              <a:gd name="connsiteX52" fmla="*/ 5803153 w 7357035"/>
              <a:gd name="connsiteY52" fmla="*/ 705224 h 2623671"/>
              <a:gd name="connsiteX53" fmla="*/ 5803153 w 7357035"/>
              <a:gd name="connsiteY53" fmla="*/ 741082 h 2623671"/>
              <a:gd name="connsiteX54" fmla="*/ 5677647 w 7357035"/>
              <a:gd name="connsiteY54" fmla="*/ 741082 h 2623671"/>
              <a:gd name="connsiteX55" fmla="*/ 5677647 w 7357035"/>
              <a:gd name="connsiteY55" fmla="*/ 747059 h 2623671"/>
              <a:gd name="connsiteX56" fmla="*/ 5641788 w 7357035"/>
              <a:gd name="connsiteY56" fmla="*/ 747059 h 2623671"/>
              <a:gd name="connsiteX57" fmla="*/ 5641788 w 7357035"/>
              <a:gd name="connsiteY57" fmla="*/ 770965 h 2623671"/>
              <a:gd name="connsiteX58" fmla="*/ 5593976 w 7357035"/>
              <a:gd name="connsiteY58" fmla="*/ 770965 h 2623671"/>
              <a:gd name="connsiteX59" fmla="*/ 5593976 w 7357035"/>
              <a:gd name="connsiteY59" fmla="*/ 794871 h 2623671"/>
              <a:gd name="connsiteX60" fmla="*/ 5492376 w 7357035"/>
              <a:gd name="connsiteY60" fmla="*/ 794871 h 2623671"/>
              <a:gd name="connsiteX61" fmla="*/ 5492376 w 7357035"/>
              <a:gd name="connsiteY61" fmla="*/ 812800 h 2623671"/>
              <a:gd name="connsiteX62" fmla="*/ 5450541 w 7357035"/>
              <a:gd name="connsiteY62" fmla="*/ 812800 h 2623671"/>
              <a:gd name="connsiteX63" fmla="*/ 5450541 w 7357035"/>
              <a:gd name="connsiteY63" fmla="*/ 824753 h 2623671"/>
              <a:gd name="connsiteX64" fmla="*/ 5408706 w 7357035"/>
              <a:gd name="connsiteY64" fmla="*/ 824753 h 2623671"/>
              <a:gd name="connsiteX65" fmla="*/ 5408706 w 7357035"/>
              <a:gd name="connsiteY65" fmla="*/ 842682 h 2623671"/>
              <a:gd name="connsiteX66" fmla="*/ 5331012 w 7357035"/>
              <a:gd name="connsiteY66" fmla="*/ 842682 h 2623671"/>
              <a:gd name="connsiteX67" fmla="*/ 5325035 w 7357035"/>
              <a:gd name="connsiteY67" fmla="*/ 848659 h 2623671"/>
              <a:gd name="connsiteX68" fmla="*/ 5205506 w 7357035"/>
              <a:gd name="connsiteY68" fmla="*/ 848659 h 2623671"/>
              <a:gd name="connsiteX69" fmla="*/ 5205506 w 7357035"/>
              <a:gd name="connsiteY69" fmla="*/ 866588 h 2623671"/>
              <a:gd name="connsiteX70" fmla="*/ 5157694 w 7357035"/>
              <a:gd name="connsiteY70" fmla="*/ 866588 h 2623671"/>
              <a:gd name="connsiteX71" fmla="*/ 5157694 w 7357035"/>
              <a:gd name="connsiteY71" fmla="*/ 884518 h 2623671"/>
              <a:gd name="connsiteX72" fmla="*/ 5127812 w 7357035"/>
              <a:gd name="connsiteY72" fmla="*/ 884518 h 2623671"/>
              <a:gd name="connsiteX73" fmla="*/ 5127812 w 7357035"/>
              <a:gd name="connsiteY73" fmla="*/ 902447 h 2623671"/>
              <a:gd name="connsiteX74" fmla="*/ 5109882 w 7357035"/>
              <a:gd name="connsiteY74" fmla="*/ 902447 h 2623671"/>
              <a:gd name="connsiteX75" fmla="*/ 5109882 w 7357035"/>
              <a:gd name="connsiteY75" fmla="*/ 914400 h 2623671"/>
              <a:gd name="connsiteX76" fmla="*/ 5062070 w 7357035"/>
              <a:gd name="connsiteY76" fmla="*/ 914400 h 2623671"/>
              <a:gd name="connsiteX77" fmla="*/ 5062070 w 7357035"/>
              <a:gd name="connsiteY77" fmla="*/ 926353 h 2623671"/>
              <a:gd name="connsiteX78" fmla="*/ 5020235 w 7357035"/>
              <a:gd name="connsiteY78" fmla="*/ 926353 h 2623671"/>
              <a:gd name="connsiteX79" fmla="*/ 5020235 w 7357035"/>
              <a:gd name="connsiteY79" fmla="*/ 938306 h 2623671"/>
              <a:gd name="connsiteX80" fmla="*/ 4972423 w 7357035"/>
              <a:gd name="connsiteY80" fmla="*/ 938306 h 2623671"/>
              <a:gd name="connsiteX81" fmla="*/ 4972423 w 7357035"/>
              <a:gd name="connsiteY81" fmla="*/ 950259 h 2623671"/>
              <a:gd name="connsiteX82" fmla="*/ 4954494 w 7357035"/>
              <a:gd name="connsiteY82" fmla="*/ 950259 h 2623671"/>
              <a:gd name="connsiteX83" fmla="*/ 4954494 w 7357035"/>
              <a:gd name="connsiteY83" fmla="*/ 968188 h 2623671"/>
              <a:gd name="connsiteX84" fmla="*/ 4888753 w 7357035"/>
              <a:gd name="connsiteY84" fmla="*/ 968188 h 2623671"/>
              <a:gd name="connsiteX85" fmla="*/ 4888753 w 7357035"/>
              <a:gd name="connsiteY85" fmla="*/ 980141 h 2623671"/>
              <a:gd name="connsiteX86" fmla="*/ 4775200 w 7357035"/>
              <a:gd name="connsiteY86" fmla="*/ 980141 h 2623671"/>
              <a:gd name="connsiteX87" fmla="*/ 4775200 w 7357035"/>
              <a:gd name="connsiteY87" fmla="*/ 998071 h 2623671"/>
              <a:gd name="connsiteX88" fmla="*/ 4691529 w 7357035"/>
              <a:gd name="connsiteY88" fmla="*/ 998071 h 2623671"/>
              <a:gd name="connsiteX89" fmla="*/ 4691529 w 7357035"/>
              <a:gd name="connsiteY89" fmla="*/ 1039906 h 2623671"/>
              <a:gd name="connsiteX90" fmla="*/ 4589929 w 7357035"/>
              <a:gd name="connsiteY90" fmla="*/ 1039906 h 2623671"/>
              <a:gd name="connsiteX91" fmla="*/ 4583953 w 7357035"/>
              <a:gd name="connsiteY91" fmla="*/ 1039906 h 2623671"/>
              <a:gd name="connsiteX92" fmla="*/ 4506259 w 7357035"/>
              <a:gd name="connsiteY92" fmla="*/ 1039906 h 2623671"/>
              <a:gd name="connsiteX93" fmla="*/ 4506259 w 7357035"/>
              <a:gd name="connsiteY93" fmla="*/ 1063812 h 2623671"/>
              <a:gd name="connsiteX94" fmla="*/ 4458447 w 7357035"/>
              <a:gd name="connsiteY94" fmla="*/ 1063812 h 2623671"/>
              <a:gd name="connsiteX95" fmla="*/ 4458447 w 7357035"/>
              <a:gd name="connsiteY95" fmla="*/ 1069788 h 2623671"/>
              <a:gd name="connsiteX96" fmla="*/ 4410635 w 7357035"/>
              <a:gd name="connsiteY96" fmla="*/ 1069788 h 2623671"/>
              <a:gd name="connsiteX97" fmla="*/ 4410635 w 7357035"/>
              <a:gd name="connsiteY97" fmla="*/ 1087718 h 2623671"/>
              <a:gd name="connsiteX98" fmla="*/ 4362823 w 7357035"/>
              <a:gd name="connsiteY98" fmla="*/ 1087718 h 2623671"/>
              <a:gd name="connsiteX99" fmla="*/ 4362823 w 7357035"/>
              <a:gd name="connsiteY99" fmla="*/ 1099671 h 2623671"/>
              <a:gd name="connsiteX100" fmla="*/ 4309035 w 7357035"/>
              <a:gd name="connsiteY100" fmla="*/ 1099671 h 2623671"/>
              <a:gd name="connsiteX101" fmla="*/ 4309035 w 7357035"/>
              <a:gd name="connsiteY101" fmla="*/ 1111624 h 2623671"/>
              <a:gd name="connsiteX102" fmla="*/ 4219388 w 7357035"/>
              <a:gd name="connsiteY102" fmla="*/ 1111624 h 2623671"/>
              <a:gd name="connsiteX103" fmla="*/ 4219388 w 7357035"/>
              <a:gd name="connsiteY103" fmla="*/ 1135529 h 2623671"/>
              <a:gd name="connsiteX104" fmla="*/ 4165600 w 7357035"/>
              <a:gd name="connsiteY104" fmla="*/ 1135529 h 2623671"/>
              <a:gd name="connsiteX105" fmla="*/ 4165600 w 7357035"/>
              <a:gd name="connsiteY105" fmla="*/ 1141506 h 2623671"/>
              <a:gd name="connsiteX106" fmla="*/ 4081929 w 7357035"/>
              <a:gd name="connsiteY106" fmla="*/ 1141506 h 2623671"/>
              <a:gd name="connsiteX107" fmla="*/ 4081929 w 7357035"/>
              <a:gd name="connsiteY107" fmla="*/ 1177365 h 2623671"/>
              <a:gd name="connsiteX108" fmla="*/ 4010212 w 7357035"/>
              <a:gd name="connsiteY108" fmla="*/ 1177365 h 2623671"/>
              <a:gd name="connsiteX109" fmla="*/ 4010212 w 7357035"/>
              <a:gd name="connsiteY109" fmla="*/ 1213224 h 2623671"/>
              <a:gd name="connsiteX110" fmla="*/ 4004235 w 7357035"/>
              <a:gd name="connsiteY110" fmla="*/ 1213224 h 2623671"/>
              <a:gd name="connsiteX111" fmla="*/ 4004235 w 7357035"/>
              <a:gd name="connsiteY111" fmla="*/ 1243106 h 2623671"/>
              <a:gd name="connsiteX112" fmla="*/ 3920564 w 7357035"/>
              <a:gd name="connsiteY112" fmla="*/ 1243106 h 2623671"/>
              <a:gd name="connsiteX113" fmla="*/ 3920564 w 7357035"/>
              <a:gd name="connsiteY113" fmla="*/ 1261035 h 2623671"/>
              <a:gd name="connsiteX114" fmla="*/ 3848847 w 7357035"/>
              <a:gd name="connsiteY114" fmla="*/ 1261035 h 2623671"/>
              <a:gd name="connsiteX115" fmla="*/ 3842870 w 7357035"/>
              <a:gd name="connsiteY115" fmla="*/ 1267012 h 2623671"/>
              <a:gd name="connsiteX116" fmla="*/ 3818964 w 7357035"/>
              <a:gd name="connsiteY116" fmla="*/ 1267012 h 2623671"/>
              <a:gd name="connsiteX117" fmla="*/ 3818964 w 7357035"/>
              <a:gd name="connsiteY117" fmla="*/ 1290918 h 2623671"/>
              <a:gd name="connsiteX118" fmla="*/ 3693459 w 7357035"/>
              <a:gd name="connsiteY118" fmla="*/ 1290918 h 2623671"/>
              <a:gd name="connsiteX119" fmla="*/ 3693459 w 7357035"/>
              <a:gd name="connsiteY119" fmla="*/ 1308847 h 2623671"/>
              <a:gd name="connsiteX120" fmla="*/ 3621741 w 7357035"/>
              <a:gd name="connsiteY120" fmla="*/ 1308847 h 2623671"/>
              <a:gd name="connsiteX121" fmla="*/ 3621741 w 7357035"/>
              <a:gd name="connsiteY121" fmla="*/ 1320800 h 2623671"/>
              <a:gd name="connsiteX122" fmla="*/ 3550023 w 7357035"/>
              <a:gd name="connsiteY122" fmla="*/ 1320800 h 2623671"/>
              <a:gd name="connsiteX123" fmla="*/ 3550023 w 7357035"/>
              <a:gd name="connsiteY123" fmla="*/ 1338729 h 2623671"/>
              <a:gd name="connsiteX124" fmla="*/ 3532094 w 7357035"/>
              <a:gd name="connsiteY124" fmla="*/ 1338729 h 2623671"/>
              <a:gd name="connsiteX125" fmla="*/ 3520141 w 7357035"/>
              <a:gd name="connsiteY125" fmla="*/ 1350682 h 2623671"/>
              <a:gd name="connsiteX126" fmla="*/ 3484282 w 7357035"/>
              <a:gd name="connsiteY126" fmla="*/ 1350682 h 2623671"/>
              <a:gd name="connsiteX127" fmla="*/ 3484282 w 7357035"/>
              <a:gd name="connsiteY127" fmla="*/ 1362635 h 2623671"/>
              <a:gd name="connsiteX128" fmla="*/ 3472329 w 7357035"/>
              <a:gd name="connsiteY128" fmla="*/ 1362635 h 2623671"/>
              <a:gd name="connsiteX129" fmla="*/ 3472329 w 7357035"/>
              <a:gd name="connsiteY129" fmla="*/ 1374588 h 2623671"/>
              <a:gd name="connsiteX130" fmla="*/ 3448423 w 7357035"/>
              <a:gd name="connsiteY130" fmla="*/ 1374588 h 2623671"/>
              <a:gd name="connsiteX131" fmla="*/ 3448423 w 7357035"/>
              <a:gd name="connsiteY131" fmla="*/ 1392518 h 2623671"/>
              <a:gd name="connsiteX132" fmla="*/ 3400612 w 7357035"/>
              <a:gd name="connsiteY132" fmla="*/ 1392518 h 2623671"/>
              <a:gd name="connsiteX133" fmla="*/ 3400612 w 7357035"/>
              <a:gd name="connsiteY133" fmla="*/ 1410447 h 2623671"/>
              <a:gd name="connsiteX134" fmla="*/ 3358776 w 7357035"/>
              <a:gd name="connsiteY134" fmla="*/ 1410447 h 2623671"/>
              <a:gd name="connsiteX135" fmla="*/ 3358776 w 7357035"/>
              <a:gd name="connsiteY135" fmla="*/ 1422400 h 2623671"/>
              <a:gd name="connsiteX136" fmla="*/ 3316941 w 7357035"/>
              <a:gd name="connsiteY136" fmla="*/ 1422400 h 2623671"/>
              <a:gd name="connsiteX137" fmla="*/ 3316941 w 7357035"/>
              <a:gd name="connsiteY137" fmla="*/ 1428376 h 2623671"/>
              <a:gd name="connsiteX138" fmla="*/ 3299012 w 7357035"/>
              <a:gd name="connsiteY138" fmla="*/ 1428376 h 2623671"/>
              <a:gd name="connsiteX139" fmla="*/ 3299012 w 7357035"/>
              <a:gd name="connsiteY139" fmla="*/ 1446306 h 2623671"/>
              <a:gd name="connsiteX140" fmla="*/ 3269129 w 7357035"/>
              <a:gd name="connsiteY140" fmla="*/ 1446306 h 2623671"/>
              <a:gd name="connsiteX141" fmla="*/ 3269129 w 7357035"/>
              <a:gd name="connsiteY141" fmla="*/ 1452282 h 2623671"/>
              <a:gd name="connsiteX142" fmla="*/ 3239247 w 7357035"/>
              <a:gd name="connsiteY142" fmla="*/ 1452282 h 2623671"/>
              <a:gd name="connsiteX143" fmla="*/ 3239247 w 7357035"/>
              <a:gd name="connsiteY143" fmla="*/ 1470212 h 2623671"/>
              <a:gd name="connsiteX144" fmla="*/ 3173506 w 7357035"/>
              <a:gd name="connsiteY144" fmla="*/ 1470212 h 2623671"/>
              <a:gd name="connsiteX145" fmla="*/ 3185459 w 7357035"/>
              <a:gd name="connsiteY145" fmla="*/ 1482165 h 2623671"/>
              <a:gd name="connsiteX146" fmla="*/ 3155576 w 7357035"/>
              <a:gd name="connsiteY146" fmla="*/ 1482165 h 2623671"/>
              <a:gd name="connsiteX147" fmla="*/ 3155576 w 7357035"/>
              <a:gd name="connsiteY147" fmla="*/ 1488141 h 2623671"/>
              <a:gd name="connsiteX148" fmla="*/ 3131670 w 7357035"/>
              <a:gd name="connsiteY148" fmla="*/ 1488141 h 2623671"/>
              <a:gd name="connsiteX149" fmla="*/ 3125694 w 7357035"/>
              <a:gd name="connsiteY149" fmla="*/ 1494117 h 2623671"/>
              <a:gd name="connsiteX150" fmla="*/ 2958353 w 7357035"/>
              <a:gd name="connsiteY150" fmla="*/ 1494117 h 2623671"/>
              <a:gd name="connsiteX151" fmla="*/ 2958353 w 7357035"/>
              <a:gd name="connsiteY151" fmla="*/ 1506071 h 2623671"/>
              <a:gd name="connsiteX152" fmla="*/ 2886635 w 7357035"/>
              <a:gd name="connsiteY152" fmla="*/ 1506071 h 2623671"/>
              <a:gd name="connsiteX153" fmla="*/ 2826870 w 7357035"/>
              <a:gd name="connsiteY153" fmla="*/ 1506071 h 2623671"/>
              <a:gd name="connsiteX154" fmla="*/ 2826870 w 7357035"/>
              <a:gd name="connsiteY154" fmla="*/ 1535953 h 2623671"/>
              <a:gd name="connsiteX155" fmla="*/ 2802964 w 7357035"/>
              <a:gd name="connsiteY155" fmla="*/ 1535953 h 2623671"/>
              <a:gd name="connsiteX156" fmla="*/ 2785035 w 7357035"/>
              <a:gd name="connsiteY156" fmla="*/ 1553882 h 2623671"/>
              <a:gd name="connsiteX157" fmla="*/ 2713317 w 7357035"/>
              <a:gd name="connsiteY157" fmla="*/ 1553882 h 2623671"/>
              <a:gd name="connsiteX158" fmla="*/ 2713317 w 7357035"/>
              <a:gd name="connsiteY158" fmla="*/ 1601694 h 2623671"/>
              <a:gd name="connsiteX159" fmla="*/ 2611717 w 7357035"/>
              <a:gd name="connsiteY159" fmla="*/ 1601694 h 2623671"/>
              <a:gd name="connsiteX160" fmla="*/ 2599764 w 7357035"/>
              <a:gd name="connsiteY160" fmla="*/ 1613647 h 2623671"/>
              <a:gd name="connsiteX161" fmla="*/ 2534023 w 7357035"/>
              <a:gd name="connsiteY161" fmla="*/ 1613647 h 2623671"/>
              <a:gd name="connsiteX162" fmla="*/ 2534023 w 7357035"/>
              <a:gd name="connsiteY162" fmla="*/ 1613647 h 2623671"/>
              <a:gd name="connsiteX163" fmla="*/ 2498164 w 7357035"/>
              <a:gd name="connsiteY163" fmla="*/ 1649506 h 2623671"/>
              <a:gd name="connsiteX164" fmla="*/ 2498164 w 7357035"/>
              <a:gd name="connsiteY164" fmla="*/ 1673412 h 2623671"/>
              <a:gd name="connsiteX165" fmla="*/ 2486212 w 7357035"/>
              <a:gd name="connsiteY165" fmla="*/ 1673412 h 2623671"/>
              <a:gd name="connsiteX166" fmla="*/ 2480235 w 7357035"/>
              <a:gd name="connsiteY166" fmla="*/ 1679389 h 2623671"/>
              <a:gd name="connsiteX167" fmla="*/ 2468283 w 7357035"/>
              <a:gd name="connsiteY167" fmla="*/ 1691341 h 2623671"/>
              <a:gd name="connsiteX168" fmla="*/ 2462306 w 7357035"/>
              <a:gd name="connsiteY168" fmla="*/ 1697318 h 2623671"/>
              <a:gd name="connsiteX169" fmla="*/ 2384612 w 7357035"/>
              <a:gd name="connsiteY169" fmla="*/ 1697318 h 2623671"/>
              <a:gd name="connsiteX170" fmla="*/ 2384612 w 7357035"/>
              <a:gd name="connsiteY170" fmla="*/ 1715247 h 2623671"/>
              <a:gd name="connsiteX171" fmla="*/ 2360706 w 7357035"/>
              <a:gd name="connsiteY171" fmla="*/ 1715247 h 2623671"/>
              <a:gd name="connsiteX172" fmla="*/ 2360706 w 7357035"/>
              <a:gd name="connsiteY172" fmla="*/ 1745129 h 2623671"/>
              <a:gd name="connsiteX173" fmla="*/ 2312894 w 7357035"/>
              <a:gd name="connsiteY173" fmla="*/ 1745129 h 2623671"/>
              <a:gd name="connsiteX174" fmla="*/ 2312894 w 7357035"/>
              <a:gd name="connsiteY174" fmla="*/ 1769035 h 2623671"/>
              <a:gd name="connsiteX175" fmla="*/ 2283012 w 7357035"/>
              <a:gd name="connsiteY175" fmla="*/ 1769035 h 2623671"/>
              <a:gd name="connsiteX176" fmla="*/ 2283012 w 7357035"/>
              <a:gd name="connsiteY176" fmla="*/ 1792941 h 2623671"/>
              <a:gd name="connsiteX177" fmla="*/ 2265082 w 7357035"/>
              <a:gd name="connsiteY177" fmla="*/ 1792941 h 2623671"/>
              <a:gd name="connsiteX178" fmla="*/ 2265082 w 7357035"/>
              <a:gd name="connsiteY178" fmla="*/ 1810871 h 2623671"/>
              <a:gd name="connsiteX179" fmla="*/ 2193364 w 7357035"/>
              <a:gd name="connsiteY179" fmla="*/ 1810871 h 2623671"/>
              <a:gd name="connsiteX180" fmla="*/ 2193364 w 7357035"/>
              <a:gd name="connsiteY180" fmla="*/ 1828800 h 2623671"/>
              <a:gd name="connsiteX181" fmla="*/ 2169459 w 7357035"/>
              <a:gd name="connsiteY181" fmla="*/ 1828800 h 2623671"/>
              <a:gd name="connsiteX182" fmla="*/ 2163482 w 7357035"/>
              <a:gd name="connsiteY182" fmla="*/ 1834777 h 2623671"/>
              <a:gd name="connsiteX183" fmla="*/ 2133600 w 7357035"/>
              <a:gd name="connsiteY183" fmla="*/ 1834777 h 2623671"/>
              <a:gd name="connsiteX184" fmla="*/ 2133600 w 7357035"/>
              <a:gd name="connsiteY184" fmla="*/ 1852706 h 2623671"/>
              <a:gd name="connsiteX185" fmla="*/ 2103717 w 7357035"/>
              <a:gd name="connsiteY185" fmla="*/ 1852706 h 2623671"/>
              <a:gd name="connsiteX186" fmla="*/ 2103717 w 7357035"/>
              <a:gd name="connsiteY186" fmla="*/ 1864659 h 2623671"/>
              <a:gd name="connsiteX187" fmla="*/ 2073835 w 7357035"/>
              <a:gd name="connsiteY187" fmla="*/ 1864659 h 2623671"/>
              <a:gd name="connsiteX188" fmla="*/ 2079812 w 7357035"/>
              <a:gd name="connsiteY188" fmla="*/ 1870636 h 2623671"/>
              <a:gd name="connsiteX189" fmla="*/ 2055906 w 7357035"/>
              <a:gd name="connsiteY189" fmla="*/ 1870636 h 2623671"/>
              <a:gd name="connsiteX190" fmla="*/ 2055906 w 7357035"/>
              <a:gd name="connsiteY190" fmla="*/ 1894541 h 2623671"/>
              <a:gd name="connsiteX191" fmla="*/ 2026023 w 7357035"/>
              <a:gd name="connsiteY191" fmla="*/ 1894541 h 2623671"/>
              <a:gd name="connsiteX192" fmla="*/ 2026023 w 7357035"/>
              <a:gd name="connsiteY192" fmla="*/ 1906494 h 2623671"/>
              <a:gd name="connsiteX193" fmla="*/ 1936376 w 7357035"/>
              <a:gd name="connsiteY193" fmla="*/ 1906494 h 2623671"/>
              <a:gd name="connsiteX194" fmla="*/ 1936376 w 7357035"/>
              <a:gd name="connsiteY194" fmla="*/ 1930400 h 2623671"/>
              <a:gd name="connsiteX195" fmla="*/ 1918447 w 7357035"/>
              <a:gd name="connsiteY195" fmla="*/ 1930400 h 2623671"/>
              <a:gd name="connsiteX196" fmla="*/ 1918447 w 7357035"/>
              <a:gd name="connsiteY196" fmla="*/ 1942353 h 2623671"/>
              <a:gd name="connsiteX197" fmla="*/ 1888564 w 7357035"/>
              <a:gd name="connsiteY197" fmla="*/ 1942353 h 2623671"/>
              <a:gd name="connsiteX198" fmla="*/ 1888564 w 7357035"/>
              <a:gd name="connsiteY198" fmla="*/ 1966259 h 2623671"/>
              <a:gd name="connsiteX199" fmla="*/ 1870635 w 7357035"/>
              <a:gd name="connsiteY199" fmla="*/ 1966259 h 2623671"/>
              <a:gd name="connsiteX200" fmla="*/ 1870635 w 7357035"/>
              <a:gd name="connsiteY200" fmla="*/ 1984188 h 2623671"/>
              <a:gd name="connsiteX201" fmla="*/ 1822823 w 7357035"/>
              <a:gd name="connsiteY201" fmla="*/ 1984188 h 2623671"/>
              <a:gd name="connsiteX202" fmla="*/ 1822823 w 7357035"/>
              <a:gd name="connsiteY202" fmla="*/ 2002118 h 2623671"/>
              <a:gd name="connsiteX203" fmla="*/ 1780988 w 7357035"/>
              <a:gd name="connsiteY203" fmla="*/ 2002118 h 2623671"/>
              <a:gd name="connsiteX204" fmla="*/ 1780988 w 7357035"/>
              <a:gd name="connsiteY204" fmla="*/ 2014071 h 2623671"/>
              <a:gd name="connsiteX205" fmla="*/ 1751106 w 7357035"/>
              <a:gd name="connsiteY205" fmla="*/ 2014071 h 2623671"/>
              <a:gd name="connsiteX206" fmla="*/ 1751106 w 7357035"/>
              <a:gd name="connsiteY206" fmla="*/ 2026024 h 2623671"/>
              <a:gd name="connsiteX207" fmla="*/ 1751106 w 7357035"/>
              <a:gd name="connsiteY207" fmla="*/ 2026024 h 2623671"/>
              <a:gd name="connsiteX208" fmla="*/ 1727201 w 7357035"/>
              <a:gd name="connsiteY208" fmla="*/ 2049929 h 2623671"/>
              <a:gd name="connsiteX209" fmla="*/ 1643529 w 7357035"/>
              <a:gd name="connsiteY209" fmla="*/ 2049929 h 2623671"/>
              <a:gd name="connsiteX210" fmla="*/ 1649506 w 7357035"/>
              <a:gd name="connsiteY210" fmla="*/ 2055906 h 2623671"/>
              <a:gd name="connsiteX211" fmla="*/ 1613647 w 7357035"/>
              <a:gd name="connsiteY211" fmla="*/ 2055906 h 2623671"/>
              <a:gd name="connsiteX212" fmla="*/ 1613647 w 7357035"/>
              <a:gd name="connsiteY212" fmla="*/ 2055906 h 2623671"/>
              <a:gd name="connsiteX213" fmla="*/ 1589741 w 7357035"/>
              <a:gd name="connsiteY213" fmla="*/ 2079812 h 2623671"/>
              <a:gd name="connsiteX214" fmla="*/ 1571812 w 7357035"/>
              <a:gd name="connsiteY214" fmla="*/ 2097741 h 2623671"/>
              <a:gd name="connsiteX215" fmla="*/ 1541929 w 7357035"/>
              <a:gd name="connsiteY215" fmla="*/ 2097741 h 2623671"/>
              <a:gd name="connsiteX216" fmla="*/ 1541929 w 7357035"/>
              <a:gd name="connsiteY216" fmla="*/ 2115671 h 2623671"/>
              <a:gd name="connsiteX217" fmla="*/ 1506070 w 7357035"/>
              <a:gd name="connsiteY217" fmla="*/ 2115671 h 2623671"/>
              <a:gd name="connsiteX218" fmla="*/ 1506070 w 7357035"/>
              <a:gd name="connsiteY218" fmla="*/ 2127624 h 2623671"/>
              <a:gd name="connsiteX219" fmla="*/ 1446306 w 7357035"/>
              <a:gd name="connsiteY219" fmla="*/ 2127624 h 2623671"/>
              <a:gd name="connsiteX220" fmla="*/ 1446306 w 7357035"/>
              <a:gd name="connsiteY220" fmla="*/ 2139576 h 2623671"/>
              <a:gd name="connsiteX221" fmla="*/ 1398494 w 7357035"/>
              <a:gd name="connsiteY221" fmla="*/ 2139576 h 2623671"/>
              <a:gd name="connsiteX222" fmla="*/ 1398494 w 7357035"/>
              <a:gd name="connsiteY222" fmla="*/ 2151529 h 2623671"/>
              <a:gd name="connsiteX223" fmla="*/ 1344706 w 7357035"/>
              <a:gd name="connsiteY223" fmla="*/ 2151529 h 2623671"/>
              <a:gd name="connsiteX224" fmla="*/ 1344706 w 7357035"/>
              <a:gd name="connsiteY224" fmla="*/ 2169459 h 2623671"/>
              <a:gd name="connsiteX225" fmla="*/ 1296894 w 7357035"/>
              <a:gd name="connsiteY225" fmla="*/ 2169459 h 2623671"/>
              <a:gd name="connsiteX226" fmla="*/ 1296894 w 7357035"/>
              <a:gd name="connsiteY226" fmla="*/ 2175435 h 2623671"/>
              <a:gd name="connsiteX227" fmla="*/ 1261035 w 7357035"/>
              <a:gd name="connsiteY227" fmla="*/ 2175435 h 2623671"/>
              <a:gd name="connsiteX228" fmla="*/ 1261035 w 7357035"/>
              <a:gd name="connsiteY228" fmla="*/ 2181412 h 2623671"/>
              <a:gd name="connsiteX229" fmla="*/ 1213223 w 7357035"/>
              <a:gd name="connsiteY229" fmla="*/ 2181412 h 2623671"/>
              <a:gd name="connsiteX230" fmla="*/ 1213223 w 7357035"/>
              <a:gd name="connsiteY230" fmla="*/ 2193365 h 2623671"/>
              <a:gd name="connsiteX231" fmla="*/ 1123576 w 7357035"/>
              <a:gd name="connsiteY231" fmla="*/ 2193365 h 2623671"/>
              <a:gd name="connsiteX232" fmla="*/ 1123576 w 7357035"/>
              <a:gd name="connsiteY232" fmla="*/ 2217271 h 2623671"/>
              <a:gd name="connsiteX233" fmla="*/ 1057835 w 7357035"/>
              <a:gd name="connsiteY233" fmla="*/ 2217271 h 2623671"/>
              <a:gd name="connsiteX234" fmla="*/ 1051859 w 7357035"/>
              <a:gd name="connsiteY234" fmla="*/ 2223247 h 2623671"/>
              <a:gd name="connsiteX235" fmla="*/ 1004047 w 7357035"/>
              <a:gd name="connsiteY235" fmla="*/ 2223247 h 2623671"/>
              <a:gd name="connsiteX236" fmla="*/ 1004047 w 7357035"/>
              <a:gd name="connsiteY236" fmla="*/ 2253129 h 2623671"/>
              <a:gd name="connsiteX237" fmla="*/ 968188 w 7357035"/>
              <a:gd name="connsiteY237" fmla="*/ 2253129 h 2623671"/>
              <a:gd name="connsiteX238" fmla="*/ 968188 w 7357035"/>
              <a:gd name="connsiteY238" fmla="*/ 2277035 h 2623671"/>
              <a:gd name="connsiteX239" fmla="*/ 884517 w 7357035"/>
              <a:gd name="connsiteY239" fmla="*/ 2277035 h 2623671"/>
              <a:gd name="connsiteX240" fmla="*/ 884517 w 7357035"/>
              <a:gd name="connsiteY240" fmla="*/ 2300941 h 2623671"/>
              <a:gd name="connsiteX241" fmla="*/ 818776 w 7357035"/>
              <a:gd name="connsiteY241" fmla="*/ 2300941 h 2623671"/>
              <a:gd name="connsiteX242" fmla="*/ 818776 w 7357035"/>
              <a:gd name="connsiteY242" fmla="*/ 2300941 h 2623671"/>
              <a:gd name="connsiteX243" fmla="*/ 788893 w 7357035"/>
              <a:gd name="connsiteY243" fmla="*/ 2330824 h 2623671"/>
              <a:gd name="connsiteX244" fmla="*/ 764988 w 7357035"/>
              <a:gd name="connsiteY244" fmla="*/ 2354729 h 2623671"/>
              <a:gd name="connsiteX245" fmla="*/ 693270 w 7357035"/>
              <a:gd name="connsiteY245" fmla="*/ 2354729 h 2623671"/>
              <a:gd name="connsiteX246" fmla="*/ 693270 w 7357035"/>
              <a:gd name="connsiteY246" fmla="*/ 2372659 h 2623671"/>
              <a:gd name="connsiteX247" fmla="*/ 627529 w 7357035"/>
              <a:gd name="connsiteY247" fmla="*/ 2372659 h 2623671"/>
              <a:gd name="connsiteX248" fmla="*/ 627529 w 7357035"/>
              <a:gd name="connsiteY248" fmla="*/ 2390588 h 2623671"/>
              <a:gd name="connsiteX249" fmla="*/ 591670 w 7357035"/>
              <a:gd name="connsiteY249" fmla="*/ 2390588 h 2623671"/>
              <a:gd name="connsiteX250" fmla="*/ 591670 w 7357035"/>
              <a:gd name="connsiteY250" fmla="*/ 2432424 h 2623671"/>
              <a:gd name="connsiteX251" fmla="*/ 555812 w 7357035"/>
              <a:gd name="connsiteY251" fmla="*/ 2432424 h 2623671"/>
              <a:gd name="connsiteX252" fmla="*/ 555812 w 7357035"/>
              <a:gd name="connsiteY252" fmla="*/ 2450353 h 2623671"/>
              <a:gd name="connsiteX253" fmla="*/ 513976 w 7357035"/>
              <a:gd name="connsiteY253" fmla="*/ 2450353 h 2623671"/>
              <a:gd name="connsiteX254" fmla="*/ 513976 w 7357035"/>
              <a:gd name="connsiteY254" fmla="*/ 2498165 h 2623671"/>
              <a:gd name="connsiteX255" fmla="*/ 448235 w 7357035"/>
              <a:gd name="connsiteY255" fmla="*/ 2498165 h 2623671"/>
              <a:gd name="connsiteX256" fmla="*/ 448235 w 7357035"/>
              <a:gd name="connsiteY256" fmla="*/ 2545976 h 2623671"/>
              <a:gd name="connsiteX257" fmla="*/ 400423 w 7357035"/>
              <a:gd name="connsiteY257" fmla="*/ 2545976 h 2623671"/>
              <a:gd name="connsiteX258" fmla="*/ 346635 w 7357035"/>
              <a:gd name="connsiteY258" fmla="*/ 2545976 h 2623671"/>
              <a:gd name="connsiteX259" fmla="*/ 346635 w 7357035"/>
              <a:gd name="connsiteY259" fmla="*/ 2569882 h 2623671"/>
              <a:gd name="connsiteX260" fmla="*/ 298823 w 7357035"/>
              <a:gd name="connsiteY260" fmla="*/ 2569882 h 2623671"/>
              <a:gd name="connsiteX261" fmla="*/ 298823 w 7357035"/>
              <a:gd name="connsiteY261" fmla="*/ 2593788 h 2623671"/>
              <a:gd name="connsiteX262" fmla="*/ 245035 w 7357035"/>
              <a:gd name="connsiteY262" fmla="*/ 2593788 h 2623671"/>
              <a:gd name="connsiteX263" fmla="*/ 245035 w 7357035"/>
              <a:gd name="connsiteY263" fmla="*/ 2623671 h 2623671"/>
              <a:gd name="connsiteX264" fmla="*/ 71717 w 7357035"/>
              <a:gd name="connsiteY264" fmla="*/ 2623671 h 2623671"/>
              <a:gd name="connsiteX265" fmla="*/ 0 w 7357035"/>
              <a:gd name="connsiteY265" fmla="*/ 2623671 h 2623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</a:cxnLst>
            <a:rect l="l" t="t" r="r" b="b"/>
            <a:pathLst>
              <a:path w="7357035" h="2623671">
                <a:moveTo>
                  <a:pt x="7357035" y="0"/>
                </a:moveTo>
                <a:lnTo>
                  <a:pt x="7261412" y="0"/>
                </a:lnTo>
                <a:lnTo>
                  <a:pt x="7261412" y="89647"/>
                </a:lnTo>
                <a:lnTo>
                  <a:pt x="7171764" y="89647"/>
                </a:lnTo>
                <a:lnTo>
                  <a:pt x="7159812" y="101599"/>
                </a:lnTo>
                <a:lnTo>
                  <a:pt x="7159812" y="161365"/>
                </a:lnTo>
                <a:lnTo>
                  <a:pt x="7123953" y="161365"/>
                </a:lnTo>
                <a:lnTo>
                  <a:pt x="7123953" y="215153"/>
                </a:lnTo>
                <a:lnTo>
                  <a:pt x="6968564" y="215153"/>
                </a:lnTo>
                <a:lnTo>
                  <a:pt x="6968564" y="251012"/>
                </a:lnTo>
                <a:lnTo>
                  <a:pt x="6920753" y="251012"/>
                </a:lnTo>
                <a:lnTo>
                  <a:pt x="6920753" y="268941"/>
                </a:lnTo>
                <a:lnTo>
                  <a:pt x="6872941" y="268941"/>
                </a:lnTo>
                <a:lnTo>
                  <a:pt x="6872941" y="316753"/>
                </a:lnTo>
                <a:lnTo>
                  <a:pt x="6771341" y="316753"/>
                </a:lnTo>
                <a:lnTo>
                  <a:pt x="6771341" y="334682"/>
                </a:lnTo>
                <a:lnTo>
                  <a:pt x="6681694" y="334682"/>
                </a:lnTo>
                <a:lnTo>
                  <a:pt x="6681694" y="358588"/>
                </a:lnTo>
                <a:lnTo>
                  <a:pt x="6627906" y="358588"/>
                </a:lnTo>
                <a:lnTo>
                  <a:pt x="6627906" y="382494"/>
                </a:lnTo>
                <a:lnTo>
                  <a:pt x="6490447" y="382494"/>
                </a:lnTo>
                <a:lnTo>
                  <a:pt x="6490447" y="412376"/>
                </a:lnTo>
                <a:lnTo>
                  <a:pt x="6370917" y="412376"/>
                </a:lnTo>
                <a:lnTo>
                  <a:pt x="6370917" y="436282"/>
                </a:lnTo>
                <a:lnTo>
                  <a:pt x="6329082" y="436282"/>
                </a:lnTo>
                <a:lnTo>
                  <a:pt x="6341035" y="448235"/>
                </a:lnTo>
                <a:lnTo>
                  <a:pt x="6305176" y="448235"/>
                </a:lnTo>
                <a:lnTo>
                  <a:pt x="6305176" y="472141"/>
                </a:lnTo>
                <a:lnTo>
                  <a:pt x="6263341" y="472141"/>
                </a:lnTo>
                <a:lnTo>
                  <a:pt x="6257364" y="478118"/>
                </a:lnTo>
                <a:lnTo>
                  <a:pt x="6209553" y="478118"/>
                </a:lnTo>
                <a:lnTo>
                  <a:pt x="6209553" y="508000"/>
                </a:lnTo>
                <a:lnTo>
                  <a:pt x="6179670" y="508000"/>
                </a:lnTo>
                <a:lnTo>
                  <a:pt x="6191623" y="519953"/>
                </a:lnTo>
                <a:lnTo>
                  <a:pt x="6155764" y="519953"/>
                </a:lnTo>
                <a:lnTo>
                  <a:pt x="6155764" y="549835"/>
                </a:lnTo>
                <a:lnTo>
                  <a:pt x="6119906" y="549835"/>
                </a:lnTo>
                <a:lnTo>
                  <a:pt x="6119906" y="579718"/>
                </a:lnTo>
                <a:lnTo>
                  <a:pt x="6101977" y="597647"/>
                </a:lnTo>
                <a:lnTo>
                  <a:pt x="6078070" y="597647"/>
                </a:lnTo>
                <a:lnTo>
                  <a:pt x="6078070" y="615576"/>
                </a:lnTo>
                <a:lnTo>
                  <a:pt x="6024282" y="615576"/>
                </a:lnTo>
                <a:lnTo>
                  <a:pt x="6030259" y="621553"/>
                </a:lnTo>
                <a:lnTo>
                  <a:pt x="5940612" y="621553"/>
                </a:lnTo>
                <a:lnTo>
                  <a:pt x="5940612" y="645459"/>
                </a:lnTo>
                <a:lnTo>
                  <a:pt x="5934635" y="639482"/>
                </a:lnTo>
                <a:lnTo>
                  <a:pt x="5934635" y="657412"/>
                </a:lnTo>
                <a:lnTo>
                  <a:pt x="5898776" y="657412"/>
                </a:lnTo>
                <a:lnTo>
                  <a:pt x="5898776" y="675341"/>
                </a:lnTo>
                <a:lnTo>
                  <a:pt x="5868894" y="675341"/>
                </a:lnTo>
                <a:lnTo>
                  <a:pt x="5868894" y="687294"/>
                </a:lnTo>
                <a:lnTo>
                  <a:pt x="5850964" y="705224"/>
                </a:lnTo>
                <a:lnTo>
                  <a:pt x="5803153" y="705224"/>
                </a:lnTo>
                <a:lnTo>
                  <a:pt x="5803153" y="741082"/>
                </a:lnTo>
                <a:lnTo>
                  <a:pt x="5677647" y="741082"/>
                </a:lnTo>
                <a:lnTo>
                  <a:pt x="5677647" y="747059"/>
                </a:lnTo>
                <a:lnTo>
                  <a:pt x="5641788" y="747059"/>
                </a:lnTo>
                <a:lnTo>
                  <a:pt x="5641788" y="770965"/>
                </a:lnTo>
                <a:lnTo>
                  <a:pt x="5593976" y="770965"/>
                </a:lnTo>
                <a:lnTo>
                  <a:pt x="5593976" y="794871"/>
                </a:lnTo>
                <a:lnTo>
                  <a:pt x="5492376" y="794871"/>
                </a:lnTo>
                <a:lnTo>
                  <a:pt x="5492376" y="812800"/>
                </a:lnTo>
                <a:lnTo>
                  <a:pt x="5450541" y="812800"/>
                </a:lnTo>
                <a:lnTo>
                  <a:pt x="5450541" y="824753"/>
                </a:lnTo>
                <a:lnTo>
                  <a:pt x="5408706" y="824753"/>
                </a:lnTo>
                <a:lnTo>
                  <a:pt x="5408706" y="842682"/>
                </a:lnTo>
                <a:lnTo>
                  <a:pt x="5331012" y="842682"/>
                </a:lnTo>
                <a:lnTo>
                  <a:pt x="5325035" y="848659"/>
                </a:lnTo>
                <a:lnTo>
                  <a:pt x="5205506" y="848659"/>
                </a:lnTo>
                <a:lnTo>
                  <a:pt x="5205506" y="866588"/>
                </a:lnTo>
                <a:lnTo>
                  <a:pt x="5157694" y="866588"/>
                </a:lnTo>
                <a:lnTo>
                  <a:pt x="5157694" y="884518"/>
                </a:lnTo>
                <a:lnTo>
                  <a:pt x="5127812" y="884518"/>
                </a:lnTo>
                <a:lnTo>
                  <a:pt x="5127812" y="902447"/>
                </a:lnTo>
                <a:lnTo>
                  <a:pt x="5109882" y="902447"/>
                </a:lnTo>
                <a:lnTo>
                  <a:pt x="5109882" y="914400"/>
                </a:lnTo>
                <a:lnTo>
                  <a:pt x="5062070" y="914400"/>
                </a:lnTo>
                <a:lnTo>
                  <a:pt x="5062070" y="926353"/>
                </a:lnTo>
                <a:lnTo>
                  <a:pt x="5020235" y="926353"/>
                </a:lnTo>
                <a:lnTo>
                  <a:pt x="5020235" y="938306"/>
                </a:lnTo>
                <a:lnTo>
                  <a:pt x="4972423" y="938306"/>
                </a:lnTo>
                <a:lnTo>
                  <a:pt x="4972423" y="950259"/>
                </a:lnTo>
                <a:lnTo>
                  <a:pt x="4954494" y="950259"/>
                </a:lnTo>
                <a:lnTo>
                  <a:pt x="4954494" y="968188"/>
                </a:lnTo>
                <a:lnTo>
                  <a:pt x="4888753" y="968188"/>
                </a:lnTo>
                <a:lnTo>
                  <a:pt x="4888753" y="980141"/>
                </a:lnTo>
                <a:lnTo>
                  <a:pt x="4775200" y="980141"/>
                </a:lnTo>
                <a:lnTo>
                  <a:pt x="4775200" y="998071"/>
                </a:lnTo>
                <a:lnTo>
                  <a:pt x="4691529" y="998071"/>
                </a:lnTo>
                <a:lnTo>
                  <a:pt x="4691529" y="1039906"/>
                </a:lnTo>
                <a:lnTo>
                  <a:pt x="4589929" y="1039906"/>
                </a:lnTo>
                <a:lnTo>
                  <a:pt x="4583953" y="1039906"/>
                </a:lnTo>
                <a:lnTo>
                  <a:pt x="4506259" y="1039906"/>
                </a:lnTo>
                <a:lnTo>
                  <a:pt x="4506259" y="1063812"/>
                </a:lnTo>
                <a:lnTo>
                  <a:pt x="4458447" y="1063812"/>
                </a:lnTo>
                <a:lnTo>
                  <a:pt x="4458447" y="1069788"/>
                </a:lnTo>
                <a:lnTo>
                  <a:pt x="4410635" y="1069788"/>
                </a:lnTo>
                <a:lnTo>
                  <a:pt x="4410635" y="1087718"/>
                </a:lnTo>
                <a:lnTo>
                  <a:pt x="4362823" y="1087718"/>
                </a:lnTo>
                <a:lnTo>
                  <a:pt x="4362823" y="1099671"/>
                </a:lnTo>
                <a:lnTo>
                  <a:pt x="4309035" y="1099671"/>
                </a:lnTo>
                <a:lnTo>
                  <a:pt x="4309035" y="1111624"/>
                </a:lnTo>
                <a:lnTo>
                  <a:pt x="4219388" y="1111624"/>
                </a:lnTo>
                <a:lnTo>
                  <a:pt x="4219388" y="1135529"/>
                </a:lnTo>
                <a:lnTo>
                  <a:pt x="4165600" y="1135529"/>
                </a:lnTo>
                <a:lnTo>
                  <a:pt x="4165600" y="1141506"/>
                </a:lnTo>
                <a:lnTo>
                  <a:pt x="4081929" y="1141506"/>
                </a:lnTo>
                <a:lnTo>
                  <a:pt x="4081929" y="1177365"/>
                </a:lnTo>
                <a:lnTo>
                  <a:pt x="4010212" y="1177365"/>
                </a:lnTo>
                <a:lnTo>
                  <a:pt x="4010212" y="1213224"/>
                </a:lnTo>
                <a:lnTo>
                  <a:pt x="4004235" y="1213224"/>
                </a:lnTo>
                <a:lnTo>
                  <a:pt x="4004235" y="1243106"/>
                </a:lnTo>
                <a:lnTo>
                  <a:pt x="3920564" y="1243106"/>
                </a:lnTo>
                <a:lnTo>
                  <a:pt x="3920564" y="1261035"/>
                </a:lnTo>
                <a:lnTo>
                  <a:pt x="3848847" y="1261035"/>
                </a:lnTo>
                <a:lnTo>
                  <a:pt x="3842870" y="1267012"/>
                </a:lnTo>
                <a:lnTo>
                  <a:pt x="3818964" y="1267012"/>
                </a:lnTo>
                <a:lnTo>
                  <a:pt x="3818964" y="1290918"/>
                </a:lnTo>
                <a:lnTo>
                  <a:pt x="3693459" y="1290918"/>
                </a:lnTo>
                <a:lnTo>
                  <a:pt x="3693459" y="1308847"/>
                </a:lnTo>
                <a:lnTo>
                  <a:pt x="3621741" y="1308847"/>
                </a:lnTo>
                <a:lnTo>
                  <a:pt x="3621741" y="1320800"/>
                </a:lnTo>
                <a:lnTo>
                  <a:pt x="3550023" y="1320800"/>
                </a:lnTo>
                <a:lnTo>
                  <a:pt x="3550023" y="1338729"/>
                </a:lnTo>
                <a:lnTo>
                  <a:pt x="3532094" y="1338729"/>
                </a:lnTo>
                <a:lnTo>
                  <a:pt x="3520141" y="1350682"/>
                </a:lnTo>
                <a:lnTo>
                  <a:pt x="3484282" y="1350682"/>
                </a:lnTo>
                <a:lnTo>
                  <a:pt x="3484282" y="1362635"/>
                </a:lnTo>
                <a:lnTo>
                  <a:pt x="3472329" y="1362635"/>
                </a:lnTo>
                <a:lnTo>
                  <a:pt x="3472329" y="1374588"/>
                </a:lnTo>
                <a:lnTo>
                  <a:pt x="3448423" y="1374588"/>
                </a:lnTo>
                <a:lnTo>
                  <a:pt x="3448423" y="1392518"/>
                </a:lnTo>
                <a:lnTo>
                  <a:pt x="3400612" y="1392518"/>
                </a:lnTo>
                <a:lnTo>
                  <a:pt x="3400612" y="1410447"/>
                </a:lnTo>
                <a:lnTo>
                  <a:pt x="3358776" y="1410447"/>
                </a:lnTo>
                <a:lnTo>
                  <a:pt x="3358776" y="1422400"/>
                </a:lnTo>
                <a:lnTo>
                  <a:pt x="3316941" y="1422400"/>
                </a:lnTo>
                <a:lnTo>
                  <a:pt x="3316941" y="1428376"/>
                </a:lnTo>
                <a:lnTo>
                  <a:pt x="3299012" y="1428376"/>
                </a:lnTo>
                <a:lnTo>
                  <a:pt x="3299012" y="1446306"/>
                </a:lnTo>
                <a:lnTo>
                  <a:pt x="3269129" y="1446306"/>
                </a:lnTo>
                <a:lnTo>
                  <a:pt x="3269129" y="1452282"/>
                </a:lnTo>
                <a:lnTo>
                  <a:pt x="3239247" y="1452282"/>
                </a:lnTo>
                <a:lnTo>
                  <a:pt x="3239247" y="1470212"/>
                </a:lnTo>
                <a:lnTo>
                  <a:pt x="3173506" y="1470212"/>
                </a:lnTo>
                <a:lnTo>
                  <a:pt x="3185459" y="1482165"/>
                </a:lnTo>
                <a:lnTo>
                  <a:pt x="3155576" y="1482165"/>
                </a:lnTo>
                <a:lnTo>
                  <a:pt x="3155576" y="1488141"/>
                </a:lnTo>
                <a:lnTo>
                  <a:pt x="3131670" y="1488141"/>
                </a:lnTo>
                <a:lnTo>
                  <a:pt x="3125694" y="1494117"/>
                </a:lnTo>
                <a:lnTo>
                  <a:pt x="2958353" y="1494117"/>
                </a:lnTo>
                <a:lnTo>
                  <a:pt x="2958353" y="1506071"/>
                </a:lnTo>
                <a:lnTo>
                  <a:pt x="2886635" y="1506071"/>
                </a:lnTo>
                <a:lnTo>
                  <a:pt x="2826870" y="1506071"/>
                </a:lnTo>
                <a:lnTo>
                  <a:pt x="2826870" y="1535953"/>
                </a:lnTo>
                <a:lnTo>
                  <a:pt x="2802964" y="1535953"/>
                </a:lnTo>
                <a:lnTo>
                  <a:pt x="2785035" y="1553882"/>
                </a:lnTo>
                <a:lnTo>
                  <a:pt x="2713317" y="1553882"/>
                </a:lnTo>
                <a:lnTo>
                  <a:pt x="2713317" y="1601694"/>
                </a:lnTo>
                <a:lnTo>
                  <a:pt x="2611717" y="1601694"/>
                </a:lnTo>
                <a:lnTo>
                  <a:pt x="2599764" y="1613647"/>
                </a:lnTo>
                <a:lnTo>
                  <a:pt x="2534023" y="1613647"/>
                </a:lnTo>
                <a:lnTo>
                  <a:pt x="2534023" y="1613647"/>
                </a:lnTo>
                <a:lnTo>
                  <a:pt x="2498164" y="1649506"/>
                </a:lnTo>
                <a:lnTo>
                  <a:pt x="2498164" y="1673412"/>
                </a:lnTo>
                <a:lnTo>
                  <a:pt x="2486212" y="1673412"/>
                </a:lnTo>
                <a:lnTo>
                  <a:pt x="2480235" y="1679389"/>
                </a:lnTo>
                <a:lnTo>
                  <a:pt x="2468283" y="1691341"/>
                </a:lnTo>
                <a:lnTo>
                  <a:pt x="2462306" y="1697318"/>
                </a:lnTo>
                <a:lnTo>
                  <a:pt x="2384612" y="1697318"/>
                </a:lnTo>
                <a:lnTo>
                  <a:pt x="2384612" y="1715247"/>
                </a:lnTo>
                <a:lnTo>
                  <a:pt x="2360706" y="1715247"/>
                </a:lnTo>
                <a:lnTo>
                  <a:pt x="2360706" y="1745129"/>
                </a:lnTo>
                <a:lnTo>
                  <a:pt x="2312894" y="1745129"/>
                </a:lnTo>
                <a:lnTo>
                  <a:pt x="2312894" y="1769035"/>
                </a:lnTo>
                <a:lnTo>
                  <a:pt x="2283012" y="1769035"/>
                </a:lnTo>
                <a:lnTo>
                  <a:pt x="2283012" y="1792941"/>
                </a:lnTo>
                <a:lnTo>
                  <a:pt x="2265082" y="1792941"/>
                </a:lnTo>
                <a:lnTo>
                  <a:pt x="2265082" y="1810871"/>
                </a:lnTo>
                <a:lnTo>
                  <a:pt x="2193364" y="1810871"/>
                </a:lnTo>
                <a:lnTo>
                  <a:pt x="2193364" y="1828800"/>
                </a:lnTo>
                <a:lnTo>
                  <a:pt x="2169459" y="1828800"/>
                </a:lnTo>
                <a:lnTo>
                  <a:pt x="2163482" y="1834777"/>
                </a:lnTo>
                <a:lnTo>
                  <a:pt x="2133600" y="1834777"/>
                </a:lnTo>
                <a:lnTo>
                  <a:pt x="2133600" y="1852706"/>
                </a:lnTo>
                <a:lnTo>
                  <a:pt x="2103717" y="1852706"/>
                </a:lnTo>
                <a:lnTo>
                  <a:pt x="2103717" y="1864659"/>
                </a:lnTo>
                <a:lnTo>
                  <a:pt x="2073835" y="1864659"/>
                </a:lnTo>
                <a:lnTo>
                  <a:pt x="2079812" y="1870636"/>
                </a:lnTo>
                <a:lnTo>
                  <a:pt x="2055906" y="1870636"/>
                </a:lnTo>
                <a:lnTo>
                  <a:pt x="2055906" y="1894541"/>
                </a:lnTo>
                <a:lnTo>
                  <a:pt x="2026023" y="1894541"/>
                </a:lnTo>
                <a:lnTo>
                  <a:pt x="2026023" y="1906494"/>
                </a:lnTo>
                <a:lnTo>
                  <a:pt x="1936376" y="1906494"/>
                </a:lnTo>
                <a:lnTo>
                  <a:pt x="1936376" y="1930400"/>
                </a:lnTo>
                <a:lnTo>
                  <a:pt x="1918447" y="1930400"/>
                </a:lnTo>
                <a:lnTo>
                  <a:pt x="1918447" y="1942353"/>
                </a:lnTo>
                <a:lnTo>
                  <a:pt x="1888564" y="1942353"/>
                </a:lnTo>
                <a:lnTo>
                  <a:pt x="1888564" y="1966259"/>
                </a:lnTo>
                <a:lnTo>
                  <a:pt x="1870635" y="1966259"/>
                </a:lnTo>
                <a:lnTo>
                  <a:pt x="1870635" y="1984188"/>
                </a:lnTo>
                <a:lnTo>
                  <a:pt x="1822823" y="1984188"/>
                </a:lnTo>
                <a:lnTo>
                  <a:pt x="1822823" y="2002118"/>
                </a:lnTo>
                <a:lnTo>
                  <a:pt x="1780988" y="2002118"/>
                </a:lnTo>
                <a:lnTo>
                  <a:pt x="1780988" y="2014071"/>
                </a:lnTo>
                <a:lnTo>
                  <a:pt x="1751106" y="2014071"/>
                </a:lnTo>
                <a:lnTo>
                  <a:pt x="1751106" y="2026024"/>
                </a:lnTo>
                <a:lnTo>
                  <a:pt x="1751106" y="2026024"/>
                </a:lnTo>
                <a:lnTo>
                  <a:pt x="1727201" y="2049929"/>
                </a:lnTo>
                <a:lnTo>
                  <a:pt x="1643529" y="2049929"/>
                </a:lnTo>
                <a:lnTo>
                  <a:pt x="1649506" y="2055906"/>
                </a:lnTo>
                <a:lnTo>
                  <a:pt x="1613647" y="2055906"/>
                </a:lnTo>
                <a:lnTo>
                  <a:pt x="1613647" y="2055906"/>
                </a:lnTo>
                <a:lnTo>
                  <a:pt x="1589741" y="2079812"/>
                </a:lnTo>
                <a:lnTo>
                  <a:pt x="1571812" y="2097741"/>
                </a:lnTo>
                <a:lnTo>
                  <a:pt x="1541929" y="2097741"/>
                </a:lnTo>
                <a:lnTo>
                  <a:pt x="1541929" y="2115671"/>
                </a:lnTo>
                <a:lnTo>
                  <a:pt x="1506070" y="2115671"/>
                </a:lnTo>
                <a:lnTo>
                  <a:pt x="1506070" y="2127624"/>
                </a:lnTo>
                <a:lnTo>
                  <a:pt x="1446306" y="2127624"/>
                </a:lnTo>
                <a:lnTo>
                  <a:pt x="1446306" y="2139576"/>
                </a:lnTo>
                <a:lnTo>
                  <a:pt x="1398494" y="2139576"/>
                </a:lnTo>
                <a:lnTo>
                  <a:pt x="1398494" y="2151529"/>
                </a:lnTo>
                <a:lnTo>
                  <a:pt x="1344706" y="2151529"/>
                </a:lnTo>
                <a:lnTo>
                  <a:pt x="1344706" y="2169459"/>
                </a:lnTo>
                <a:lnTo>
                  <a:pt x="1296894" y="2169459"/>
                </a:lnTo>
                <a:lnTo>
                  <a:pt x="1296894" y="2175435"/>
                </a:lnTo>
                <a:lnTo>
                  <a:pt x="1261035" y="2175435"/>
                </a:lnTo>
                <a:lnTo>
                  <a:pt x="1261035" y="2181412"/>
                </a:lnTo>
                <a:lnTo>
                  <a:pt x="1213223" y="2181412"/>
                </a:lnTo>
                <a:lnTo>
                  <a:pt x="1213223" y="2193365"/>
                </a:lnTo>
                <a:lnTo>
                  <a:pt x="1123576" y="2193365"/>
                </a:lnTo>
                <a:lnTo>
                  <a:pt x="1123576" y="2217271"/>
                </a:lnTo>
                <a:lnTo>
                  <a:pt x="1057835" y="2217271"/>
                </a:lnTo>
                <a:lnTo>
                  <a:pt x="1051859" y="2223247"/>
                </a:lnTo>
                <a:lnTo>
                  <a:pt x="1004047" y="2223247"/>
                </a:lnTo>
                <a:lnTo>
                  <a:pt x="1004047" y="2253129"/>
                </a:lnTo>
                <a:lnTo>
                  <a:pt x="968188" y="2253129"/>
                </a:lnTo>
                <a:lnTo>
                  <a:pt x="968188" y="2277035"/>
                </a:lnTo>
                <a:lnTo>
                  <a:pt x="884517" y="2277035"/>
                </a:lnTo>
                <a:lnTo>
                  <a:pt x="884517" y="2300941"/>
                </a:lnTo>
                <a:lnTo>
                  <a:pt x="818776" y="2300941"/>
                </a:lnTo>
                <a:lnTo>
                  <a:pt x="818776" y="2300941"/>
                </a:lnTo>
                <a:lnTo>
                  <a:pt x="788893" y="2330824"/>
                </a:lnTo>
                <a:lnTo>
                  <a:pt x="764988" y="2354729"/>
                </a:lnTo>
                <a:lnTo>
                  <a:pt x="693270" y="2354729"/>
                </a:lnTo>
                <a:lnTo>
                  <a:pt x="693270" y="2372659"/>
                </a:lnTo>
                <a:lnTo>
                  <a:pt x="627529" y="2372659"/>
                </a:lnTo>
                <a:lnTo>
                  <a:pt x="627529" y="2390588"/>
                </a:lnTo>
                <a:lnTo>
                  <a:pt x="591670" y="2390588"/>
                </a:lnTo>
                <a:lnTo>
                  <a:pt x="591670" y="2432424"/>
                </a:lnTo>
                <a:lnTo>
                  <a:pt x="555812" y="2432424"/>
                </a:lnTo>
                <a:lnTo>
                  <a:pt x="555812" y="2450353"/>
                </a:lnTo>
                <a:lnTo>
                  <a:pt x="513976" y="2450353"/>
                </a:lnTo>
                <a:lnTo>
                  <a:pt x="513976" y="2498165"/>
                </a:lnTo>
                <a:lnTo>
                  <a:pt x="448235" y="2498165"/>
                </a:lnTo>
                <a:lnTo>
                  <a:pt x="448235" y="2545976"/>
                </a:lnTo>
                <a:lnTo>
                  <a:pt x="400423" y="2545976"/>
                </a:lnTo>
                <a:lnTo>
                  <a:pt x="346635" y="2545976"/>
                </a:lnTo>
                <a:lnTo>
                  <a:pt x="346635" y="2569882"/>
                </a:lnTo>
                <a:lnTo>
                  <a:pt x="298823" y="2569882"/>
                </a:lnTo>
                <a:lnTo>
                  <a:pt x="298823" y="2593788"/>
                </a:lnTo>
                <a:lnTo>
                  <a:pt x="245035" y="2593788"/>
                </a:lnTo>
                <a:lnTo>
                  <a:pt x="245035" y="2623671"/>
                </a:lnTo>
                <a:lnTo>
                  <a:pt x="71717" y="2623671"/>
                </a:lnTo>
                <a:lnTo>
                  <a:pt x="0" y="2623671"/>
                </a:lnTo>
              </a:path>
            </a:pathLst>
          </a:custGeom>
          <a:noFill/>
          <a:ln w="19050">
            <a:solidFill>
              <a:srgbClr val="8278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9" rIns="68562" bIns="34289" anchor="ctr"/>
          <a:lstStyle/>
          <a:p>
            <a:pPr algn="ctr" defTabSz="685596">
              <a:defRPr/>
            </a:pPr>
            <a:endParaRPr lang="nl-NL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Freeform 54"/>
          <p:cNvSpPr/>
          <p:nvPr/>
        </p:nvSpPr>
        <p:spPr>
          <a:xfrm>
            <a:off x="1636726" y="2141549"/>
            <a:ext cx="5516563" cy="1565275"/>
          </a:xfrm>
          <a:custGeom>
            <a:avLst/>
            <a:gdLst>
              <a:gd name="connsiteX0" fmla="*/ 7357035 w 7357035"/>
              <a:gd name="connsiteY0" fmla="*/ 0 h 2085789"/>
              <a:gd name="connsiteX1" fmla="*/ 6980517 w 7357035"/>
              <a:gd name="connsiteY1" fmla="*/ 0 h 2085789"/>
              <a:gd name="connsiteX2" fmla="*/ 6980517 w 7357035"/>
              <a:gd name="connsiteY2" fmla="*/ 23906 h 2085789"/>
              <a:gd name="connsiteX3" fmla="*/ 6920753 w 7357035"/>
              <a:gd name="connsiteY3" fmla="*/ 23906 h 2085789"/>
              <a:gd name="connsiteX4" fmla="*/ 6932706 w 7357035"/>
              <a:gd name="connsiteY4" fmla="*/ 35859 h 2085789"/>
              <a:gd name="connsiteX5" fmla="*/ 6789270 w 7357035"/>
              <a:gd name="connsiteY5" fmla="*/ 35859 h 2085789"/>
              <a:gd name="connsiteX6" fmla="*/ 6789270 w 7357035"/>
              <a:gd name="connsiteY6" fmla="*/ 47812 h 2085789"/>
              <a:gd name="connsiteX7" fmla="*/ 6717553 w 7357035"/>
              <a:gd name="connsiteY7" fmla="*/ 47812 h 2085789"/>
              <a:gd name="connsiteX8" fmla="*/ 6717553 w 7357035"/>
              <a:gd name="connsiteY8" fmla="*/ 59765 h 2085789"/>
              <a:gd name="connsiteX9" fmla="*/ 6663764 w 7357035"/>
              <a:gd name="connsiteY9" fmla="*/ 59765 h 2085789"/>
              <a:gd name="connsiteX10" fmla="*/ 6663764 w 7357035"/>
              <a:gd name="connsiteY10" fmla="*/ 83671 h 2085789"/>
              <a:gd name="connsiteX11" fmla="*/ 6639859 w 7357035"/>
              <a:gd name="connsiteY11" fmla="*/ 83671 h 2085789"/>
              <a:gd name="connsiteX12" fmla="*/ 6639859 w 7357035"/>
              <a:gd name="connsiteY12" fmla="*/ 95624 h 2085789"/>
              <a:gd name="connsiteX13" fmla="*/ 6412753 w 7357035"/>
              <a:gd name="connsiteY13" fmla="*/ 95624 h 2085789"/>
              <a:gd name="connsiteX14" fmla="*/ 6406776 w 7357035"/>
              <a:gd name="connsiteY14" fmla="*/ 101601 h 2085789"/>
              <a:gd name="connsiteX15" fmla="*/ 6335059 w 7357035"/>
              <a:gd name="connsiteY15" fmla="*/ 101601 h 2085789"/>
              <a:gd name="connsiteX16" fmla="*/ 6335059 w 7357035"/>
              <a:gd name="connsiteY16" fmla="*/ 125506 h 2085789"/>
              <a:gd name="connsiteX17" fmla="*/ 6257364 w 7357035"/>
              <a:gd name="connsiteY17" fmla="*/ 125506 h 2085789"/>
              <a:gd name="connsiteX18" fmla="*/ 6257364 w 7357035"/>
              <a:gd name="connsiteY18" fmla="*/ 161365 h 2085789"/>
              <a:gd name="connsiteX19" fmla="*/ 6215529 w 7357035"/>
              <a:gd name="connsiteY19" fmla="*/ 161365 h 2085789"/>
              <a:gd name="connsiteX20" fmla="*/ 6215529 w 7357035"/>
              <a:gd name="connsiteY20" fmla="*/ 185271 h 2085789"/>
              <a:gd name="connsiteX21" fmla="*/ 6197600 w 7357035"/>
              <a:gd name="connsiteY21" fmla="*/ 185271 h 2085789"/>
              <a:gd name="connsiteX22" fmla="*/ 6209553 w 7357035"/>
              <a:gd name="connsiteY22" fmla="*/ 197224 h 2085789"/>
              <a:gd name="connsiteX23" fmla="*/ 6173694 w 7357035"/>
              <a:gd name="connsiteY23" fmla="*/ 197224 h 2085789"/>
              <a:gd name="connsiteX24" fmla="*/ 6173694 w 7357035"/>
              <a:gd name="connsiteY24" fmla="*/ 221130 h 2085789"/>
              <a:gd name="connsiteX25" fmla="*/ 5994400 w 7357035"/>
              <a:gd name="connsiteY25" fmla="*/ 221130 h 2085789"/>
              <a:gd name="connsiteX26" fmla="*/ 5994400 w 7357035"/>
              <a:gd name="connsiteY26" fmla="*/ 239059 h 2085789"/>
              <a:gd name="connsiteX27" fmla="*/ 5964517 w 7357035"/>
              <a:gd name="connsiteY27" fmla="*/ 239059 h 2085789"/>
              <a:gd name="connsiteX28" fmla="*/ 5964517 w 7357035"/>
              <a:gd name="connsiteY28" fmla="*/ 256989 h 2085789"/>
              <a:gd name="connsiteX29" fmla="*/ 5868894 w 7357035"/>
              <a:gd name="connsiteY29" fmla="*/ 256989 h 2085789"/>
              <a:gd name="connsiteX30" fmla="*/ 5868894 w 7357035"/>
              <a:gd name="connsiteY30" fmla="*/ 274918 h 2085789"/>
              <a:gd name="connsiteX31" fmla="*/ 5850964 w 7357035"/>
              <a:gd name="connsiteY31" fmla="*/ 274918 h 2085789"/>
              <a:gd name="connsiteX32" fmla="*/ 5850964 w 7357035"/>
              <a:gd name="connsiteY32" fmla="*/ 292847 h 2085789"/>
              <a:gd name="connsiteX33" fmla="*/ 5809129 w 7357035"/>
              <a:gd name="connsiteY33" fmla="*/ 292847 h 2085789"/>
              <a:gd name="connsiteX34" fmla="*/ 5809129 w 7357035"/>
              <a:gd name="connsiteY34" fmla="*/ 316753 h 2085789"/>
              <a:gd name="connsiteX35" fmla="*/ 5761317 w 7357035"/>
              <a:gd name="connsiteY35" fmla="*/ 316753 h 2085789"/>
              <a:gd name="connsiteX36" fmla="*/ 5761317 w 7357035"/>
              <a:gd name="connsiteY36" fmla="*/ 340659 h 2085789"/>
              <a:gd name="connsiteX37" fmla="*/ 5749364 w 7357035"/>
              <a:gd name="connsiteY37" fmla="*/ 340659 h 2085789"/>
              <a:gd name="connsiteX38" fmla="*/ 5749364 w 7357035"/>
              <a:gd name="connsiteY38" fmla="*/ 358589 h 2085789"/>
              <a:gd name="connsiteX39" fmla="*/ 5707529 w 7357035"/>
              <a:gd name="connsiteY39" fmla="*/ 358589 h 2085789"/>
              <a:gd name="connsiteX40" fmla="*/ 5707529 w 7357035"/>
              <a:gd name="connsiteY40" fmla="*/ 376518 h 2085789"/>
              <a:gd name="connsiteX41" fmla="*/ 5576047 w 7357035"/>
              <a:gd name="connsiteY41" fmla="*/ 376518 h 2085789"/>
              <a:gd name="connsiteX42" fmla="*/ 5576047 w 7357035"/>
              <a:gd name="connsiteY42" fmla="*/ 394447 h 2085789"/>
              <a:gd name="connsiteX43" fmla="*/ 5522259 w 7357035"/>
              <a:gd name="connsiteY43" fmla="*/ 394447 h 2085789"/>
              <a:gd name="connsiteX44" fmla="*/ 5522259 w 7357035"/>
              <a:gd name="connsiteY44" fmla="*/ 424330 h 2085789"/>
              <a:gd name="connsiteX45" fmla="*/ 5444564 w 7357035"/>
              <a:gd name="connsiteY45" fmla="*/ 424330 h 2085789"/>
              <a:gd name="connsiteX46" fmla="*/ 5444564 w 7357035"/>
              <a:gd name="connsiteY46" fmla="*/ 454212 h 2085789"/>
              <a:gd name="connsiteX47" fmla="*/ 5444564 w 7357035"/>
              <a:gd name="connsiteY47" fmla="*/ 454212 h 2085789"/>
              <a:gd name="connsiteX48" fmla="*/ 5402729 w 7357035"/>
              <a:gd name="connsiteY48" fmla="*/ 454212 h 2085789"/>
              <a:gd name="connsiteX49" fmla="*/ 5331012 w 7357035"/>
              <a:gd name="connsiteY49" fmla="*/ 454212 h 2085789"/>
              <a:gd name="connsiteX50" fmla="*/ 5331012 w 7357035"/>
              <a:gd name="connsiteY50" fmla="*/ 484094 h 2085789"/>
              <a:gd name="connsiteX51" fmla="*/ 5307106 w 7357035"/>
              <a:gd name="connsiteY51" fmla="*/ 484094 h 2085789"/>
              <a:gd name="connsiteX52" fmla="*/ 5307106 w 7357035"/>
              <a:gd name="connsiteY52" fmla="*/ 508000 h 2085789"/>
              <a:gd name="connsiteX53" fmla="*/ 5259294 w 7357035"/>
              <a:gd name="connsiteY53" fmla="*/ 508000 h 2085789"/>
              <a:gd name="connsiteX54" fmla="*/ 5259294 w 7357035"/>
              <a:gd name="connsiteY54" fmla="*/ 537883 h 2085789"/>
              <a:gd name="connsiteX55" fmla="*/ 5193553 w 7357035"/>
              <a:gd name="connsiteY55" fmla="*/ 537883 h 2085789"/>
              <a:gd name="connsiteX56" fmla="*/ 5187576 w 7357035"/>
              <a:gd name="connsiteY56" fmla="*/ 543860 h 2085789"/>
              <a:gd name="connsiteX57" fmla="*/ 5115859 w 7357035"/>
              <a:gd name="connsiteY57" fmla="*/ 543860 h 2085789"/>
              <a:gd name="connsiteX58" fmla="*/ 5127812 w 7357035"/>
              <a:gd name="connsiteY58" fmla="*/ 555813 h 2085789"/>
              <a:gd name="connsiteX59" fmla="*/ 5062070 w 7357035"/>
              <a:gd name="connsiteY59" fmla="*/ 555813 h 2085789"/>
              <a:gd name="connsiteX60" fmla="*/ 5062070 w 7357035"/>
              <a:gd name="connsiteY60" fmla="*/ 579718 h 2085789"/>
              <a:gd name="connsiteX61" fmla="*/ 4996329 w 7357035"/>
              <a:gd name="connsiteY61" fmla="*/ 579718 h 2085789"/>
              <a:gd name="connsiteX62" fmla="*/ 5014258 w 7357035"/>
              <a:gd name="connsiteY62" fmla="*/ 597647 h 2085789"/>
              <a:gd name="connsiteX63" fmla="*/ 4948517 w 7357035"/>
              <a:gd name="connsiteY63" fmla="*/ 597647 h 2085789"/>
              <a:gd name="connsiteX64" fmla="*/ 4948517 w 7357035"/>
              <a:gd name="connsiteY64" fmla="*/ 609600 h 2085789"/>
              <a:gd name="connsiteX65" fmla="*/ 4858870 w 7357035"/>
              <a:gd name="connsiteY65" fmla="*/ 609600 h 2085789"/>
              <a:gd name="connsiteX66" fmla="*/ 4840940 w 7357035"/>
              <a:gd name="connsiteY66" fmla="*/ 627530 h 2085789"/>
              <a:gd name="connsiteX67" fmla="*/ 4769223 w 7357035"/>
              <a:gd name="connsiteY67" fmla="*/ 627530 h 2085789"/>
              <a:gd name="connsiteX68" fmla="*/ 4781176 w 7357035"/>
              <a:gd name="connsiteY68" fmla="*/ 639483 h 2085789"/>
              <a:gd name="connsiteX69" fmla="*/ 4757270 w 7357035"/>
              <a:gd name="connsiteY69" fmla="*/ 639483 h 2085789"/>
              <a:gd name="connsiteX70" fmla="*/ 4757270 w 7357035"/>
              <a:gd name="connsiteY70" fmla="*/ 651436 h 2085789"/>
              <a:gd name="connsiteX71" fmla="*/ 4691529 w 7357035"/>
              <a:gd name="connsiteY71" fmla="*/ 651436 h 2085789"/>
              <a:gd name="connsiteX72" fmla="*/ 4709459 w 7357035"/>
              <a:gd name="connsiteY72" fmla="*/ 669366 h 2085789"/>
              <a:gd name="connsiteX73" fmla="*/ 4637741 w 7357035"/>
              <a:gd name="connsiteY73" fmla="*/ 669366 h 2085789"/>
              <a:gd name="connsiteX74" fmla="*/ 4637741 w 7357035"/>
              <a:gd name="connsiteY74" fmla="*/ 699247 h 2085789"/>
              <a:gd name="connsiteX75" fmla="*/ 4572000 w 7357035"/>
              <a:gd name="connsiteY75" fmla="*/ 699247 h 2085789"/>
              <a:gd name="connsiteX76" fmla="*/ 4572000 w 7357035"/>
              <a:gd name="connsiteY76" fmla="*/ 717177 h 2085789"/>
              <a:gd name="connsiteX77" fmla="*/ 4506259 w 7357035"/>
              <a:gd name="connsiteY77" fmla="*/ 717177 h 2085789"/>
              <a:gd name="connsiteX78" fmla="*/ 4506259 w 7357035"/>
              <a:gd name="connsiteY78" fmla="*/ 759012 h 2085789"/>
              <a:gd name="connsiteX79" fmla="*/ 4464423 w 7357035"/>
              <a:gd name="connsiteY79" fmla="*/ 759012 h 2085789"/>
              <a:gd name="connsiteX80" fmla="*/ 4464423 w 7357035"/>
              <a:gd name="connsiteY80" fmla="*/ 782918 h 2085789"/>
              <a:gd name="connsiteX81" fmla="*/ 4386729 w 7357035"/>
              <a:gd name="connsiteY81" fmla="*/ 782918 h 2085789"/>
              <a:gd name="connsiteX82" fmla="*/ 4386729 w 7357035"/>
              <a:gd name="connsiteY82" fmla="*/ 788894 h 2085789"/>
              <a:gd name="connsiteX83" fmla="*/ 4332941 w 7357035"/>
              <a:gd name="connsiteY83" fmla="*/ 788894 h 2085789"/>
              <a:gd name="connsiteX84" fmla="*/ 4332941 w 7357035"/>
              <a:gd name="connsiteY84" fmla="*/ 812800 h 2085789"/>
              <a:gd name="connsiteX85" fmla="*/ 4267200 w 7357035"/>
              <a:gd name="connsiteY85" fmla="*/ 812800 h 2085789"/>
              <a:gd name="connsiteX86" fmla="*/ 4267200 w 7357035"/>
              <a:gd name="connsiteY86" fmla="*/ 836706 h 2085789"/>
              <a:gd name="connsiteX87" fmla="*/ 4183529 w 7357035"/>
              <a:gd name="connsiteY87" fmla="*/ 836706 h 2085789"/>
              <a:gd name="connsiteX88" fmla="*/ 4183529 w 7357035"/>
              <a:gd name="connsiteY88" fmla="*/ 854636 h 2085789"/>
              <a:gd name="connsiteX89" fmla="*/ 4111812 w 7357035"/>
              <a:gd name="connsiteY89" fmla="*/ 854636 h 2085789"/>
              <a:gd name="connsiteX90" fmla="*/ 4111812 w 7357035"/>
              <a:gd name="connsiteY90" fmla="*/ 878541 h 2085789"/>
              <a:gd name="connsiteX91" fmla="*/ 4046070 w 7357035"/>
              <a:gd name="connsiteY91" fmla="*/ 878541 h 2085789"/>
              <a:gd name="connsiteX92" fmla="*/ 4046070 w 7357035"/>
              <a:gd name="connsiteY92" fmla="*/ 902447 h 2085789"/>
              <a:gd name="connsiteX93" fmla="*/ 3968376 w 7357035"/>
              <a:gd name="connsiteY93" fmla="*/ 902447 h 2085789"/>
              <a:gd name="connsiteX94" fmla="*/ 3968376 w 7357035"/>
              <a:gd name="connsiteY94" fmla="*/ 926353 h 2085789"/>
              <a:gd name="connsiteX95" fmla="*/ 3902635 w 7357035"/>
              <a:gd name="connsiteY95" fmla="*/ 926353 h 2085789"/>
              <a:gd name="connsiteX96" fmla="*/ 3902635 w 7357035"/>
              <a:gd name="connsiteY96" fmla="*/ 938306 h 2085789"/>
              <a:gd name="connsiteX97" fmla="*/ 3854823 w 7357035"/>
              <a:gd name="connsiteY97" fmla="*/ 938306 h 2085789"/>
              <a:gd name="connsiteX98" fmla="*/ 3854823 w 7357035"/>
              <a:gd name="connsiteY98" fmla="*/ 956236 h 2085789"/>
              <a:gd name="connsiteX99" fmla="*/ 3789082 w 7357035"/>
              <a:gd name="connsiteY99" fmla="*/ 956236 h 2085789"/>
              <a:gd name="connsiteX100" fmla="*/ 3789082 w 7357035"/>
              <a:gd name="connsiteY100" fmla="*/ 968189 h 2085789"/>
              <a:gd name="connsiteX101" fmla="*/ 3759200 w 7357035"/>
              <a:gd name="connsiteY101" fmla="*/ 968189 h 2085789"/>
              <a:gd name="connsiteX102" fmla="*/ 3759200 w 7357035"/>
              <a:gd name="connsiteY102" fmla="*/ 992094 h 2085789"/>
              <a:gd name="connsiteX103" fmla="*/ 3729317 w 7357035"/>
              <a:gd name="connsiteY103" fmla="*/ 992094 h 2085789"/>
              <a:gd name="connsiteX104" fmla="*/ 3729317 w 7357035"/>
              <a:gd name="connsiteY104" fmla="*/ 1021977 h 2085789"/>
              <a:gd name="connsiteX105" fmla="*/ 3669553 w 7357035"/>
              <a:gd name="connsiteY105" fmla="*/ 1021977 h 2085789"/>
              <a:gd name="connsiteX106" fmla="*/ 3681506 w 7357035"/>
              <a:gd name="connsiteY106" fmla="*/ 1021977 h 2085789"/>
              <a:gd name="connsiteX107" fmla="*/ 3603812 w 7357035"/>
              <a:gd name="connsiteY107" fmla="*/ 1021977 h 2085789"/>
              <a:gd name="connsiteX108" fmla="*/ 3603812 w 7357035"/>
              <a:gd name="connsiteY108" fmla="*/ 1045883 h 2085789"/>
              <a:gd name="connsiteX109" fmla="*/ 3544047 w 7357035"/>
              <a:gd name="connsiteY109" fmla="*/ 1045883 h 2085789"/>
              <a:gd name="connsiteX110" fmla="*/ 3544047 w 7357035"/>
              <a:gd name="connsiteY110" fmla="*/ 1063812 h 2085789"/>
              <a:gd name="connsiteX111" fmla="*/ 3490259 w 7357035"/>
              <a:gd name="connsiteY111" fmla="*/ 1063812 h 2085789"/>
              <a:gd name="connsiteX112" fmla="*/ 3490259 w 7357035"/>
              <a:gd name="connsiteY112" fmla="*/ 1087718 h 2085789"/>
              <a:gd name="connsiteX113" fmla="*/ 3424517 w 7357035"/>
              <a:gd name="connsiteY113" fmla="*/ 1087718 h 2085789"/>
              <a:gd name="connsiteX114" fmla="*/ 3424517 w 7357035"/>
              <a:gd name="connsiteY114" fmla="*/ 1123577 h 2085789"/>
              <a:gd name="connsiteX115" fmla="*/ 3382682 w 7357035"/>
              <a:gd name="connsiteY115" fmla="*/ 1123577 h 2085789"/>
              <a:gd name="connsiteX116" fmla="*/ 3382682 w 7357035"/>
              <a:gd name="connsiteY116" fmla="*/ 1141506 h 2085789"/>
              <a:gd name="connsiteX117" fmla="*/ 3257176 w 7357035"/>
              <a:gd name="connsiteY117" fmla="*/ 1141506 h 2085789"/>
              <a:gd name="connsiteX118" fmla="*/ 3257176 w 7357035"/>
              <a:gd name="connsiteY118" fmla="*/ 1171389 h 2085789"/>
              <a:gd name="connsiteX119" fmla="*/ 3203388 w 7357035"/>
              <a:gd name="connsiteY119" fmla="*/ 1171389 h 2085789"/>
              <a:gd name="connsiteX120" fmla="*/ 3209364 w 7357035"/>
              <a:gd name="connsiteY120" fmla="*/ 1177365 h 2085789"/>
              <a:gd name="connsiteX121" fmla="*/ 3179482 w 7357035"/>
              <a:gd name="connsiteY121" fmla="*/ 1177365 h 2085789"/>
              <a:gd name="connsiteX122" fmla="*/ 3179482 w 7357035"/>
              <a:gd name="connsiteY122" fmla="*/ 1195294 h 2085789"/>
              <a:gd name="connsiteX123" fmla="*/ 3107764 w 7357035"/>
              <a:gd name="connsiteY123" fmla="*/ 1195294 h 2085789"/>
              <a:gd name="connsiteX124" fmla="*/ 3107764 w 7357035"/>
              <a:gd name="connsiteY124" fmla="*/ 1225177 h 2085789"/>
              <a:gd name="connsiteX125" fmla="*/ 3042023 w 7357035"/>
              <a:gd name="connsiteY125" fmla="*/ 1225177 h 2085789"/>
              <a:gd name="connsiteX126" fmla="*/ 3024094 w 7357035"/>
              <a:gd name="connsiteY126" fmla="*/ 1243106 h 2085789"/>
              <a:gd name="connsiteX127" fmla="*/ 2934447 w 7357035"/>
              <a:gd name="connsiteY127" fmla="*/ 1243106 h 2085789"/>
              <a:gd name="connsiteX128" fmla="*/ 2934447 w 7357035"/>
              <a:gd name="connsiteY128" fmla="*/ 1267012 h 2085789"/>
              <a:gd name="connsiteX129" fmla="*/ 2886635 w 7357035"/>
              <a:gd name="connsiteY129" fmla="*/ 1267012 h 2085789"/>
              <a:gd name="connsiteX130" fmla="*/ 2886635 w 7357035"/>
              <a:gd name="connsiteY130" fmla="*/ 1296894 h 2085789"/>
              <a:gd name="connsiteX131" fmla="*/ 2779059 w 7357035"/>
              <a:gd name="connsiteY131" fmla="*/ 1296894 h 2085789"/>
              <a:gd name="connsiteX132" fmla="*/ 2761129 w 7357035"/>
              <a:gd name="connsiteY132" fmla="*/ 1314824 h 2085789"/>
              <a:gd name="connsiteX133" fmla="*/ 2725270 w 7357035"/>
              <a:gd name="connsiteY133" fmla="*/ 1314824 h 2085789"/>
              <a:gd name="connsiteX134" fmla="*/ 2725270 w 7357035"/>
              <a:gd name="connsiteY134" fmla="*/ 1326777 h 2085789"/>
              <a:gd name="connsiteX135" fmla="*/ 2653553 w 7357035"/>
              <a:gd name="connsiteY135" fmla="*/ 1326777 h 2085789"/>
              <a:gd name="connsiteX136" fmla="*/ 2653553 w 7357035"/>
              <a:gd name="connsiteY136" fmla="*/ 1344706 h 2085789"/>
              <a:gd name="connsiteX137" fmla="*/ 2611717 w 7357035"/>
              <a:gd name="connsiteY137" fmla="*/ 1344706 h 2085789"/>
              <a:gd name="connsiteX138" fmla="*/ 2605741 w 7357035"/>
              <a:gd name="connsiteY138" fmla="*/ 1350682 h 2085789"/>
              <a:gd name="connsiteX139" fmla="*/ 2569882 w 7357035"/>
              <a:gd name="connsiteY139" fmla="*/ 1350682 h 2085789"/>
              <a:gd name="connsiteX140" fmla="*/ 2569882 w 7357035"/>
              <a:gd name="connsiteY140" fmla="*/ 1368612 h 2085789"/>
              <a:gd name="connsiteX141" fmla="*/ 2540000 w 7357035"/>
              <a:gd name="connsiteY141" fmla="*/ 1368612 h 2085789"/>
              <a:gd name="connsiteX142" fmla="*/ 2528047 w 7357035"/>
              <a:gd name="connsiteY142" fmla="*/ 1380565 h 2085789"/>
              <a:gd name="connsiteX143" fmla="*/ 2492188 w 7357035"/>
              <a:gd name="connsiteY143" fmla="*/ 1380565 h 2085789"/>
              <a:gd name="connsiteX144" fmla="*/ 2492188 w 7357035"/>
              <a:gd name="connsiteY144" fmla="*/ 1380565 h 2085789"/>
              <a:gd name="connsiteX145" fmla="*/ 2408517 w 7357035"/>
              <a:gd name="connsiteY145" fmla="*/ 1380565 h 2085789"/>
              <a:gd name="connsiteX146" fmla="*/ 2408517 w 7357035"/>
              <a:gd name="connsiteY146" fmla="*/ 1410447 h 2085789"/>
              <a:gd name="connsiteX147" fmla="*/ 2336800 w 7357035"/>
              <a:gd name="connsiteY147" fmla="*/ 1410447 h 2085789"/>
              <a:gd name="connsiteX148" fmla="*/ 2336800 w 7357035"/>
              <a:gd name="connsiteY148" fmla="*/ 1434353 h 2085789"/>
              <a:gd name="connsiteX149" fmla="*/ 2235200 w 7357035"/>
              <a:gd name="connsiteY149" fmla="*/ 1434353 h 2085789"/>
              <a:gd name="connsiteX150" fmla="*/ 2235200 w 7357035"/>
              <a:gd name="connsiteY150" fmla="*/ 1464236 h 2085789"/>
              <a:gd name="connsiteX151" fmla="*/ 2229223 w 7357035"/>
              <a:gd name="connsiteY151" fmla="*/ 1464236 h 2085789"/>
              <a:gd name="connsiteX152" fmla="*/ 2229223 w 7357035"/>
              <a:gd name="connsiteY152" fmla="*/ 1476189 h 2085789"/>
              <a:gd name="connsiteX153" fmla="*/ 2211294 w 7357035"/>
              <a:gd name="connsiteY153" fmla="*/ 1476189 h 2085789"/>
              <a:gd name="connsiteX154" fmla="*/ 2211294 w 7357035"/>
              <a:gd name="connsiteY154" fmla="*/ 1494118 h 2085789"/>
              <a:gd name="connsiteX155" fmla="*/ 2163482 w 7357035"/>
              <a:gd name="connsiteY155" fmla="*/ 1494118 h 2085789"/>
              <a:gd name="connsiteX156" fmla="*/ 2145553 w 7357035"/>
              <a:gd name="connsiteY156" fmla="*/ 1512047 h 2085789"/>
              <a:gd name="connsiteX157" fmla="*/ 2073835 w 7357035"/>
              <a:gd name="connsiteY157" fmla="*/ 1512047 h 2085789"/>
              <a:gd name="connsiteX158" fmla="*/ 2073835 w 7357035"/>
              <a:gd name="connsiteY158" fmla="*/ 1535953 h 2085789"/>
              <a:gd name="connsiteX159" fmla="*/ 2043953 w 7357035"/>
              <a:gd name="connsiteY159" fmla="*/ 1535953 h 2085789"/>
              <a:gd name="connsiteX160" fmla="*/ 2043953 w 7357035"/>
              <a:gd name="connsiteY160" fmla="*/ 1553883 h 2085789"/>
              <a:gd name="connsiteX161" fmla="*/ 2002117 w 7357035"/>
              <a:gd name="connsiteY161" fmla="*/ 1553883 h 2085789"/>
              <a:gd name="connsiteX162" fmla="*/ 2002117 w 7357035"/>
              <a:gd name="connsiteY162" fmla="*/ 1559859 h 2085789"/>
              <a:gd name="connsiteX163" fmla="*/ 1996140 w 7357035"/>
              <a:gd name="connsiteY163" fmla="*/ 1565836 h 2085789"/>
              <a:gd name="connsiteX164" fmla="*/ 1984188 w 7357035"/>
              <a:gd name="connsiteY164" fmla="*/ 1577788 h 2085789"/>
              <a:gd name="connsiteX165" fmla="*/ 1924423 w 7357035"/>
              <a:gd name="connsiteY165" fmla="*/ 1577788 h 2085789"/>
              <a:gd name="connsiteX166" fmla="*/ 1924423 w 7357035"/>
              <a:gd name="connsiteY166" fmla="*/ 1589741 h 2085789"/>
              <a:gd name="connsiteX167" fmla="*/ 1876612 w 7357035"/>
              <a:gd name="connsiteY167" fmla="*/ 1589741 h 2085789"/>
              <a:gd name="connsiteX168" fmla="*/ 1864659 w 7357035"/>
              <a:gd name="connsiteY168" fmla="*/ 1601694 h 2085789"/>
              <a:gd name="connsiteX169" fmla="*/ 1804894 w 7357035"/>
              <a:gd name="connsiteY169" fmla="*/ 1601694 h 2085789"/>
              <a:gd name="connsiteX170" fmla="*/ 1804894 w 7357035"/>
              <a:gd name="connsiteY170" fmla="*/ 1631577 h 2085789"/>
              <a:gd name="connsiteX171" fmla="*/ 1757082 w 7357035"/>
              <a:gd name="connsiteY171" fmla="*/ 1631577 h 2085789"/>
              <a:gd name="connsiteX172" fmla="*/ 1757082 w 7357035"/>
              <a:gd name="connsiteY172" fmla="*/ 1655483 h 2085789"/>
              <a:gd name="connsiteX173" fmla="*/ 1691341 w 7357035"/>
              <a:gd name="connsiteY173" fmla="*/ 1655483 h 2085789"/>
              <a:gd name="connsiteX174" fmla="*/ 1691341 w 7357035"/>
              <a:gd name="connsiteY174" fmla="*/ 1673412 h 2085789"/>
              <a:gd name="connsiteX175" fmla="*/ 1619623 w 7357035"/>
              <a:gd name="connsiteY175" fmla="*/ 1673412 h 2085789"/>
              <a:gd name="connsiteX176" fmla="*/ 1619623 w 7357035"/>
              <a:gd name="connsiteY176" fmla="*/ 1691341 h 2085789"/>
              <a:gd name="connsiteX177" fmla="*/ 1553882 w 7357035"/>
              <a:gd name="connsiteY177" fmla="*/ 1691341 h 2085789"/>
              <a:gd name="connsiteX178" fmla="*/ 1547906 w 7357035"/>
              <a:gd name="connsiteY178" fmla="*/ 1697317 h 2085789"/>
              <a:gd name="connsiteX179" fmla="*/ 1482164 w 7357035"/>
              <a:gd name="connsiteY179" fmla="*/ 1697317 h 2085789"/>
              <a:gd name="connsiteX180" fmla="*/ 1482164 w 7357035"/>
              <a:gd name="connsiteY180" fmla="*/ 1715247 h 2085789"/>
              <a:gd name="connsiteX181" fmla="*/ 1446306 w 7357035"/>
              <a:gd name="connsiteY181" fmla="*/ 1715247 h 2085789"/>
              <a:gd name="connsiteX182" fmla="*/ 1446306 w 7357035"/>
              <a:gd name="connsiteY182" fmla="*/ 1733177 h 2085789"/>
              <a:gd name="connsiteX183" fmla="*/ 1362635 w 7357035"/>
              <a:gd name="connsiteY183" fmla="*/ 1733177 h 2085789"/>
              <a:gd name="connsiteX184" fmla="*/ 1362635 w 7357035"/>
              <a:gd name="connsiteY184" fmla="*/ 1757083 h 2085789"/>
              <a:gd name="connsiteX185" fmla="*/ 1308847 w 7357035"/>
              <a:gd name="connsiteY185" fmla="*/ 1757083 h 2085789"/>
              <a:gd name="connsiteX186" fmla="*/ 1308847 w 7357035"/>
              <a:gd name="connsiteY186" fmla="*/ 1780989 h 2085789"/>
              <a:gd name="connsiteX187" fmla="*/ 1249082 w 7357035"/>
              <a:gd name="connsiteY187" fmla="*/ 1780989 h 2085789"/>
              <a:gd name="connsiteX188" fmla="*/ 1249082 w 7357035"/>
              <a:gd name="connsiteY188" fmla="*/ 1798918 h 2085789"/>
              <a:gd name="connsiteX189" fmla="*/ 1189317 w 7357035"/>
              <a:gd name="connsiteY189" fmla="*/ 1798918 h 2085789"/>
              <a:gd name="connsiteX190" fmla="*/ 1189317 w 7357035"/>
              <a:gd name="connsiteY190" fmla="*/ 1822824 h 2085789"/>
              <a:gd name="connsiteX191" fmla="*/ 1123576 w 7357035"/>
              <a:gd name="connsiteY191" fmla="*/ 1822824 h 2085789"/>
              <a:gd name="connsiteX192" fmla="*/ 1111623 w 7357035"/>
              <a:gd name="connsiteY192" fmla="*/ 1834777 h 2085789"/>
              <a:gd name="connsiteX193" fmla="*/ 1069788 w 7357035"/>
              <a:gd name="connsiteY193" fmla="*/ 1834777 h 2085789"/>
              <a:gd name="connsiteX194" fmla="*/ 1069788 w 7357035"/>
              <a:gd name="connsiteY194" fmla="*/ 1864659 h 2085789"/>
              <a:gd name="connsiteX195" fmla="*/ 1004047 w 7357035"/>
              <a:gd name="connsiteY195" fmla="*/ 1864659 h 2085789"/>
              <a:gd name="connsiteX196" fmla="*/ 1004047 w 7357035"/>
              <a:gd name="connsiteY196" fmla="*/ 1882589 h 2085789"/>
              <a:gd name="connsiteX197" fmla="*/ 950259 w 7357035"/>
              <a:gd name="connsiteY197" fmla="*/ 1882589 h 2085789"/>
              <a:gd name="connsiteX198" fmla="*/ 950259 w 7357035"/>
              <a:gd name="connsiteY198" fmla="*/ 1882589 h 2085789"/>
              <a:gd name="connsiteX199" fmla="*/ 878541 w 7357035"/>
              <a:gd name="connsiteY199" fmla="*/ 1882589 h 2085789"/>
              <a:gd name="connsiteX200" fmla="*/ 878541 w 7357035"/>
              <a:gd name="connsiteY200" fmla="*/ 1906494 h 2085789"/>
              <a:gd name="connsiteX201" fmla="*/ 836706 w 7357035"/>
              <a:gd name="connsiteY201" fmla="*/ 1906494 h 2085789"/>
              <a:gd name="connsiteX202" fmla="*/ 836706 w 7357035"/>
              <a:gd name="connsiteY202" fmla="*/ 1936377 h 2085789"/>
              <a:gd name="connsiteX203" fmla="*/ 770964 w 7357035"/>
              <a:gd name="connsiteY203" fmla="*/ 1936377 h 2085789"/>
              <a:gd name="connsiteX204" fmla="*/ 770964 w 7357035"/>
              <a:gd name="connsiteY204" fmla="*/ 1936377 h 2085789"/>
              <a:gd name="connsiteX205" fmla="*/ 717176 w 7357035"/>
              <a:gd name="connsiteY205" fmla="*/ 1936377 h 2085789"/>
              <a:gd name="connsiteX206" fmla="*/ 717176 w 7357035"/>
              <a:gd name="connsiteY206" fmla="*/ 1954306 h 2085789"/>
              <a:gd name="connsiteX207" fmla="*/ 621553 w 7357035"/>
              <a:gd name="connsiteY207" fmla="*/ 1954306 h 2085789"/>
              <a:gd name="connsiteX208" fmla="*/ 621553 w 7357035"/>
              <a:gd name="connsiteY208" fmla="*/ 1972236 h 2085789"/>
              <a:gd name="connsiteX209" fmla="*/ 561788 w 7357035"/>
              <a:gd name="connsiteY209" fmla="*/ 1972236 h 2085789"/>
              <a:gd name="connsiteX210" fmla="*/ 573741 w 7357035"/>
              <a:gd name="connsiteY210" fmla="*/ 1984189 h 2085789"/>
              <a:gd name="connsiteX211" fmla="*/ 490070 w 7357035"/>
              <a:gd name="connsiteY211" fmla="*/ 1984189 h 2085789"/>
              <a:gd name="connsiteX212" fmla="*/ 490070 w 7357035"/>
              <a:gd name="connsiteY212" fmla="*/ 2014071 h 2085789"/>
              <a:gd name="connsiteX213" fmla="*/ 430306 w 7357035"/>
              <a:gd name="connsiteY213" fmla="*/ 2014071 h 2085789"/>
              <a:gd name="connsiteX214" fmla="*/ 430306 w 7357035"/>
              <a:gd name="connsiteY214" fmla="*/ 2037977 h 2085789"/>
              <a:gd name="connsiteX215" fmla="*/ 334682 w 7357035"/>
              <a:gd name="connsiteY215" fmla="*/ 2037977 h 2085789"/>
              <a:gd name="connsiteX216" fmla="*/ 334682 w 7357035"/>
              <a:gd name="connsiteY216" fmla="*/ 2043953 h 2085789"/>
              <a:gd name="connsiteX217" fmla="*/ 233082 w 7357035"/>
              <a:gd name="connsiteY217" fmla="*/ 2043953 h 2085789"/>
              <a:gd name="connsiteX218" fmla="*/ 233082 w 7357035"/>
              <a:gd name="connsiteY218" fmla="*/ 2085789 h 2085789"/>
              <a:gd name="connsiteX219" fmla="*/ 0 w 7357035"/>
              <a:gd name="connsiteY219" fmla="*/ 2085789 h 2085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</a:cxnLst>
            <a:rect l="l" t="t" r="r" b="b"/>
            <a:pathLst>
              <a:path w="7357035" h="2085789">
                <a:moveTo>
                  <a:pt x="7357035" y="0"/>
                </a:moveTo>
                <a:lnTo>
                  <a:pt x="6980517" y="0"/>
                </a:lnTo>
                <a:lnTo>
                  <a:pt x="6980517" y="23906"/>
                </a:lnTo>
                <a:lnTo>
                  <a:pt x="6920753" y="23906"/>
                </a:lnTo>
                <a:lnTo>
                  <a:pt x="6932706" y="35859"/>
                </a:lnTo>
                <a:lnTo>
                  <a:pt x="6789270" y="35859"/>
                </a:lnTo>
                <a:lnTo>
                  <a:pt x="6789270" y="47812"/>
                </a:lnTo>
                <a:lnTo>
                  <a:pt x="6717553" y="47812"/>
                </a:lnTo>
                <a:lnTo>
                  <a:pt x="6717553" y="59765"/>
                </a:lnTo>
                <a:lnTo>
                  <a:pt x="6663764" y="59765"/>
                </a:lnTo>
                <a:lnTo>
                  <a:pt x="6663764" y="83671"/>
                </a:lnTo>
                <a:lnTo>
                  <a:pt x="6639859" y="83671"/>
                </a:lnTo>
                <a:lnTo>
                  <a:pt x="6639859" y="95624"/>
                </a:lnTo>
                <a:lnTo>
                  <a:pt x="6412753" y="95624"/>
                </a:lnTo>
                <a:lnTo>
                  <a:pt x="6406776" y="101601"/>
                </a:lnTo>
                <a:lnTo>
                  <a:pt x="6335059" y="101601"/>
                </a:lnTo>
                <a:lnTo>
                  <a:pt x="6335059" y="125506"/>
                </a:lnTo>
                <a:lnTo>
                  <a:pt x="6257364" y="125506"/>
                </a:lnTo>
                <a:lnTo>
                  <a:pt x="6257364" y="161365"/>
                </a:lnTo>
                <a:lnTo>
                  <a:pt x="6215529" y="161365"/>
                </a:lnTo>
                <a:lnTo>
                  <a:pt x="6215529" y="185271"/>
                </a:lnTo>
                <a:lnTo>
                  <a:pt x="6197600" y="185271"/>
                </a:lnTo>
                <a:lnTo>
                  <a:pt x="6209553" y="197224"/>
                </a:lnTo>
                <a:lnTo>
                  <a:pt x="6173694" y="197224"/>
                </a:lnTo>
                <a:lnTo>
                  <a:pt x="6173694" y="221130"/>
                </a:lnTo>
                <a:lnTo>
                  <a:pt x="5994400" y="221130"/>
                </a:lnTo>
                <a:lnTo>
                  <a:pt x="5994400" y="239059"/>
                </a:lnTo>
                <a:lnTo>
                  <a:pt x="5964517" y="239059"/>
                </a:lnTo>
                <a:lnTo>
                  <a:pt x="5964517" y="256989"/>
                </a:lnTo>
                <a:lnTo>
                  <a:pt x="5868894" y="256989"/>
                </a:lnTo>
                <a:lnTo>
                  <a:pt x="5868894" y="274918"/>
                </a:lnTo>
                <a:lnTo>
                  <a:pt x="5850964" y="274918"/>
                </a:lnTo>
                <a:lnTo>
                  <a:pt x="5850964" y="292847"/>
                </a:lnTo>
                <a:lnTo>
                  <a:pt x="5809129" y="292847"/>
                </a:lnTo>
                <a:lnTo>
                  <a:pt x="5809129" y="316753"/>
                </a:lnTo>
                <a:lnTo>
                  <a:pt x="5761317" y="316753"/>
                </a:lnTo>
                <a:lnTo>
                  <a:pt x="5761317" y="340659"/>
                </a:lnTo>
                <a:lnTo>
                  <a:pt x="5749364" y="340659"/>
                </a:lnTo>
                <a:lnTo>
                  <a:pt x="5749364" y="358589"/>
                </a:lnTo>
                <a:lnTo>
                  <a:pt x="5707529" y="358589"/>
                </a:lnTo>
                <a:lnTo>
                  <a:pt x="5707529" y="376518"/>
                </a:lnTo>
                <a:lnTo>
                  <a:pt x="5576047" y="376518"/>
                </a:lnTo>
                <a:lnTo>
                  <a:pt x="5576047" y="394447"/>
                </a:lnTo>
                <a:lnTo>
                  <a:pt x="5522259" y="394447"/>
                </a:lnTo>
                <a:lnTo>
                  <a:pt x="5522259" y="424330"/>
                </a:lnTo>
                <a:lnTo>
                  <a:pt x="5444564" y="424330"/>
                </a:lnTo>
                <a:lnTo>
                  <a:pt x="5444564" y="454212"/>
                </a:lnTo>
                <a:lnTo>
                  <a:pt x="5444564" y="454212"/>
                </a:lnTo>
                <a:lnTo>
                  <a:pt x="5402729" y="454212"/>
                </a:lnTo>
                <a:lnTo>
                  <a:pt x="5331012" y="454212"/>
                </a:lnTo>
                <a:lnTo>
                  <a:pt x="5331012" y="484094"/>
                </a:lnTo>
                <a:lnTo>
                  <a:pt x="5307106" y="484094"/>
                </a:lnTo>
                <a:lnTo>
                  <a:pt x="5307106" y="508000"/>
                </a:lnTo>
                <a:lnTo>
                  <a:pt x="5259294" y="508000"/>
                </a:lnTo>
                <a:lnTo>
                  <a:pt x="5259294" y="537883"/>
                </a:lnTo>
                <a:lnTo>
                  <a:pt x="5193553" y="537883"/>
                </a:lnTo>
                <a:lnTo>
                  <a:pt x="5187576" y="543860"/>
                </a:lnTo>
                <a:lnTo>
                  <a:pt x="5115859" y="543860"/>
                </a:lnTo>
                <a:lnTo>
                  <a:pt x="5127812" y="555813"/>
                </a:lnTo>
                <a:lnTo>
                  <a:pt x="5062070" y="555813"/>
                </a:lnTo>
                <a:lnTo>
                  <a:pt x="5062070" y="579718"/>
                </a:lnTo>
                <a:lnTo>
                  <a:pt x="4996329" y="579718"/>
                </a:lnTo>
                <a:lnTo>
                  <a:pt x="5014258" y="597647"/>
                </a:lnTo>
                <a:lnTo>
                  <a:pt x="4948517" y="597647"/>
                </a:lnTo>
                <a:lnTo>
                  <a:pt x="4948517" y="609600"/>
                </a:lnTo>
                <a:lnTo>
                  <a:pt x="4858870" y="609600"/>
                </a:lnTo>
                <a:lnTo>
                  <a:pt x="4840940" y="627530"/>
                </a:lnTo>
                <a:lnTo>
                  <a:pt x="4769223" y="627530"/>
                </a:lnTo>
                <a:lnTo>
                  <a:pt x="4781176" y="639483"/>
                </a:lnTo>
                <a:lnTo>
                  <a:pt x="4757270" y="639483"/>
                </a:lnTo>
                <a:lnTo>
                  <a:pt x="4757270" y="651436"/>
                </a:lnTo>
                <a:lnTo>
                  <a:pt x="4691529" y="651436"/>
                </a:lnTo>
                <a:lnTo>
                  <a:pt x="4709459" y="669366"/>
                </a:lnTo>
                <a:lnTo>
                  <a:pt x="4637741" y="669366"/>
                </a:lnTo>
                <a:lnTo>
                  <a:pt x="4637741" y="699247"/>
                </a:lnTo>
                <a:lnTo>
                  <a:pt x="4572000" y="699247"/>
                </a:lnTo>
                <a:lnTo>
                  <a:pt x="4572000" y="717177"/>
                </a:lnTo>
                <a:lnTo>
                  <a:pt x="4506259" y="717177"/>
                </a:lnTo>
                <a:lnTo>
                  <a:pt x="4506259" y="759012"/>
                </a:lnTo>
                <a:lnTo>
                  <a:pt x="4464423" y="759012"/>
                </a:lnTo>
                <a:lnTo>
                  <a:pt x="4464423" y="782918"/>
                </a:lnTo>
                <a:lnTo>
                  <a:pt x="4386729" y="782918"/>
                </a:lnTo>
                <a:lnTo>
                  <a:pt x="4386729" y="788894"/>
                </a:lnTo>
                <a:lnTo>
                  <a:pt x="4332941" y="788894"/>
                </a:lnTo>
                <a:lnTo>
                  <a:pt x="4332941" y="812800"/>
                </a:lnTo>
                <a:lnTo>
                  <a:pt x="4267200" y="812800"/>
                </a:lnTo>
                <a:lnTo>
                  <a:pt x="4267200" y="836706"/>
                </a:lnTo>
                <a:lnTo>
                  <a:pt x="4183529" y="836706"/>
                </a:lnTo>
                <a:lnTo>
                  <a:pt x="4183529" y="854636"/>
                </a:lnTo>
                <a:lnTo>
                  <a:pt x="4111812" y="854636"/>
                </a:lnTo>
                <a:lnTo>
                  <a:pt x="4111812" y="878541"/>
                </a:lnTo>
                <a:lnTo>
                  <a:pt x="4046070" y="878541"/>
                </a:lnTo>
                <a:lnTo>
                  <a:pt x="4046070" y="902447"/>
                </a:lnTo>
                <a:lnTo>
                  <a:pt x="3968376" y="902447"/>
                </a:lnTo>
                <a:lnTo>
                  <a:pt x="3968376" y="926353"/>
                </a:lnTo>
                <a:lnTo>
                  <a:pt x="3902635" y="926353"/>
                </a:lnTo>
                <a:lnTo>
                  <a:pt x="3902635" y="938306"/>
                </a:lnTo>
                <a:lnTo>
                  <a:pt x="3854823" y="938306"/>
                </a:lnTo>
                <a:lnTo>
                  <a:pt x="3854823" y="956236"/>
                </a:lnTo>
                <a:lnTo>
                  <a:pt x="3789082" y="956236"/>
                </a:lnTo>
                <a:lnTo>
                  <a:pt x="3789082" y="968189"/>
                </a:lnTo>
                <a:lnTo>
                  <a:pt x="3759200" y="968189"/>
                </a:lnTo>
                <a:lnTo>
                  <a:pt x="3759200" y="992094"/>
                </a:lnTo>
                <a:lnTo>
                  <a:pt x="3729317" y="992094"/>
                </a:lnTo>
                <a:lnTo>
                  <a:pt x="3729317" y="1021977"/>
                </a:lnTo>
                <a:lnTo>
                  <a:pt x="3669553" y="1021977"/>
                </a:lnTo>
                <a:lnTo>
                  <a:pt x="3681506" y="1021977"/>
                </a:lnTo>
                <a:lnTo>
                  <a:pt x="3603812" y="1021977"/>
                </a:lnTo>
                <a:lnTo>
                  <a:pt x="3603812" y="1045883"/>
                </a:lnTo>
                <a:lnTo>
                  <a:pt x="3544047" y="1045883"/>
                </a:lnTo>
                <a:lnTo>
                  <a:pt x="3544047" y="1063812"/>
                </a:lnTo>
                <a:lnTo>
                  <a:pt x="3490259" y="1063812"/>
                </a:lnTo>
                <a:lnTo>
                  <a:pt x="3490259" y="1087718"/>
                </a:lnTo>
                <a:lnTo>
                  <a:pt x="3424517" y="1087718"/>
                </a:lnTo>
                <a:lnTo>
                  <a:pt x="3424517" y="1123577"/>
                </a:lnTo>
                <a:lnTo>
                  <a:pt x="3382682" y="1123577"/>
                </a:lnTo>
                <a:lnTo>
                  <a:pt x="3382682" y="1141506"/>
                </a:lnTo>
                <a:lnTo>
                  <a:pt x="3257176" y="1141506"/>
                </a:lnTo>
                <a:lnTo>
                  <a:pt x="3257176" y="1171389"/>
                </a:lnTo>
                <a:lnTo>
                  <a:pt x="3203388" y="1171389"/>
                </a:lnTo>
                <a:lnTo>
                  <a:pt x="3209364" y="1177365"/>
                </a:lnTo>
                <a:lnTo>
                  <a:pt x="3179482" y="1177365"/>
                </a:lnTo>
                <a:lnTo>
                  <a:pt x="3179482" y="1195294"/>
                </a:lnTo>
                <a:lnTo>
                  <a:pt x="3107764" y="1195294"/>
                </a:lnTo>
                <a:lnTo>
                  <a:pt x="3107764" y="1225177"/>
                </a:lnTo>
                <a:lnTo>
                  <a:pt x="3042023" y="1225177"/>
                </a:lnTo>
                <a:lnTo>
                  <a:pt x="3024094" y="1243106"/>
                </a:lnTo>
                <a:lnTo>
                  <a:pt x="2934447" y="1243106"/>
                </a:lnTo>
                <a:lnTo>
                  <a:pt x="2934447" y="1267012"/>
                </a:lnTo>
                <a:lnTo>
                  <a:pt x="2886635" y="1267012"/>
                </a:lnTo>
                <a:lnTo>
                  <a:pt x="2886635" y="1296894"/>
                </a:lnTo>
                <a:lnTo>
                  <a:pt x="2779059" y="1296894"/>
                </a:lnTo>
                <a:lnTo>
                  <a:pt x="2761129" y="1314824"/>
                </a:lnTo>
                <a:lnTo>
                  <a:pt x="2725270" y="1314824"/>
                </a:lnTo>
                <a:lnTo>
                  <a:pt x="2725270" y="1326777"/>
                </a:lnTo>
                <a:lnTo>
                  <a:pt x="2653553" y="1326777"/>
                </a:lnTo>
                <a:lnTo>
                  <a:pt x="2653553" y="1344706"/>
                </a:lnTo>
                <a:lnTo>
                  <a:pt x="2611717" y="1344706"/>
                </a:lnTo>
                <a:lnTo>
                  <a:pt x="2605741" y="1350682"/>
                </a:lnTo>
                <a:lnTo>
                  <a:pt x="2569882" y="1350682"/>
                </a:lnTo>
                <a:lnTo>
                  <a:pt x="2569882" y="1368612"/>
                </a:lnTo>
                <a:lnTo>
                  <a:pt x="2540000" y="1368612"/>
                </a:lnTo>
                <a:lnTo>
                  <a:pt x="2528047" y="1380565"/>
                </a:lnTo>
                <a:lnTo>
                  <a:pt x="2492188" y="1380565"/>
                </a:lnTo>
                <a:lnTo>
                  <a:pt x="2492188" y="1380565"/>
                </a:lnTo>
                <a:lnTo>
                  <a:pt x="2408517" y="1380565"/>
                </a:lnTo>
                <a:lnTo>
                  <a:pt x="2408517" y="1410447"/>
                </a:lnTo>
                <a:lnTo>
                  <a:pt x="2336800" y="1410447"/>
                </a:lnTo>
                <a:lnTo>
                  <a:pt x="2336800" y="1434353"/>
                </a:lnTo>
                <a:lnTo>
                  <a:pt x="2235200" y="1434353"/>
                </a:lnTo>
                <a:lnTo>
                  <a:pt x="2235200" y="1464236"/>
                </a:lnTo>
                <a:lnTo>
                  <a:pt x="2229223" y="1464236"/>
                </a:lnTo>
                <a:lnTo>
                  <a:pt x="2229223" y="1476189"/>
                </a:lnTo>
                <a:lnTo>
                  <a:pt x="2211294" y="1476189"/>
                </a:lnTo>
                <a:lnTo>
                  <a:pt x="2211294" y="1494118"/>
                </a:lnTo>
                <a:lnTo>
                  <a:pt x="2163482" y="1494118"/>
                </a:lnTo>
                <a:lnTo>
                  <a:pt x="2145553" y="1512047"/>
                </a:lnTo>
                <a:lnTo>
                  <a:pt x="2073835" y="1512047"/>
                </a:lnTo>
                <a:lnTo>
                  <a:pt x="2073835" y="1535953"/>
                </a:lnTo>
                <a:lnTo>
                  <a:pt x="2043953" y="1535953"/>
                </a:lnTo>
                <a:lnTo>
                  <a:pt x="2043953" y="1553883"/>
                </a:lnTo>
                <a:lnTo>
                  <a:pt x="2002117" y="1553883"/>
                </a:lnTo>
                <a:lnTo>
                  <a:pt x="2002117" y="1559859"/>
                </a:lnTo>
                <a:lnTo>
                  <a:pt x="1996140" y="1565836"/>
                </a:lnTo>
                <a:lnTo>
                  <a:pt x="1984188" y="1577788"/>
                </a:lnTo>
                <a:lnTo>
                  <a:pt x="1924423" y="1577788"/>
                </a:lnTo>
                <a:lnTo>
                  <a:pt x="1924423" y="1589741"/>
                </a:lnTo>
                <a:lnTo>
                  <a:pt x="1876612" y="1589741"/>
                </a:lnTo>
                <a:lnTo>
                  <a:pt x="1864659" y="1601694"/>
                </a:lnTo>
                <a:lnTo>
                  <a:pt x="1804894" y="1601694"/>
                </a:lnTo>
                <a:lnTo>
                  <a:pt x="1804894" y="1631577"/>
                </a:lnTo>
                <a:lnTo>
                  <a:pt x="1757082" y="1631577"/>
                </a:lnTo>
                <a:lnTo>
                  <a:pt x="1757082" y="1655483"/>
                </a:lnTo>
                <a:lnTo>
                  <a:pt x="1691341" y="1655483"/>
                </a:lnTo>
                <a:lnTo>
                  <a:pt x="1691341" y="1673412"/>
                </a:lnTo>
                <a:lnTo>
                  <a:pt x="1619623" y="1673412"/>
                </a:lnTo>
                <a:lnTo>
                  <a:pt x="1619623" y="1691341"/>
                </a:lnTo>
                <a:lnTo>
                  <a:pt x="1553882" y="1691341"/>
                </a:lnTo>
                <a:lnTo>
                  <a:pt x="1547906" y="1697317"/>
                </a:lnTo>
                <a:lnTo>
                  <a:pt x="1482164" y="1697317"/>
                </a:lnTo>
                <a:lnTo>
                  <a:pt x="1482164" y="1715247"/>
                </a:lnTo>
                <a:lnTo>
                  <a:pt x="1446306" y="1715247"/>
                </a:lnTo>
                <a:lnTo>
                  <a:pt x="1446306" y="1733177"/>
                </a:lnTo>
                <a:lnTo>
                  <a:pt x="1362635" y="1733177"/>
                </a:lnTo>
                <a:lnTo>
                  <a:pt x="1362635" y="1757083"/>
                </a:lnTo>
                <a:lnTo>
                  <a:pt x="1308847" y="1757083"/>
                </a:lnTo>
                <a:lnTo>
                  <a:pt x="1308847" y="1780989"/>
                </a:lnTo>
                <a:lnTo>
                  <a:pt x="1249082" y="1780989"/>
                </a:lnTo>
                <a:lnTo>
                  <a:pt x="1249082" y="1798918"/>
                </a:lnTo>
                <a:lnTo>
                  <a:pt x="1189317" y="1798918"/>
                </a:lnTo>
                <a:lnTo>
                  <a:pt x="1189317" y="1822824"/>
                </a:lnTo>
                <a:lnTo>
                  <a:pt x="1123576" y="1822824"/>
                </a:lnTo>
                <a:lnTo>
                  <a:pt x="1111623" y="1834777"/>
                </a:lnTo>
                <a:lnTo>
                  <a:pt x="1069788" y="1834777"/>
                </a:lnTo>
                <a:lnTo>
                  <a:pt x="1069788" y="1864659"/>
                </a:lnTo>
                <a:lnTo>
                  <a:pt x="1004047" y="1864659"/>
                </a:lnTo>
                <a:lnTo>
                  <a:pt x="1004047" y="1882589"/>
                </a:lnTo>
                <a:lnTo>
                  <a:pt x="950259" y="1882589"/>
                </a:lnTo>
                <a:lnTo>
                  <a:pt x="950259" y="1882589"/>
                </a:lnTo>
                <a:lnTo>
                  <a:pt x="878541" y="1882589"/>
                </a:lnTo>
                <a:lnTo>
                  <a:pt x="878541" y="1906494"/>
                </a:lnTo>
                <a:lnTo>
                  <a:pt x="836706" y="1906494"/>
                </a:lnTo>
                <a:lnTo>
                  <a:pt x="836706" y="1936377"/>
                </a:lnTo>
                <a:lnTo>
                  <a:pt x="770964" y="1936377"/>
                </a:lnTo>
                <a:lnTo>
                  <a:pt x="770964" y="1936377"/>
                </a:lnTo>
                <a:lnTo>
                  <a:pt x="717176" y="1936377"/>
                </a:lnTo>
                <a:lnTo>
                  <a:pt x="717176" y="1954306"/>
                </a:lnTo>
                <a:lnTo>
                  <a:pt x="621553" y="1954306"/>
                </a:lnTo>
                <a:lnTo>
                  <a:pt x="621553" y="1972236"/>
                </a:lnTo>
                <a:lnTo>
                  <a:pt x="561788" y="1972236"/>
                </a:lnTo>
                <a:lnTo>
                  <a:pt x="573741" y="1984189"/>
                </a:lnTo>
                <a:lnTo>
                  <a:pt x="490070" y="1984189"/>
                </a:lnTo>
                <a:lnTo>
                  <a:pt x="490070" y="2014071"/>
                </a:lnTo>
                <a:lnTo>
                  <a:pt x="430306" y="2014071"/>
                </a:lnTo>
                <a:lnTo>
                  <a:pt x="430306" y="2037977"/>
                </a:lnTo>
                <a:lnTo>
                  <a:pt x="334682" y="2037977"/>
                </a:lnTo>
                <a:lnTo>
                  <a:pt x="334682" y="2043953"/>
                </a:lnTo>
                <a:lnTo>
                  <a:pt x="233082" y="2043953"/>
                </a:lnTo>
                <a:lnTo>
                  <a:pt x="233082" y="2085789"/>
                </a:lnTo>
                <a:lnTo>
                  <a:pt x="0" y="2085789"/>
                </a:lnTo>
              </a:path>
            </a:pathLst>
          </a:custGeom>
          <a:noFill/>
          <a:ln w="19050">
            <a:solidFill>
              <a:srgbClr val="007C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9" rIns="68562" bIns="34289" anchor="ctr"/>
          <a:lstStyle/>
          <a:p>
            <a:pPr algn="ctr" defTabSz="685596">
              <a:defRPr/>
            </a:pPr>
            <a:endParaRPr lang="nl-NL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0299" name="Group 61"/>
          <p:cNvGrpSpPr>
            <a:grpSpLocks/>
          </p:cNvGrpSpPr>
          <p:nvPr/>
        </p:nvGrpSpPr>
        <p:grpSpPr bwMode="auto">
          <a:xfrm>
            <a:off x="5682432" y="3023876"/>
            <a:ext cx="1044758" cy="468085"/>
            <a:chOff x="2856977" y="1634104"/>
            <a:chExt cx="1393642" cy="626197"/>
          </a:xfrm>
        </p:grpSpPr>
        <p:grpSp>
          <p:nvGrpSpPr>
            <p:cNvPr id="140333" name="Group 62"/>
            <p:cNvGrpSpPr>
              <a:grpSpLocks/>
            </p:cNvGrpSpPr>
            <p:nvPr/>
          </p:nvGrpSpPr>
          <p:grpSpPr bwMode="auto">
            <a:xfrm>
              <a:off x="2876020" y="1634104"/>
              <a:ext cx="1374599" cy="308804"/>
              <a:chOff x="4541875" y="616022"/>
              <a:chExt cx="1374599" cy="308804"/>
            </a:xfrm>
          </p:grpSpPr>
          <p:sp>
            <p:nvSpPr>
              <p:cNvPr id="140337" name="TextBox 13"/>
              <p:cNvSpPr txBox="1">
                <a:spLocks noChangeArrowheads="1"/>
              </p:cNvSpPr>
              <p:nvPr/>
            </p:nvSpPr>
            <p:spPr bwMode="auto">
              <a:xfrm>
                <a:off x="4795573" y="616022"/>
                <a:ext cx="1120901" cy="308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Clr>
                    <a:schemeClr val="accent1"/>
                  </a:buClr>
                  <a:buFont typeface="Verdana" panose="020B0604030504040204" pitchFamily="34" charset="0"/>
                  <a:buChar char="•"/>
                  <a:defRPr>
                    <a:solidFill>
                      <a:schemeClr val="accent2"/>
                    </a:solidFill>
                    <a:latin typeface="Verdana" panose="020B060403050404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tx2"/>
                  </a:buClr>
                  <a:buFont typeface="Verdana" panose="020B0604030504040204" pitchFamily="34" charset="0"/>
                  <a:buChar char="•"/>
                  <a:defRPr sz="1600">
                    <a:solidFill>
                      <a:schemeClr val="accent2"/>
                    </a:solidFill>
                    <a:latin typeface="Verdana" panose="020B060403050404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E64A0E"/>
                  </a:buClr>
                  <a:buFont typeface="Verdana" panose="020B0604030504040204" pitchFamily="34" charset="0"/>
                  <a:buChar char="•"/>
                  <a:defRPr sz="1400">
                    <a:solidFill>
                      <a:schemeClr val="accent2"/>
                    </a:solidFill>
                    <a:latin typeface="Verdana" panose="020B060403050404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82786F"/>
                  </a:buClr>
                  <a:buFont typeface="Verdana" panose="020B0604030504040204" pitchFamily="34" charset="0"/>
                  <a:buChar char="•"/>
                  <a:defRPr sz="1200">
                    <a:solidFill>
                      <a:schemeClr val="accent2"/>
                    </a:solidFill>
                    <a:latin typeface="Verdana" panose="020B060403050404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001423"/>
                  </a:buClr>
                  <a:buFont typeface="Verdana" panose="020B0604030504040204" pitchFamily="34" charset="0"/>
                  <a:buChar char="•"/>
                  <a:defRPr sz="1100">
                    <a:solidFill>
                      <a:schemeClr val="accent2"/>
                    </a:solidFill>
                    <a:latin typeface="Verdan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1423"/>
                  </a:buClr>
                  <a:buFont typeface="Verdana" panose="020B0604030504040204" pitchFamily="34" charset="0"/>
                  <a:buChar char="•"/>
                  <a:defRPr sz="1100">
                    <a:solidFill>
                      <a:schemeClr val="accent2"/>
                    </a:solidFill>
                    <a:latin typeface="Verdan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1423"/>
                  </a:buClr>
                  <a:buFont typeface="Verdana" panose="020B0604030504040204" pitchFamily="34" charset="0"/>
                  <a:buChar char="•"/>
                  <a:defRPr sz="1100">
                    <a:solidFill>
                      <a:schemeClr val="accent2"/>
                    </a:solidFill>
                    <a:latin typeface="Verdan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1423"/>
                  </a:buClr>
                  <a:buFont typeface="Verdana" panose="020B0604030504040204" pitchFamily="34" charset="0"/>
                  <a:buChar char="•"/>
                  <a:defRPr sz="1100">
                    <a:solidFill>
                      <a:schemeClr val="accent2"/>
                    </a:solidFill>
                    <a:latin typeface="Verdan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1423"/>
                  </a:buClr>
                  <a:buFont typeface="Verdana" panose="020B0604030504040204" pitchFamily="34" charset="0"/>
                  <a:buChar char="•"/>
                  <a:defRPr sz="1100">
                    <a:solidFill>
                      <a:schemeClr val="accent2"/>
                    </a:solidFill>
                    <a:latin typeface="Verdana" panose="020B0604030504040204" pitchFamily="34" charset="0"/>
                  </a:defRPr>
                </a:lvl9pPr>
              </a:lstStyle>
              <a:p>
                <a:pPr defTabSz="685596">
                  <a:spcBef>
                    <a:spcPct val="0"/>
                  </a:spcBef>
                  <a:buClrTx/>
                  <a:buFont typeface="Verdana" panose="020B0604030504040204" pitchFamily="34" charset="0"/>
                  <a:buNone/>
                </a:pPr>
                <a:r>
                  <a:rPr lang="nl-NL" altLang="en-US" sz="900" dirty="0" err="1" smtClean="0">
                    <a:solidFill>
                      <a:srgbClr val="00196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Empagliflozin</a:t>
                </a:r>
                <a:r>
                  <a:rPr lang="nl-NL" altLang="en-US" sz="900" dirty="0" smtClean="0">
                    <a:solidFill>
                      <a:srgbClr val="00196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endParaRPr lang="nl-NL" altLang="en-US" sz="9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71" name="Straight Connector 70"/>
              <p:cNvCxnSpPr/>
              <p:nvPr/>
            </p:nvCxnSpPr>
            <p:spPr>
              <a:xfrm>
                <a:off x="4541875" y="753899"/>
                <a:ext cx="283762" cy="0"/>
              </a:xfrm>
              <a:prstGeom prst="line">
                <a:avLst/>
              </a:prstGeom>
              <a:ln w="19050">
                <a:solidFill>
                  <a:srgbClr val="007C9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0334" name="Group 64"/>
            <p:cNvGrpSpPr>
              <a:grpSpLocks/>
            </p:cNvGrpSpPr>
            <p:nvPr/>
          </p:nvGrpSpPr>
          <p:grpSpPr bwMode="auto">
            <a:xfrm>
              <a:off x="2856977" y="1951497"/>
              <a:ext cx="1003324" cy="308804"/>
              <a:chOff x="4463981" y="934996"/>
              <a:chExt cx="1003324" cy="308804"/>
            </a:xfrm>
          </p:grpSpPr>
          <p:sp>
            <p:nvSpPr>
              <p:cNvPr id="140335" name="TextBox 13"/>
              <p:cNvSpPr txBox="1">
                <a:spLocks noChangeArrowheads="1"/>
              </p:cNvSpPr>
              <p:nvPr/>
            </p:nvSpPr>
            <p:spPr bwMode="auto">
              <a:xfrm>
                <a:off x="4729162" y="934996"/>
                <a:ext cx="738143" cy="308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Clr>
                    <a:schemeClr val="accent1"/>
                  </a:buClr>
                  <a:buFont typeface="Verdana" panose="020B0604030504040204" pitchFamily="34" charset="0"/>
                  <a:buChar char="•"/>
                  <a:defRPr>
                    <a:solidFill>
                      <a:schemeClr val="accent2"/>
                    </a:solidFill>
                    <a:latin typeface="Verdana" panose="020B060403050404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tx2"/>
                  </a:buClr>
                  <a:buFont typeface="Verdana" panose="020B0604030504040204" pitchFamily="34" charset="0"/>
                  <a:buChar char="•"/>
                  <a:defRPr sz="1600">
                    <a:solidFill>
                      <a:schemeClr val="accent2"/>
                    </a:solidFill>
                    <a:latin typeface="Verdana" panose="020B060403050404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E64A0E"/>
                  </a:buClr>
                  <a:buFont typeface="Verdana" panose="020B0604030504040204" pitchFamily="34" charset="0"/>
                  <a:buChar char="•"/>
                  <a:defRPr sz="1400">
                    <a:solidFill>
                      <a:schemeClr val="accent2"/>
                    </a:solidFill>
                    <a:latin typeface="Verdana" panose="020B060403050404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82786F"/>
                  </a:buClr>
                  <a:buFont typeface="Verdana" panose="020B0604030504040204" pitchFamily="34" charset="0"/>
                  <a:buChar char="•"/>
                  <a:defRPr sz="1200">
                    <a:solidFill>
                      <a:schemeClr val="accent2"/>
                    </a:solidFill>
                    <a:latin typeface="Verdana" panose="020B060403050404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001423"/>
                  </a:buClr>
                  <a:buFont typeface="Verdana" panose="020B0604030504040204" pitchFamily="34" charset="0"/>
                  <a:buChar char="•"/>
                  <a:defRPr sz="1100">
                    <a:solidFill>
                      <a:schemeClr val="accent2"/>
                    </a:solidFill>
                    <a:latin typeface="Verdan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1423"/>
                  </a:buClr>
                  <a:buFont typeface="Verdana" panose="020B0604030504040204" pitchFamily="34" charset="0"/>
                  <a:buChar char="•"/>
                  <a:defRPr sz="1100">
                    <a:solidFill>
                      <a:schemeClr val="accent2"/>
                    </a:solidFill>
                    <a:latin typeface="Verdan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1423"/>
                  </a:buClr>
                  <a:buFont typeface="Verdana" panose="020B0604030504040204" pitchFamily="34" charset="0"/>
                  <a:buChar char="•"/>
                  <a:defRPr sz="1100">
                    <a:solidFill>
                      <a:schemeClr val="accent2"/>
                    </a:solidFill>
                    <a:latin typeface="Verdan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1423"/>
                  </a:buClr>
                  <a:buFont typeface="Verdana" panose="020B0604030504040204" pitchFamily="34" charset="0"/>
                  <a:buChar char="•"/>
                  <a:defRPr sz="1100">
                    <a:solidFill>
                      <a:schemeClr val="accent2"/>
                    </a:solidFill>
                    <a:latin typeface="Verdan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1423"/>
                  </a:buClr>
                  <a:buFont typeface="Verdana" panose="020B0604030504040204" pitchFamily="34" charset="0"/>
                  <a:buChar char="•"/>
                  <a:defRPr sz="1100">
                    <a:solidFill>
                      <a:schemeClr val="accent2"/>
                    </a:solidFill>
                    <a:latin typeface="Verdana" panose="020B0604030504040204" pitchFamily="34" charset="0"/>
                  </a:defRPr>
                </a:lvl9pPr>
              </a:lstStyle>
              <a:p>
                <a:pPr defTabSz="685596">
                  <a:spcBef>
                    <a:spcPct val="0"/>
                  </a:spcBef>
                  <a:buClrTx/>
                  <a:buFont typeface="Verdana" panose="020B0604030504040204" pitchFamily="34" charset="0"/>
                  <a:buNone/>
                </a:pPr>
                <a:r>
                  <a:rPr lang="nl-NL" altLang="en-US" sz="900" dirty="0" smtClean="0">
                    <a:solidFill>
                      <a:srgbClr val="00196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lacebo</a:t>
                </a:r>
                <a:endParaRPr lang="nl-NL" altLang="en-US" sz="9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67" name="Straight Connector 66"/>
              <p:cNvCxnSpPr/>
              <p:nvPr/>
            </p:nvCxnSpPr>
            <p:spPr>
              <a:xfrm>
                <a:off x="4463981" y="1073039"/>
                <a:ext cx="283762" cy="0"/>
              </a:xfrm>
              <a:prstGeom prst="line">
                <a:avLst/>
              </a:prstGeom>
              <a:ln w="19050">
                <a:solidFill>
                  <a:srgbClr val="82786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aphicFrame>
        <p:nvGraphicFramePr>
          <p:cNvPr id="72" name="Table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6087150"/>
              </p:ext>
            </p:extLst>
          </p:nvPr>
        </p:nvGraphicFramePr>
        <p:xfrm>
          <a:off x="317505" y="4040188"/>
          <a:ext cx="7226297" cy="538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25172"/>
                <a:gridCol w="700125"/>
                <a:gridCol w="700125"/>
                <a:gridCol w="700125"/>
                <a:gridCol w="700125"/>
                <a:gridCol w="700125"/>
                <a:gridCol w="700125"/>
                <a:gridCol w="700125"/>
                <a:gridCol w="700125"/>
                <a:gridCol w="700125"/>
              </a:tblGrid>
              <a:tr h="179520">
                <a:tc gridSpan="2">
                  <a:txBody>
                    <a:bodyPr/>
                    <a:lstStyle/>
                    <a:p>
                      <a:pPr marL="180975" indent="0" algn="l"/>
                      <a:r>
                        <a:rPr lang="nl-NL" sz="800" b="1" dirty="0" smtClean="0"/>
                        <a:t>No. at</a:t>
                      </a:r>
                      <a:r>
                        <a:rPr lang="nl-NL" sz="800" b="1" baseline="0" dirty="0" smtClean="0"/>
                        <a:t> risk</a:t>
                      </a:r>
                      <a:endParaRPr lang="nl-NL" sz="800" b="1" dirty="0"/>
                    </a:p>
                  </a:txBody>
                  <a:tcPr marL="26997" marR="26997" marT="26895" marB="26895"/>
                </a:tc>
                <a:tc hMerge="1"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35996" marR="35996" marT="35860" marB="35860"/>
                </a:tc>
                <a:tc>
                  <a:txBody>
                    <a:bodyPr/>
                    <a:lstStyle/>
                    <a:p>
                      <a:pPr algn="ctr"/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endParaRPr lang="nl-NL" sz="800" dirty="0"/>
                    </a:p>
                  </a:txBody>
                  <a:tcPr marL="26997" marR="26997" marT="26895" marB="26895"/>
                </a:tc>
              </a:tr>
              <a:tr h="179520">
                <a:tc>
                  <a:txBody>
                    <a:bodyPr/>
                    <a:lstStyle/>
                    <a:p>
                      <a:pPr algn="r"/>
                      <a:r>
                        <a:rPr lang="nl-NL" sz="800" dirty="0" err="1" smtClean="0"/>
                        <a:t>Empagliflozin</a:t>
                      </a:r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800" dirty="0" smtClean="0"/>
                        <a:t>4687</a:t>
                      </a:r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800" dirty="0" smtClean="0"/>
                        <a:t>4580</a:t>
                      </a:r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800" dirty="0" smtClean="0"/>
                        <a:t>4455</a:t>
                      </a:r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800" dirty="0" smtClean="0"/>
                        <a:t>4328</a:t>
                      </a:r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800" dirty="0" smtClean="0"/>
                        <a:t>3851</a:t>
                      </a:r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800" dirty="0" smtClean="0"/>
                        <a:t>2821</a:t>
                      </a:r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800" dirty="0" smtClean="0"/>
                        <a:t>2359</a:t>
                      </a:r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800" dirty="0" smtClean="0"/>
                        <a:t>1534</a:t>
                      </a:r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800" dirty="0" smtClean="0"/>
                        <a:t>370</a:t>
                      </a:r>
                      <a:endParaRPr lang="nl-NL" sz="800" dirty="0"/>
                    </a:p>
                  </a:txBody>
                  <a:tcPr marL="26997" marR="26997" marT="26895" marB="26895"/>
                </a:tc>
              </a:tr>
              <a:tr h="179520">
                <a:tc>
                  <a:txBody>
                    <a:bodyPr/>
                    <a:lstStyle/>
                    <a:p>
                      <a:pPr algn="r"/>
                      <a:r>
                        <a:rPr lang="nl-NL" sz="800" dirty="0" smtClean="0"/>
                        <a:t>Placebo</a:t>
                      </a:r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800" dirty="0" smtClean="0"/>
                        <a:t>2333</a:t>
                      </a:r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800" dirty="0" smtClean="0"/>
                        <a:t>2256</a:t>
                      </a:r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800" dirty="0" smtClean="0"/>
                        <a:t>2194</a:t>
                      </a:r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800" dirty="0" smtClean="0"/>
                        <a:t>2112</a:t>
                      </a:r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800" dirty="0" smtClean="0"/>
                        <a:t>1875</a:t>
                      </a:r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800" dirty="0" smtClean="0"/>
                        <a:t>1380</a:t>
                      </a:r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800" dirty="0" smtClean="0"/>
                        <a:t>1161</a:t>
                      </a:r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800" dirty="0" smtClean="0"/>
                        <a:t>741</a:t>
                      </a:r>
                      <a:endParaRPr lang="nl-NL" sz="800" dirty="0"/>
                    </a:p>
                  </a:txBody>
                  <a:tcPr marL="26997" marR="26997" marT="26895" marB="268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800" dirty="0" smtClean="0"/>
                        <a:t>166</a:t>
                      </a:r>
                      <a:endParaRPr lang="nl-NL" sz="800" dirty="0"/>
                    </a:p>
                  </a:txBody>
                  <a:tcPr marL="26997" marR="26997" marT="26895" marB="26895"/>
                </a:tc>
              </a:tr>
            </a:tbl>
          </a:graphicData>
        </a:graphic>
      </p:graphicFrame>
      <p:sp>
        <p:nvSpPr>
          <p:cNvPr id="140331" name="Text Placeholder 6"/>
          <p:cNvSpPr txBox="1">
            <a:spLocks/>
          </p:cNvSpPr>
          <p:nvPr/>
        </p:nvSpPr>
        <p:spPr bwMode="auto">
          <a:xfrm>
            <a:off x="211140" y="4491052"/>
            <a:ext cx="8509000" cy="54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2" tIns="34289" rIns="68562" bIns="34289" anchor="b"/>
          <a:lstStyle>
            <a:lvl1pPr defTabSz="912813">
              <a:spcBef>
                <a:spcPct val="20000"/>
              </a:spcBef>
              <a:buClr>
                <a:schemeClr val="accent1"/>
              </a:buClr>
              <a:buFont typeface="Verdana" panose="020B0604030504040204" pitchFamily="34" charset="0"/>
              <a:buChar char="•"/>
              <a:defRPr>
                <a:solidFill>
                  <a:schemeClr val="accent2"/>
                </a:solidFill>
                <a:latin typeface="Verdana" panose="020B0604030504040204" pitchFamily="34" charset="0"/>
              </a:defRPr>
            </a:lvl1pPr>
            <a:lvl2pPr marL="536575" indent="-271463" defTabSz="912813">
              <a:spcBef>
                <a:spcPct val="20000"/>
              </a:spcBef>
              <a:buClr>
                <a:schemeClr val="tx2"/>
              </a:buClr>
              <a:buFont typeface="Verdana" panose="020B0604030504040204" pitchFamily="34" charset="0"/>
              <a:buChar char="•"/>
              <a:defRPr sz="1600">
                <a:solidFill>
                  <a:schemeClr val="accent2"/>
                </a:solidFill>
                <a:latin typeface="Verdana" panose="020B0604030504040204" pitchFamily="34" charset="0"/>
              </a:defRPr>
            </a:lvl2pPr>
            <a:lvl3pPr marL="808038" indent="-271463" defTabSz="912813">
              <a:spcBef>
                <a:spcPct val="20000"/>
              </a:spcBef>
              <a:buClr>
                <a:srgbClr val="E64A0E"/>
              </a:buClr>
              <a:buFont typeface="Verdana" panose="020B0604030504040204" pitchFamily="34" charset="0"/>
              <a:buChar char="•"/>
              <a:defRPr sz="1400">
                <a:solidFill>
                  <a:schemeClr val="accent2"/>
                </a:solidFill>
                <a:latin typeface="Verdana" panose="020B0604030504040204" pitchFamily="34" charset="0"/>
              </a:defRPr>
            </a:lvl3pPr>
            <a:lvl4pPr marL="985838" indent="-177800" defTabSz="912813">
              <a:spcBef>
                <a:spcPct val="20000"/>
              </a:spcBef>
              <a:buClr>
                <a:srgbClr val="82786F"/>
              </a:buClr>
              <a:buFont typeface="Verdana" panose="020B0604030504040204" pitchFamily="34" charset="0"/>
              <a:buChar char="•"/>
              <a:defRPr sz="1200">
                <a:solidFill>
                  <a:schemeClr val="accent2"/>
                </a:solidFill>
                <a:latin typeface="Verdana" panose="020B0604030504040204" pitchFamily="34" charset="0"/>
              </a:defRPr>
            </a:lvl4pPr>
            <a:lvl5pPr marL="1257300" indent="-184150" defTabSz="912813">
              <a:spcBef>
                <a:spcPct val="20000"/>
              </a:spcBef>
              <a:buClr>
                <a:srgbClr val="001423"/>
              </a:buClr>
              <a:buFont typeface="Verdana" panose="020B0604030504040204" pitchFamily="34" charset="0"/>
              <a:buChar char="•"/>
              <a:defRPr sz="1100">
                <a:solidFill>
                  <a:schemeClr val="accent2"/>
                </a:solidFill>
                <a:latin typeface="Verdana" panose="020B0604030504040204" pitchFamily="34" charset="0"/>
              </a:defRPr>
            </a:lvl5pPr>
            <a:lvl6pPr marL="1714500" indent="-18415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anose="020B0604030504040204" pitchFamily="34" charset="0"/>
              <a:buChar char="•"/>
              <a:defRPr sz="1100">
                <a:solidFill>
                  <a:schemeClr val="accent2"/>
                </a:solidFill>
                <a:latin typeface="Verdana" panose="020B0604030504040204" pitchFamily="34" charset="0"/>
              </a:defRPr>
            </a:lvl6pPr>
            <a:lvl7pPr marL="2171700" indent="-18415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anose="020B0604030504040204" pitchFamily="34" charset="0"/>
              <a:buChar char="•"/>
              <a:defRPr sz="1100">
                <a:solidFill>
                  <a:schemeClr val="accent2"/>
                </a:solidFill>
                <a:latin typeface="Verdana" panose="020B0604030504040204" pitchFamily="34" charset="0"/>
              </a:defRPr>
            </a:lvl7pPr>
            <a:lvl8pPr marL="2628900" indent="-18415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anose="020B0604030504040204" pitchFamily="34" charset="0"/>
              <a:buChar char="•"/>
              <a:defRPr sz="1100">
                <a:solidFill>
                  <a:schemeClr val="accent2"/>
                </a:solidFill>
                <a:latin typeface="Verdana" panose="020B0604030504040204" pitchFamily="34" charset="0"/>
              </a:defRPr>
            </a:lvl8pPr>
            <a:lvl9pPr marL="3086100" indent="-18415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anose="020B0604030504040204" pitchFamily="34" charset="0"/>
              <a:buChar char="•"/>
              <a:defRPr sz="1100">
                <a:solidFill>
                  <a:schemeClr val="accent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Clr>
                <a:srgbClr val="009FDA"/>
              </a:buClr>
              <a:buFont typeface="Verdana" panose="020B0604030504040204" pitchFamily="34" charset="0"/>
              <a:buNone/>
            </a:pPr>
            <a:r>
              <a:rPr lang="nl-NL" altLang="en-US" sz="800" dirty="0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, </a:t>
            </a:r>
            <a:r>
              <a:rPr lang="nl-NL" altLang="en-US" sz="800" dirty="0" err="1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ce</a:t>
            </a:r>
            <a:r>
              <a:rPr lang="nl-NL" altLang="en-US" sz="800" dirty="0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terval; CV, </a:t>
            </a:r>
            <a:r>
              <a:rPr lang="nl-NL" altLang="en-US" sz="800" dirty="0" err="1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diovascular</a:t>
            </a:r>
            <a:r>
              <a:rPr lang="nl-NL" altLang="en-US" sz="800" dirty="0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; MI, </a:t>
            </a:r>
            <a:r>
              <a:rPr lang="nl-NL" altLang="en-US" sz="800" dirty="0" err="1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ocardial</a:t>
            </a:r>
            <a:r>
              <a:rPr lang="nl-NL" altLang="en-US" sz="800" dirty="0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altLang="en-US" sz="800" dirty="0" err="1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farction</a:t>
            </a:r>
            <a:r>
              <a:rPr lang="nl-NL" altLang="en-US" sz="800" dirty="0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>
              <a:spcBef>
                <a:spcPct val="0"/>
              </a:spcBef>
              <a:buClr>
                <a:srgbClr val="009FDA"/>
              </a:buClr>
              <a:buFont typeface="Verdana" panose="020B0604030504040204" pitchFamily="34" charset="0"/>
              <a:buNone/>
            </a:pPr>
            <a:r>
              <a:rPr lang="nl-NL" altLang="en-US" sz="800" dirty="0" err="1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inman</a:t>
            </a:r>
            <a:r>
              <a:rPr lang="nl-NL" altLang="en-US" sz="800" dirty="0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 et al. </a:t>
            </a:r>
            <a:r>
              <a:rPr lang="nl-NL" altLang="en-US" sz="800" i="1" dirty="0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 </a:t>
            </a:r>
            <a:r>
              <a:rPr lang="nl-NL" altLang="en-US" sz="800" i="1" dirty="0" err="1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gl</a:t>
            </a:r>
            <a:r>
              <a:rPr lang="nl-NL" altLang="en-US" sz="800" i="1" dirty="0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J </a:t>
            </a:r>
            <a:r>
              <a:rPr lang="nl-NL" altLang="en-US" sz="800" i="1" dirty="0" err="1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d</a:t>
            </a:r>
            <a:r>
              <a:rPr lang="nl-NL" altLang="en-US" sz="800" i="1" dirty="0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altLang="en-US" sz="800" dirty="0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5; 373:2117-28.</a:t>
            </a:r>
            <a:endParaRPr lang="nl-NL" altLang="en-US" sz="800" dirty="0">
              <a:solidFill>
                <a:srgbClr val="82786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2267744" y="1059582"/>
            <a:ext cx="4824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altLang="en-US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jd tot </a:t>
            </a:r>
            <a:r>
              <a:rPr lang="nl-NL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t eerste optreden van cardiovasculaire sterfte, niet-fatale myocardinfarct of niet-fatale beroerte 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583014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16801" y="4245093"/>
            <a:ext cx="8509700" cy="770400"/>
          </a:xfrm>
        </p:spPr>
        <p:txBody>
          <a:bodyPr/>
          <a:lstStyle/>
          <a:p>
            <a:r>
              <a:rPr lang="en-GB" sz="700" dirty="0" smtClean="0">
                <a:latin typeface="Calibri" panose="020F0502020204030204" pitchFamily="34" charset="0"/>
                <a:cs typeface="Calibri" panose="020F0502020204030204" pitchFamily="34" charset="0"/>
              </a:rPr>
              <a:t>HR and 95% CI for the primary outcome were estimated using Cox regression models with stratification according to trial and history of CVD for all </a:t>
            </a:r>
            <a:r>
              <a:rPr lang="en-GB" sz="7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canagliflozin</a:t>
            </a:r>
            <a:r>
              <a:rPr lang="en-GB" sz="700" dirty="0" smtClean="0">
                <a:latin typeface="Calibri" panose="020F0502020204030204" pitchFamily="34" charset="0"/>
                <a:cs typeface="Calibri" panose="020F0502020204030204" pitchFamily="34" charset="0"/>
              </a:rPr>
              <a:t> groups combined versus placebo. Analyses are based upon the full integrated data set comprising all participants who underwent randomisation</a:t>
            </a:r>
          </a:p>
          <a:p>
            <a:r>
              <a:rPr lang="en-GB" sz="700" dirty="0" smtClean="0">
                <a:latin typeface="Calibri" panose="020F0502020204030204" pitchFamily="34" charset="0"/>
                <a:cs typeface="Calibri" panose="020F0502020204030204" pitchFamily="34" charset="0"/>
              </a:rPr>
              <a:t>CI, confidence interval; CV, cardiovascular; CVD, cardiovascular disease; HR, hazard ratio; MI, myocardial infarction; </a:t>
            </a:r>
            <a:r>
              <a:rPr lang="en-GB" altLang="en-US" sz="700" dirty="0" smtClean="0">
                <a:latin typeface="Calibri" panose="020F0502020204030204" pitchFamily="34" charset="0"/>
                <a:cs typeface="Calibri" panose="020F0502020204030204" pitchFamily="34" charset="0"/>
              </a:rPr>
              <a:t>SGLT-2i, sodium-glucose cotransporter-2 inhibitor</a:t>
            </a:r>
            <a:endParaRPr lang="en-GB" sz="7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GB" sz="700" dirty="0" smtClean="0">
                <a:latin typeface="Calibri" panose="020F0502020204030204" pitchFamily="34" charset="0"/>
                <a:cs typeface="Calibri" panose="020F0502020204030204" pitchFamily="34" charset="0"/>
              </a:rPr>
              <a:t>Neal B et al. </a:t>
            </a:r>
            <a:r>
              <a:rPr lang="en-GB" sz="7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N </a:t>
            </a:r>
            <a:r>
              <a:rPr lang="en-GB" sz="700" i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Engl</a:t>
            </a:r>
            <a:r>
              <a:rPr lang="en-GB" sz="7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 J Med</a:t>
            </a:r>
            <a:r>
              <a:rPr lang="en-GB" sz="700" dirty="0" smtClean="0">
                <a:latin typeface="Calibri" panose="020F0502020204030204" pitchFamily="34" charset="0"/>
                <a:cs typeface="Calibri" panose="020F0502020204030204" pitchFamily="34" charset="0"/>
              </a:rPr>
              <a:t> 2017; </a:t>
            </a:r>
            <a:r>
              <a:rPr lang="en-GB" sz="7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doi</a:t>
            </a:r>
            <a:r>
              <a:rPr lang="en-GB" sz="700" dirty="0" smtClean="0">
                <a:latin typeface="Calibri" panose="020F0502020204030204" pitchFamily="34" charset="0"/>
                <a:cs typeface="Calibri" panose="020F0502020204030204" pitchFamily="34" charset="0"/>
              </a:rPr>
              <a:t>: 10.1056/NEJMoa1611925</a:t>
            </a:r>
            <a:endParaRPr lang="en-GB" sz="7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6953009"/>
              </p:ext>
            </p:extLst>
          </p:nvPr>
        </p:nvGraphicFramePr>
        <p:xfrm>
          <a:off x="803310" y="3621731"/>
          <a:ext cx="8081752" cy="777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128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132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132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1326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1326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51326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513267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513267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513267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513267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513267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513267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513267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473124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928143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</a:tblGrid>
              <a:tr h="217170"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>
                          <a:solidFill>
                            <a:srgbClr val="002060"/>
                          </a:solidFill>
                        </a:rPr>
                        <a:t>No.</a:t>
                      </a:r>
                      <a:r>
                        <a:rPr lang="en-GB" sz="800" baseline="0" dirty="0">
                          <a:solidFill>
                            <a:srgbClr val="002060"/>
                          </a:solidFill>
                        </a:rPr>
                        <a:t> at risk</a:t>
                      </a:r>
                      <a:endParaRPr lang="en-GB" sz="800" dirty="0">
                        <a:solidFill>
                          <a:srgbClr val="002060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5795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567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556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5447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434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298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2555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251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246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2419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236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231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166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44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b="1" dirty="0"/>
                        <a:t>Canagliflozi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7170"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4347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4239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415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406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294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162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124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1217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1187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115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112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1095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789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dirty="0"/>
                        <a:t>21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800" b="1" dirty="0"/>
                        <a:t>Placebo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cxnSp>
        <p:nvCxnSpPr>
          <p:cNvPr id="11" name="Straight Connector 10"/>
          <p:cNvCxnSpPr/>
          <p:nvPr/>
        </p:nvCxnSpPr>
        <p:spPr>
          <a:xfrm>
            <a:off x="1136591" y="1341697"/>
            <a:ext cx="0" cy="1870653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1128046" y="3207319"/>
            <a:ext cx="7024643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1133069" y="3212343"/>
            <a:ext cx="0" cy="58084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1642187" y="3208995"/>
            <a:ext cx="0" cy="58084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2149628" y="3208995"/>
            <a:ext cx="0" cy="58084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2662093" y="3207894"/>
            <a:ext cx="0" cy="58084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3169535" y="3208995"/>
            <a:ext cx="0" cy="58084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3676977" y="3208995"/>
            <a:ext cx="0" cy="58084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4184419" y="3208995"/>
            <a:ext cx="0" cy="58084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4691861" y="3211242"/>
            <a:ext cx="0" cy="58084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5204327" y="3208995"/>
            <a:ext cx="0" cy="58084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5713443" y="3211242"/>
            <a:ext cx="0" cy="58084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6220887" y="3211242"/>
            <a:ext cx="0" cy="58084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6728328" y="3211815"/>
            <a:ext cx="0" cy="58084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7240792" y="3211242"/>
            <a:ext cx="0" cy="58084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7748235" y="3211245"/>
            <a:ext cx="0" cy="58084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966985" y="3234023"/>
            <a:ext cx="3392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442679" y="3240860"/>
            <a:ext cx="3923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6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956816" y="3232683"/>
            <a:ext cx="3923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2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464258" y="3237364"/>
            <a:ext cx="3923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8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941726" y="3240284"/>
            <a:ext cx="4583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4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447786" y="3237364"/>
            <a:ext cx="4583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30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953778" y="3234555"/>
            <a:ext cx="4583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56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465726" y="3232682"/>
            <a:ext cx="4583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2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980614" y="3232678"/>
            <a:ext cx="4583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8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479230" y="3232678"/>
            <a:ext cx="4583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34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5993370" y="3244968"/>
            <a:ext cx="4583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60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6499598" y="3241062"/>
            <a:ext cx="4583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86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7011602" y="3240284"/>
            <a:ext cx="4583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12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519042" y="3230906"/>
            <a:ext cx="4583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38</a:t>
            </a:r>
          </a:p>
        </p:txBody>
      </p:sp>
      <p:cxnSp>
        <p:nvCxnSpPr>
          <p:cNvPr id="49" name="Straight Connector 48"/>
          <p:cNvCxnSpPr/>
          <p:nvPr/>
        </p:nvCxnSpPr>
        <p:spPr>
          <a:xfrm>
            <a:off x="1032734" y="3201940"/>
            <a:ext cx="100691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1032734" y="3031611"/>
            <a:ext cx="100691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1032734" y="2837925"/>
            <a:ext cx="100691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1032734" y="2657710"/>
            <a:ext cx="100691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1032734" y="2464025"/>
            <a:ext cx="100691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1032734" y="2283811"/>
            <a:ext cx="100691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1035902" y="2095505"/>
            <a:ext cx="100691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>
            <a:off x="1035902" y="1909912"/>
            <a:ext cx="100691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>
            <a:off x="1035902" y="1721606"/>
            <a:ext cx="100691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1030522" y="1536013"/>
            <a:ext cx="100691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>
            <a:off x="1035902" y="1355797"/>
            <a:ext cx="100691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739244" y="3068172"/>
            <a:ext cx="3392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739244" y="2894346"/>
            <a:ext cx="3392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740744" y="2701287"/>
            <a:ext cx="3392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743581" y="2524961"/>
            <a:ext cx="3392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739244" y="2331854"/>
            <a:ext cx="3392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669428" y="2143542"/>
            <a:ext cx="40902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669428" y="1957079"/>
            <a:ext cx="40902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668528" y="1774134"/>
            <a:ext cx="40902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4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670928" y="1593996"/>
            <a:ext cx="40902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6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667633" y="1408188"/>
            <a:ext cx="40902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670928" y="1228113"/>
            <a:ext cx="40902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3400114" y="3444759"/>
            <a:ext cx="24099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00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eks since randomisation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416182" y="1187468"/>
            <a:ext cx="338554" cy="2088295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 defTabSz="685800"/>
            <a:r>
              <a:rPr lang="en-GB" sz="100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tients with an event (%)</a:t>
            </a:r>
          </a:p>
        </p:txBody>
      </p:sp>
      <p:sp>
        <p:nvSpPr>
          <p:cNvPr id="76" name="Freeform 75"/>
          <p:cNvSpPr/>
          <p:nvPr/>
        </p:nvSpPr>
        <p:spPr>
          <a:xfrm>
            <a:off x="1143004" y="1326120"/>
            <a:ext cx="6823101" cy="1879144"/>
          </a:xfrm>
          <a:custGeom>
            <a:avLst/>
            <a:gdLst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593387 w 6843409"/>
              <a:gd name="connsiteY21" fmla="*/ 1658566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50004 w 6843409"/>
              <a:gd name="connsiteY35" fmla="*/ 1502923 h 1862847"/>
              <a:gd name="connsiteX36" fmla="*/ 1269460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99226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200400 w 6843409"/>
              <a:gd name="connsiteY100" fmla="*/ 1001949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40868 w 6843409"/>
              <a:gd name="connsiteY107" fmla="*/ 938719 h 1862847"/>
              <a:gd name="connsiteX108" fmla="*/ 3555460 w 6843409"/>
              <a:gd name="connsiteY108" fmla="*/ 928992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29391 w 6843409"/>
              <a:gd name="connsiteY123" fmla="*/ 812260 h 1862847"/>
              <a:gd name="connsiteX124" fmla="*/ 4158574 w 6843409"/>
              <a:gd name="connsiteY124" fmla="*/ 802532 h 1862847"/>
              <a:gd name="connsiteX125" fmla="*/ 4202349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71209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50004 w 6843409"/>
              <a:gd name="connsiteY35" fmla="*/ 1502923 h 1862847"/>
              <a:gd name="connsiteX36" fmla="*/ 1269460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99226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200400 w 6843409"/>
              <a:gd name="connsiteY100" fmla="*/ 1001949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40868 w 6843409"/>
              <a:gd name="connsiteY107" fmla="*/ 938719 h 1862847"/>
              <a:gd name="connsiteX108" fmla="*/ 3555460 w 6843409"/>
              <a:gd name="connsiteY108" fmla="*/ 928992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29391 w 6843409"/>
              <a:gd name="connsiteY123" fmla="*/ 812260 h 1862847"/>
              <a:gd name="connsiteX124" fmla="*/ 4158574 w 6843409"/>
              <a:gd name="connsiteY124" fmla="*/ 802532 h 1862847"/>
              <a:gd name="connsiteX125" fmla="*/ 4202349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71209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50004 w 6843409"/>
              <a:gd name="connsiteY35" fmla="*/ 1502923 h 1862847"/>
              <a:gd name="connsiteX36" fmla="*/ 1240316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99226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200400 w 6843409"/>
              <a:gd name="connsiteY100" fmla="*/ 1001949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40868 w 6843409"/>
              <a:gd name="connsiteY107" fmla="*/ 938719 h 1862847"/>
              <a:gd name="connsiteX108" fmla="*/ 3555460 w 6843409"/>
              <a:gd name="connsiteY108" fmla="*/ 928992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29391 w 6843409"/>
              <a:gd name="connsiteY123" fmla="*/ 812260 h 1862847"/>
              <a:gd name="connsiteX124" fmla="*/ 4158574 w 6843409"/>
              <a:gd name="connsiteY124" fmla="*/ 802532 h 1862847"/>
              <a:gd name="connsiteX125" fmla="*/ 4202349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71209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50004 w 6843409"/>
              <a:gd name="connsiteY35" fmla="*/ 1502923 h 1862847"/>
              <a:gd name="connsiteX36" fmla="*/ 1222101 w 6843409"/>
              <a:gd name="connsiteY36" fmla="*/ 1501703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99226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200400 w 6843409"/>
              <a:gd name="connsiteY100" fmla="*/ 1001949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40868 w 6843409"/>
              <a:gd name="connsiteY107" fmla="*/ 938719 h 1862847"/>
              <a:gd name="connsiteX108" fmla="*/ 3555460 w 6843409"/>
              <a:gd name="connsiteY108" fmla="*/ 928992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29391 w 6843409"/>
              <a:gd name="connsiteY123" fmla="*/ 812260 h 1862847"/>
              <a:gd name="connsiteX124" fmla="*/ 4158574 w 6843409"/>
              <a:gd name="connsiteY124" fmla="*/ 802532 h 1862847"/>
              <a:gd name="connsiteX125" fmla="*/ 4202349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71209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22101 w 6843409"/>
              <a:gd name="connsiteY36" fmla="*/ 1501703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99226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200400 w 6843409"/>
              <a:gd name="connsiteY100" fmla="*/ 1001949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40868 w 6843409"/>
              <a:gd name="connsiteY107" fmla="*/ 938719 h 1862847"/>
              <a:gd name="connsiteX108" fmla="*/ 3555460 w 6843409"/>
              <a:gd name="connsiteY108" fmla="*/ 928992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29391 w 6843409"/>
              <a:gd name="connsiteY123" fmla="*/ 812260 h 1862847"/>
              <a:gd name="connsiteX124" fmla="*/ 4158574 w 6843409"/>
              <a:gd name="connsiteY124" fmla="*/ 802532 h 1862847"/>
              <a:gd name="connsiteX125" fmla="*/ 4202349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71209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03886 w 6843409"/>
              <a:gd name="connsiteY36" fmla="*/ 1501703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99226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200400 w 6843409"/>
              <a:gd name="connsiteY100" fmla="*/ 1001949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40868 w 6843409"/>
              <a:gd name="connsiteY107" fmla="*/ 938719 h 1862847"/>
              <a:gd name="connsiteX108" fmla="*/ 3555460 w 6843409"/>
              <a:gd name="connsiteY108" fmla="*/ 928992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29391 w 6843409"/>
              <a:gd name="connsiteY123" fmla="*/ 812260 h 1862847"/>
              <a:gd name="connsiteX124" fmla="*/ 4158574 w 6843409"/>
              <a:gd name="connsiteY124" fmla="*/ 802532 h 1862847"/>
              <a:gd name="connsiteX125" fmla="*/ 4202349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71209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29387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99226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200400 w 6843409"/>
              <a:gd name="connsiteY100" fmla="*/ 1001949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40868 w 6843409"/>
              <a:gd name="connsiteY107" fmla="*/ 938719 h 1862847"/>
              <a:gd name="connsiteX108" fmla="*/ 3555460 w 6843409"/>
              <a:gd name="connsiteY108" fmla="*/ 928992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29391 w 6843409"/>
              <a:gd name="connsiteY123" fmla="*/ 812260 h 1862847"/>
              <a:gd name="connsiteX124" fmla="*/ 4158574 w 6843409"/>
              <a:gd name="connsiteY124" fmla="*/ 802532 h 1862847"/>
              <a:gd name="connsiteX125" fmla="*/ 4202349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71209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18458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99226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200400 w 6843409"/>
              <a:gd name="connsiteY100" fmla="*/ 1001949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40868 w 6843409"/>
              <a:gd name="connsiteY107" fmla="*/ 938719 h 1862847"/>
              <a:gd name="connsiteX108" fmla="*/ 3555460 w 6843409"/>
              <a:gd name="connsiteY108" fmla="*/ 928992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29391 w 6843409"/>
              <a:gd name="connsiteY123" fmla="*/ 812260 h 1862847"/>
              <a:gd name="connsiteX124" fmla="*/ 4158574 w 6843409"/>
              <a:gd name="connsiteY124" fmla="*/ 802532 h 1862847"/>
              <a:gd name="connsiteX125" fmla="*/ 4202349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71209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58531 w 6843409"/>
              <a:gd name="connsiteY36" fmla="*/ 1512632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99226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200400 w 6843409"/>
              <a:gd name="connsiteY100" fmla="*/ 1001949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40868 w 6843409"/>
              <a:gd name="connsiteY107" fmla="*/ 938719 h 1862847"/>
              <a:gd name="connsiteX108" fmla="*/ 3555460 w 6843409"/>
              <a:gd name="connsiteY108" fmla="*/ 928992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29391 w 6843409"/>
              <a:gd name="connsiteY123" fmla="*/ 812260 h 1862847"/>
              <a:gd name="connsiteX124" fmla="*/ 4158574 w 6843409"/>
              <a:gd name="connsiteY124" fmla="*/ 802532 h 1862847"/>
              <a:gd name="connsiteX125" fmla="*/ 4202349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71209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58531 w 6843409"/>
              <a:gd name="connsiteY36" fmla="*/ 1512632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99226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200400 w 6843409"/>
              <a:gd name="connsiteY100" fmla="*/ 1001949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40868 w 6843409"/>
              <a:gd name="connsiteY107" fmla="*/ 938719 h 1862847"/>
              <a:gd name="connsiteX108" fmla="*/ 3555460 w 6843409"/>
              <a:gd name="connsiteY108" fmla="*/ 928992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29391 w 6843409"/>
              <a:gd name="connsiteY123" fmla="*/ 812260 h 1862847"/>
              <a:gd name="connsiteX124" fmla="*/ 4158574 w 6843409"/>
              <a:gd name="connsiteY124" fmla="*/ 802532 h 1862847"/>
              <a:gd name="connsiteX125" fmla="*/ 4202349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71209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54888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99226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200400 w 6843409"/>
              <a:gd name="connsiteY100" fmla="*/ 1001949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40868 w 6843409"/>
              <a:gd name="connsiteY107" fmla="*/ 938719 h 1862847"/>
              <a:gd name="connsiteX108" fmla="*/ 3555460 w 6843409"/>
              <a:gd name="connsiteY108" fmla="*/ 928992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29391 w 6843409"/>
              <a:gd name="connsiteY123" fmla="*/ 812260 h 1862847"/>
              <a:gd name="connsiteX124" fmla="*/ 4158574 w 6843409"/>
              <a:gd name="connsiteY124" fmla="*/ 802532 h 1862847"/>
              <a:gd name="connsiteX125" fmla="*/ 4202349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71209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54888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99226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200400 w 6843409"/>
              <a:gd name="connsiteY100" fmla="*/ 1001949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40868 w 6843409"/>
              <a:gd name="connsiteY107" fmla="*/ 938719 h 1862847"/>
              <a:gd name="connsiteX108" fmla="*/ 3555460 w 6843409"/>
              <a:gd name="connsiteY108" fmla="*/ 928992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29391 w 6843409"/>
              <a:gd name="connsiteY123" fmla="*/ 812260 h 1862847"/>
              <a:gd name="connsiteX124" fmla="*/ 4158574 w 6843409"/>
              <a:gd name="connsiteY124" fmla="*/ 802532 h 1862847"/>
              <a:gd name="connsiteX125" fmla="*/ 4202349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71209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54888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85845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200400 w 6843409"/>
              <a:gd name="connsiteY100" fmla="*/ 1001949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40868 w 6843409"/>
              <a:gd name="connsiteY107" fmla="*/ 938719 h 1862847"/>
              <a:gd name="connsiteX108" fmla="*/ 3555460 w 6843409"/>
              <a:gd name="connsiteY108" fmla="*/ 928992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29391 w 6843409"/>
              <a:gd name="connsiteY123" fmla="*/ 812260 h 1862847"/>
              <a:gd name="connsiteX124" fmla="*/ 4158574 w 6843409"/>
              <a:gd name="connsiteY124" fmla="*/ 802532 h 1862847"/>
              <a:gd name="connsiteX125" fmla="*/ 4202349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71209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54888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85845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200400 w 6843409"/>
              <a:gd name="connsiteY100" fmla="*/ 1001949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40868 w 6843409"/>
              <a:gd name="connsiteY107" fmla="*/ 938719 h 1862847"/>
              <a:gd name="connsiteX108" fmla="*/ 3555460 w 6843409"/>
              <a:gd name="connsiteY108" fmla="*/ 928992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29391 w 6843409"/>
              <a:gd name="connsiteY123" fmla="*/ 812260 h 1862847"/>
              <a:gd name="connsiteX124" fmla="*/ 4158574 w 6843409"/>
              <a:gd name="connsiteY124" fmla="*/ 802532 h 1862847"/>
              <a:gd name="connsiteX125" fmla="*/ 4202349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71209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54888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85845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170542 w 6843409"/>
              <a:gd name="connsiteY100" fmla="*/ 1005682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40868 w 6843409"/>
              <a:gd name="connsiteY107" fmla="*/ 938719 h 1862847"/>
              <a:gd name="connsiteX108" fmla="*/ 3555460 w 6843409"/>
              <a:gd name="connsiteY108" fmla="*/ 928992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29391 w 6843409"/>
              <a:gd name="connsiteY123" fmla="*/ 812260 h 1862847"/>
              <a:gd name="connsiteX124" fmla="*/ 4158574 w 6843409"/>
              <a:gd name="connsiteY124" fmla="*/ 802532 h 1862847"/>
              <a:gd name="connsiteX125" fmla="*/ 4202349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71209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54888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85845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170542 w 6843409"/>
              <a:gd name="connsiteY100" fmla="*/ 1005682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40868 w 6843409"/>
              <a:gd name="connsiteY107" fmla="*/ 938719 h 1862847"/>
              <a:gd name="connsiteX108" fmla="*/ 3555460 w 6843409"/>
              <a:gd name="connsiteY108" fmla="*/ 928992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29391 w 6843409"/>
              <a:gd name="connsiteY123" fmla="*/ 812260 h 1862847"/>
              <a:gd name="connsiteX124" fmla="*/ 4158574 w 6843409"/>
              <a:gd name="connsiteY124" fmla="*/ 802532 h 1862847"/>
              <a:gd name="connsiteX125" fmla="*/ 4202349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71209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54888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85845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170542 w 6843409"/>
              <a:gd name="connsiteY100" fmla="*/ 1005682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40868 w 6843409"/>
              <a:gd name="connsiteY107" fmla="*/ 938719 h 1862847"/>
              <a:gd name="connsiteX108" fmla="*/ 3555460 w 6843409"/>
              <a:gd name="connsiteY108" fmla="*/ 928992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29391 w 6843409"/>
              <a:gd name="connsiteY123" fmla="*/ 812260 h 1862847"/>
              <a:gd name="connsiteX124" fmla="*/ 4158574 w 6843409"/>
              <a:gd name="connsiteY124" fmla="*/ 802532 h 1862847"/>
              <a:gd name="connsiteX125" fmla="*/ 4202349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60012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54888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85845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170542 w 6843409"/>
              <a:gd name="connsiteY100" fmla="*/ 1005682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40868 w 6843409"/>
              <a:gd name="connsiteY107" fmla="*/ 938719 h 1862847"/>
              <a:gd name="connsiteX108" fmla="*/ 3555460 w 6843409"/>
              <a:gd name="connsiteY108" fmla="*/ 928992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14462 w 6843409"/>
              <a:gd name="connsiteY123" fmla="*/ 812260 h 1862847"/>
              <a:gd name="connsiteX124" fmla="*/ 4158574 w 6843409"/>
              <a:gd name="connsiteY124" fmla="*/ 802532 h 1862847"/>
              <a:gd name="connsiteX125" fmla="*/ 4202349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60012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54888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85845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170542 w 6843409"/>
              <a:gd name="connsiteY100" fmla="*/ 1005682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40868 w 6843409"/>
              <a:gd name="connsiteY107" fmla="*/ 938719 h 1862847"/>
              <a:gd name="connsiteX108" fmla="*/ 3555460 w 6843409"/>
              <a:gd name="connsiteY108" fmla="*/ 928992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14462 w 6843409"/>
              <a:gd name="connsiteY123" fmla="*/ 812260 h 1862847"/>
              <a:gd name="connsiteX124" fmla="*/ 4147377 w 6843409"/>
              <a:gd name="connsiteY124" fmla="*/ 787603 h 1862847"/>
              <a:gd name="connsiteX125" fmla="*/ 4202349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60012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54888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85845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170542 w 6843409"/>
              <a:gd name="connsiteY100" fmla="*/ 1005682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40868 w 6843409"/>
              <a:gd name="connsiteY107" fmla="*/ 938719 h 1862847"/>
              <a:gd name="connsiteX108" fmla="*/ 3555460 w 6843409"/>
              <a:gd name="connsiteY108" fmla="*/ 928992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14462 w 6843409"/>
              <a:gd name="connsiteY123" fmla="*/ 812260 h 1862847"/>
              <a:gd name="connsiteX124" fmla="*/ 4162306 w 6843409"/>
              <a:gd name="connsiteY124" fmla="*/ 791335 h 1862847"/>
              <a:gd name="connsiteX125" fmla="*/ 4202349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60012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54888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85845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170542 w 6843409"/>
              <a:gd name="connsiteY100" fmla="*/ 1005682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40868 w 6843409"/>
              <a:gd name="connsiteY107" fmla="*/ 938719 h 1862847"/>
              <a:gd name="connsiteX108" fmla="*/ 3555460 w 6843409"/>
              <a:gd name="connsiteY108" fmla="*/ 928992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14462 w 6843409"/>
              <a:gd name="connsiteY123" fmla="*/ 812260 h 1862847"/>
              <a:gd name="connsiteX124" fmla="*/ 4162306 w 6843409"/>
              <a:gd name="connsiteY124" fmla="*/ 791335 h 1862847"/>
              <a:gd name="connsiteX125" fmla="*/ 4217278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60012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54888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85845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170542 w 6843409"/>
              <a:gd name="connsiteY100" fmla="*/ 1005682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40868 w 6843409"/>
              <a:gd name="connsiteY107" fmla="*/ 938719 h 1862847"/>
              <a:gd name="connsiteX108" fmla="*/ 3555460 w 6843409"/>
              <a:gd name="connsiteY108" fmla="*/ 928992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14462 w 6843409"/>
              <a:gd name="connsiteY123" fmla="*/ 812260 h 1862847"/>
              <a:gd name="connsiteX124" fmla="*/ 4147377 w 6843409"/>
              <a:gd name="connsiteY124" fmla="*/ 795067 h 1862847"/>
              <a:gd name="connsiteX125" fmla="*/ 4217278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60012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54888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85845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170542 w 6843409"/>
              <a:gd name="connsiteY100" fmla="*/ 1005682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40868 w 6843409"/>
              <a:gd name="connsiteY107" fmla="*/ 938719 h 1862847"/>
              <a:gd name="connsiteX108" fmla="*/ 3555460 w 6843409"/>
              <a:gd name="connsiteY108" fmla="*/ 928992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14462 w 6843409"/>
              <a:gd name="connsiteY123" fmla="*/ 812260 h 1862847"/>
              <a:gd name="connsiteX124" fmla="*/ 4147377 w 6843409"/>
              <a:gd name="connsiteY124" fmla="*/ 795067 h 1862847"/>
              <a:gd name="connsiteX125" fmla="*/ 4217278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60012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54888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85845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170542 w 6843409"/>
              <a:gd name="connsiteY100" fmla="*/ 1005682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40868 w 6843409"/>
              <a:gd name="connsiteY107" fmla="*/ 938719 h 1862847"/>
              <a:gd name="connsiteX108" fmla="*/ 3544263 w 6843409"/>
              <a:gd name="connsiteY108" fmla="*/ 932724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14462 w 6843409"/>
              <a:gd name="connsiteY123" fmla="*/ 812260 h 1862847"/>
              <a:gd name="connsiteX124" fmla="*/ 4147377 w 6843409"/>
              <a:gd name="connsiteY124" fmla="*/ 795067 h 1862847"/>
              <a:gd name="connsiteX125" fmla="*/ 4217278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60012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54888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85845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170542 w 6843409"/>
              <a:gd name="connsiteY100" fmla="*/ 1005682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18474 w 6843409"/>
              <a:gd name="connsiteY107" fmla="*/ 953648 h 1862847"/>
              <a:gd name="connsiteX108" fmla="*/ 3544263 w 6843409"/>
              <a:gd name="connsiteY108" fmla="*/ 932724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14462 w 6843409"/>
              <a:gd name="connsiteY123" fmla="*/ 812260 h 1862847"/>
              <a:gd name="connsiteX124" fmla="*/ 4147377 w 6843409"/>
              <a:gd name="connsiteY124" fmla="*/ 795067 h 1862847"/>
              <a:gd name="connsiteX125" fmla="*/ 4217278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60012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54888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85845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170542 w 6843409"/>
              <a:gd name="connsiteY100" fmla="*/ 1005682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18474 w 6843409"/>
              <a:gd name="connsiteY107" fmla="*/ 953648 h 1862847"/>
              <a:gd name="connsiteX108" fmla="*/ 3562925 w 6843409"/>
              <a:gd name="connsiteY108" fmla="*/ 917795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14462 w 6843409"/>
              <a:gd name="connsiteY123" fmla="*/ 812260 h 1862847"/>
              <a:gd name="connsiteX124" fmla="*/ 4147377 w 6843409"/>
              <a:gd name="connsiteY124" fmla="*/ 795067 h 1862847"/>
              <a:gd name="connsiteX125" fmla="*/ 4217278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60012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54888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85845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170542 w 6843409"/>
              <a:gd name="connsiteY100" fmla="*/ 1005682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492349 w 6843409"/>
              <a:gd name="connsiteY107" fmla="*/ 968577 h 1862847"/>
              <a:gd name="connsiteX108" fmla="*/ 3562925 w 6843409"/>
              <a:gd name="connsiteY108" fmla="*/ 917795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14462 w 6843409"/>
              <a:gd name="connsiteY123" fmla="*/ 812260 h 1862847"/>
              <a:gd name="connsiteX124" fmla="*/ 4147377 w 6843409"/>
              <a:gd name="connsiteY124" fmla="*/ 795067 h 1862847"/>
              <a:gd name="connsiteX125" fmla="*/ 4217278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60012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54888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85845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170542 w 6843409"/>
              <a:gd name="connsiteY100" fmla="*/ 1005682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492349 w 6843409"/>
              <a:gd name="connsiteY107" fmla="*/ 968577 h 1862847"/>
              <a:gd name="connsiteX108" fmla="*/ 3562925 w 6843409"/>
              <a:gd name="connsiteY108" fmla="*/ 917795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14462 w 6843409"/>
              <a:gd name="connsiteY123" fmla="*/ 812260 h 1862847"/>
              <a:gd name="connsiteX124" fmla="*/ 4147377 w 6843409"/>
              <a:gd name="connsiteY124" fmla="*/ 795067 h 1862847"/>
              <a:gd name="connsiteX125" fmla="*/ 4217278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60012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38328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54888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85845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170542 w 6843409"/>
              <a:gd name="connsiteY100" fmla="*/ 1005682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25940 w 6843409"/>
              <a:gd name="connsiteY107" fmla="*/ 946184 h 1862847"/>
              <a:gd name="connsiteX108" fmla="*/ 3562925 w 6843409"/>
              <a:gd name="connsiteY108" fmla="*/ 917795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14462 w 6843409"/>
              <a:gd name="connsiteY123" fmla="*/ 812260 h 1862847"/>
              <a:gd name="connsiteX124" fmla="*/ 4147377 w 6843409"/>
              <a:gd name="connsiteY124" fmla="*/ 795067 h 1862847"/>
              <a:gd name="connsiteX125" fmla="*/ 4217278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60012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43409"/>
              <a:gd name="connsiteY0" fmla="*/ 1862847 h 1862847"/>
              <a:gd name="connsiteX1" fmla="*/ 38911 w 6843409"/>
              <a:gd name="connsiteY1" fmla="*/ 1848255 h 1862847"/>
              <a:gd name="connsiteX2" fmla="*/ 72957 w 6843409"/>
              <a:gd name="connsiteY2" fmla="*/ 1838528 h 1862847"/>
              <a:gd name="connsiteX3" fmla="*/ 102140 w 6843409"/>
              <a:gd name="connsiteY3" fmla="*/ 1819072 h 1862847"/>
              <a:gd name="connsiteX4" fmla="*/ 141051 w 6843409"/>
              <a:gd name="connsiteY4" fmla="*/ 1809345 h 1862847"/>
              <a:gd name="connsiteX5" fmla="*/ 160506 w 6843409"/>
              <a:gd name="connsiteY5" fmla="*/ 1804481 h 1862847"/>
              <a:gd name="connsiteX6" fmla="*/ 189689 w 6843409"/>
              <a:gd name="connsiteY6" fmla="*/ 1789889 h 1862847"/>
              <a:gd name="connsiteX7" fmla="*/ 209145 w 6843409"/>
              <a:gd name="connsiteY7" fmla="*/ 1780162 h 1862847"/>
              <a:gd name="connsiteX8" fmla="*/ 223736 w 6843409"/>
              <a:gd name="connsiteY8" fmla="*/ 1775298 h 1862847"/>
              <a:gd name="connsiteX9" fmla="*/ 245792 w 6843409"/>
              <a:gd name="connsiteY9" fmla="*/ 1765570 h 1862847"/>
              <a:gd name="connsiteX10" fmla="*/ 296694 w 6843409"/>
              <a:gd name="connsiteY10" fmla="*/ 1750979 h 1862847"/>
              <a:gd name="connsiteX11" fmla="*/ 330740 w 6843409"/>
              <a:gd name="connsiteY11" fmla="*/ 1746115 h 1862847"/>
              <a:gd name="connsiteX12" fmla="*/ 379379 w 6843409"/>
              <a:gd name="connsiteY12" fmla="*/ 1731523 h 1862847"/>
              <a:gd name="connsiteX13" fmla="*/ 408562 w 6843409"/>
              <a:gd name="connsiteY13" fmla="*/ 1726660 h 1862847"/>
              <a:gd name="connsiteX14" fmla="*/ 428017 w 6843409"/>
              <a:gd name="connsiteY14" fmla="*/ 1716932 h 1862847"/>
              <a:gd name="connsiteX15" fmla="*/ 457200 w 6843409"/>
              <a:gd name="connsiteY15" fmla="*/ 1707204 h 1862847"/>
              <a:gd name="connsiteX16" fmla="*/ 486383 w 6843409"/>
              <a:gd name="connsiteY16" fmla="*/ 1697477 h 1862847"/>
              <a:gd name="connsiteX17" fmla="*/ 530157 w 6843409"/>
              <a:gd name="connsiteY17" fmla="*/ 1682885 h 1862847"/>
              <a:gd name="connsiteX18" fmla="*/ 544749 w 6843409"/>
              <a:gd name="connsiteY18" fmla="*/ 1678021 h 1862847"/>
              <a:gd name="connsiteX19" fmla="*/ 559340 w 6843409"/>
              <a:gd name="connsiteY19" fmla="*/ 1673157 h 1862847"/>
              <a:gd name="connsiteX20" fmla="*/ 578796 w 6843409"/>
              <a:gd name="connsiteY20" fmla="*/ 1668294 h 1862847"/>
              <a:gd name="connsiteX21" fmla="*/ 607959 w 6843409"/>
              <a:gd name="connsiteY21" fmla="*/ 1665852 h 1862847"/>
              <a:gd name="connsiteX22" fmla="*/ 661481 w 6843409"/>
              <a:gd name="connsiteY22" fmla="*/ 1643974 h 1862847"/>
              <a:gd name="connsiteX23" fmla="*/ 685800 w 6843409"/>
              <a:gd name="connsiteY23" fmla="*/ 1639111 h 1862847"/>
              <a:gd name="connsiteX24" fmla="*/ 753894 w 6843409"/>
              <a:gd name="connsiteY24" fmla="*/ 1634247 h 1862847"/>
              <a:gd name="connsiteX25" fmla="*/ 851170 w 6843409"/>
              <a:gd name="connsiteY25" fmla="*/ 1619655 h 1862847"/>
              <a:gd name="connsiteX26" fmla="*/ 880353 w 6843409"/>
              <a:gd name="connsiteY26" fmla="*/ 1609928 h 1862847"/>
              <a:gd name="connsiteX27" fmla="*/ 894945 w 6843409"/>
              <a:gd name="connsiteY27" fmla="*/ 1605064 h 1862847"/>
              <a:gd name="connsiteX28" fmla="*/ 943583 w 6843409"/>
              <a:gd name="connsiteY28" fmla="*/ 1600200 h 1862847"/>
              <a:gd name="connsiteX29" fmla="*/ 972766 w 6843409"/>
              <a:gd name="connsiteY29" fmla="*/ 1590472 h 1862847"/>
              <a:gd name="connsiteX30" fmla="*/ 1011677 w 6843409"/>
              <a:gd name="connsiteY30" fmla="*/ 1556426 h 1862847"/>
              <a:gd name="connsiteX31" fmla="*/ 1045723 w 6843409"/>
              <a:gd name="connsiteY31" fmla="*/ 1546698 h 1862847"/>
              <a:gd name="connsiteX32" fmla="*/ 1079770 w 6843409"/>
              <a:gd name="connsiteY32" fmla="*/ 1541834 h 1862847"/>
              <a:gd name="connsiteX33" fmla="*/ 1123545 w 6843409"/>
              <a:gd name="connsiteY33" fmla="*/ 1527243 h 1862847"/>
              <a:gd name="connsiteX34" fmla="*/ 1157591 w 6843409"/>
              <a:gd name="connsiteY34" fmla="*/ 1517515 h 1862847"/>
              <a:gd name="connsiteX35" fmla="*/ 1282792 w 6843409"/>
              <a:gd name="connsiteY35" fmla="*/ 1495637 h 1862847"/>
              <a:gd name="connsiteX36" fmla="*/ 1254888 w 6843409"/>
              <a:gd name="connsiteY36" fmla="*/ 1498060 h 1862847"/>
              <a:gd name="connsiteX37" fmla="*/ 1318098 w 6843409"/>
              <a:gd name="connsiteY37" fmla="*/ 1483468 h 1862847"/>
              <a:gd name="connsiteX38" fmla="*/ 1347281 w 6843409"/>
              <a:gd name="connsiteY38" fmla="*/ 1478604 h 1862847"/>
              <a:gd name="connsiteX39" fmla="*/ 1371600 w 6843409"/>
              <a:gd name="connsiteY39" fmla="*/ 1473740 h 1862847"/>
              <a:gd name="connsiteX40" fmla="*/ 1391055 w 6843409"/>
              <a:gd name="connsiteY40" fmla="*/ 1468877 h 1862847"/>
              <a:gd name="connsiteX41" fmla="*/ 1420238 w 6843409"/>
              <a:gd name="connsiteY41" fmla="*/ 1464013 h 1862847"/>
              <a:gd name="connsiteX42" fmla="*/ 1449421 w 6843409"/>
              <a:gd name="connsiteY42" fmla="*/ 1454285 h 1862847"/>
              <a:gd name="connsiteX43" fmla="*/ 1464013 w 6843409"/>
              <a:gd name="connsiteY43" fmla="*/ 1449421 h 1862847"/>
              <a:gd name="connsiteX44" fmla="*/ 1478604 w 6843409"/>
              <a:gd name="connsiteY44" fmla="*/ 1444557 h 1862847"/>
              <a:gd name="connsiteX45" fmla="*/ 1502923 w 6843409"/>
              <a:gd name="connsiteY45" fmla="*/ 1439694 h 1862847"/>
              <a:gd name="connsiteX46" fmla="*/ 1532106 w 6843409"/>
              <a:gd name="connsiteY46" fmla="*/ 1429966 h 1862847"/>
              <a:gd name="connsiteX47" fmla="*/ 1566153 w 6843409"/>
              <a:gd name="connsiteY47" fmla="*/ 1425102 h 1862847"/>
              <a:gd name="connsiteX48" fmla="*/ 1580745 w 6843409"/>
              <a:gd name="connsiteY48" fmla="*/ 1420238 h 1862847"/>
              <a:gd name="connsiteX49" fmla="*/ 1600200 w 6843409"/>
              <a:gd name="connsiteY49" fmla="*/ 1410511 h 1862847"/>
              <a:gd name="connsiteX50" fmla="*/ 1639111 w 6843409"/>
              <a:gd name="connsiteY50" fmla="*/ 1405647 h 1862847"/>
              <a:gd name="connsiteX51" fmla="*/ 1663430 w 6843409"/>
              <a:gd name="connsiteY51" fmla="*/ 1400783 h 1862847"/>
              <a:gd name="connsiteX52" fmla="*/ 1678021 w 6843409"/>
              <a:gd name="connsiteY52" fmla="*/ 1395919 h 1862847"/>
              <a:gd name="connsiteX53" fmla="*/ 1692613 w 6843409"/>
              <a:gd name="connsiteY53" fmla="*/ 1386192 h 1862847"/>
              <a:gd name="connsiteX54" fmla="*/ 1707204 w 6843409"/>
              <a:gd name="connsiteY54" fmla="*/ 1381328 h 1862847"/>
              <a:gd name="connsiteX55" fmla="*/ 1721796 w 6843409"/>
              <a:gd name="connsiteY55" fmla="*/ 1371600 h 1862847"/>
              <a:gd name="connsiteX56" fmla="*/ 1746115 w 6843409"/>
              <a:gd name="connsiteY56" fmla="*/ 1366736 h 1862847"/>
              <a:gd name="connsiteX57" fmla="*/ 1760706 w 6843409"/>
              <a:gd name="connsiteY57" fmla="*/ 1357009 h 1862847"/>
              <a:gd name="connsiteX58" fmla="*/ 1833664 w 6843409"/>
              <a:gd name="connsiteY58" fmla="*/ 1342417 h 1862847"/>
              <a:gd name="connsiteX59" fmla="*/ 1853119 w 6843409"/>
              <a:gd name="connsiteY59" fmla="*/ 1337553 h 1862847"/>
              <a:gd name="connsiteX60" fmla="*/ 1882302 w 6843409"/>
              <a:gd name="connsiteY60" fmla="*/ 1332689 h 1862847"/>
              <a:gd name="connsiteX61" fmla="*/ 1911485 w 6843409"/>
              <a:gd name="connsiteY61" fmla="*/ 1313234 h 1862847"/>
              <a:gd name="connsiteX62" fmla="*/ 1964987 w 6843409"/>
              <a:gd name="connsiteY62" fmla="*/ 1303506 h 1862847"/>
              <a:gd name="connsiteX63" fmla="*/ 1994170 w 6843409"/>
              <a:gd name="connsiteY63" fmla="*/ 1293779 h 1862847"/>
              <a:gd name="connsiteX64" fmla="*/ 2042809 w 6843409"/>
              <a:gd name="connsiteY64" fmla="*/ 1274323 h 1862847"/>
              <a:gd name="connsiteX65" fmla="*/ 2057400 w 6843409"/>
              <a:gd name="connsiteY65" fmla="*/ 1269460 h 1862847"/>
              <a:gd name="connsiteX66" fmla="*/ 2110902 w 6843409"/>
              <a:gd name="connsiteY66" fmla="*/ 1264596 h 1862847"/>
              <a:gd name="connsiteX67" fmla="*/ 2135221 w 6843409"/>
              <a:gd name="connsiteY67" fmla="*/ 1259732 h 1862847"/>
              <a:gd name="connsiteX68" fmla="*/ 2178996 w 6843409"/>
              <a:gd name="connsiteY68" fmla="*/ 1254868 h 1862847"/>
              <a:gd name="connsiteX69" fmla="*/ 2193587 w 6843409"/>
              <a:gd name="connsiteY69" fmla="*/ 1250004 h 1862847"/>
              <a:gd name="connsiteX70" fmla="*/ 2213043 w 6843409"/>
              <a:gd name="connsiteY70" fmla="*/ 1245140 h 1862847"/>
              <a:gd name="connsiteX71" fmla="*/ 2242226 w 6843409"/>
              <a:gd name="connsiteY71" fmla="*/ 1235413 h 1862847"/>
              <a:gd name="connsiteX72" fmla="*/ 2256817 w 6843409"/>
              <a:gd name="connsiteY72" fmla="*/ 1230549 h 1862847"/>
              <a:gd name="connsiteX73" fmla="*/ 2286000 w 6843409"/>
              <a:gd name="connsiteY73" fmla="*/ 1211094 h 1862847"/>
              <a:gd name="connsiteX74" fmla="*/ 2300591 w 6843409"/>
              <a:gd name="connsiteY74" fmla="*/ 1206230 h 1862847"/>
              <a:gd name="connsiteX75" fmla="*/ 2315183 w 6843409"/>
              <a:gd name="connsiteY75" fmla="*/ 1196502 h 1862847"/>
              <a:gd name="connsiteX76" fmla="*/ 2344366 w 6843409"/>
              <a:gd name="connsiteY76" fmla="*/ 1186774 h 1862847"/>
              <a:gd name="connsiteX77" fmla="*/ 2358957 w 6843409"/>
              <a:gd name="connsiteY77" fmla="*/ 1181911 h 1862847"/>
              <a:gd name="connsiteX78" fmla="*/ 2373549 w 6843409"/>
              <a:gd name="connsiteY78" fmla="*/ 1177047 h 1862847"/>
              <a:gd name="connsiteX79" fmla="*/ 2393004 w 6843409"/>
              <a:gd name="connsiteY79" fmla="*/ 1172183 h 1862847"/>
              <a:gd name="connsiteX80" fmla="*/ 2417323 w 6843409"/>
              <a:gd name="connsiteY80" fmla="*/ 1167319 h 1862847"/>
              <a:gd name="connsiteX81" fmla="*/ 2451370 w 6843409"/>
              <a:gd name="connsiteY81" fmla="*/ 1157592 h 1862847"/>
              <a:gd name="connsiteX82" fmla="*/ 2490281 w 6843409"/>
              <a:gd name="connsiteY82" fmla="*/ 1152728 h 1862847"/>
              <a:gd name="connsiteX83" fmla="*/ 2504872 w 6843409"/>
              <a:gd name="connsiteY83" fmla="*/ 1147864 h 1862847"/>
              <a:gd name="connsiteX84" fmla="*/ 2553511 w 6843409"/>
              <a:gd name="connsiteY84" fmla="*/ 1138136 h 1862847"/>
              <a:gd name="connsiteX85" fmla="*/ 2582694 w 6843409"/>
              <a:gd name="connsiteY85" fmla="*/ 1128409 h 1862847"/>
              <a:gd name="connsiteX86" fmla="*/ 2597285 w 6843409"/>
              <a:gd name="connsiteY86" fmla="*/ 1123545 h 1862847"/>
              <a:gd name="connsiteX87" fmla="*/ 2636196 w 6843409"/>
              <a:gd name="connsiteY87" fmla="*/ 1113817 h 1862847"/>
              <a:gd name="connsiteX88" fmla="*/ 2660515 w 6843409"/>
              <a:gd name="connsiteY88" fmla="*/ 1108953 h 1862847"/>
              <a:gd name="connsiteX89" fmla="*/ 2699426 w 6843409"/>
              <a:gd name="connsiteY89" fmla="*/ 1104089 h 1862847"/>
              <a:gd name="connsiteX90" fmla="*/ 2728609 w 6843409"/>
              <a:gd name="connsiteY90" fmla="*/ 1085845 h 1862847"/>
              <a:gd name="connsiteX91" fmla="*/ 2821021 w 6843409"/>
              <a:gd name="connsiteY91" fmla="*/ 1074906 h 1862847"/>
              <a:gd name="connsiteX92" fmla="*/ 2884251 w 6843409"/>
              <a:gd name="connsiteY92" fmla="*/ 1065179 h 1862847"/>
              <a:gd name="connsiteX93" fmla="*/ 2898843 w 6843409"/>
              <a:gd name="connsiteY93" fmla="*/ 1060315 h 1862847"/>
              <a:gd name="connsiteX94" fmla="*/ 2928026 w 6843409"/>
              <a:gd name="connsiteY94" fmla="*/ 1055451 h 1862847"/>
              <a:gd name="connsiteX95" fmla="*/ 2971800 w 6843409"/>
              <a:gd name="connsiteY95" fmla="*/ 1040860 h 1862847"/>
              <a:gd name="connsiteX96" fmla="*/ 2986391 w 6843409"/>
              <a:gd name="connsiteY96" fmla="*/ 1035996 h 1862847"/>
              <a:gd name="connsiteX97" fmla="*/ 3000983 w 6843409"/>
              <a:gd name="connsiteY97" fmla="*/ 1031132 h 1862847"/>
              <a:gd name="connsiteX98" fmla="*/ 3093396 w 6843409"/>
              <a:gd name="connsiteY98" fmla="*/ 1016540 h 1862847"/>
              <a:gd name="connsiteX99" fmla="*/ 3107987 w 6843409"/>
              <a:gd name="connsiteY99" fmla="*/ 1006813 h 1862847"/>
              <a:gd name="connsiteX100" fmla="*/ 3170542 w 6843409"/>
              <a:gd name="connsiteY100" fmla="*/ 1005682 h 1862847"/>
              <a:gd name="connsiteX101" fmla="*/ 3292813 w 6843409"/>
              <a:gd name="connsiteY101" fmla="*/ 982494 h 1862847"/>
              <a:gd name="connsiteX102" fmla="*/ 3360906 w 6843409"/>
              <a:gd name="connsiteY102" fmla="*/ 967902 h 1862847"/>
              <a:gd name="connsiteX103" fmla="*/ 3390089 w 6843409"/>
              <a:gd name="connsiteY103" fmla="*/ 963038 h 1862847"/>
              <a:gd name="connsiteX104" fmla="*/ 3404681 w 6843409"/>
              <a:gd name="connsiteY104" fmla="*/ 958174 h 1862847"/>
              <a:gd name="connsiteX105" fmla="*/ 3443591 w 6843409"/>
              <a:gd name="connsiteY105" fmla="*/ 948447 h 1862847"/>
              <a:gd name="connsiteX106" fmla="*/ 3458183 w 6843409"/>
              <a:gd name="connsiteY106" fmla="*/ 943583 h 1862847"/>
              <a:gd name="connsiteX107" fmla="*/ 3525940 w 6843409"/>
              <a:gd name="connsiteY107" fmla="*/ 946184 h 1862847"/>
              <a:gd name="connsiteX108" fmla="*/ 3562925 w 6843409"/>
              <a:gd name="connsiteY108" fmla="*/ 917795 h 1862847"/>
              <a:gd name="connsiteX109" fmla="*/ 3589506 w 6843409"/>
              <a:gd name="connsiteY109" fmla="*/ 919264 h 1862847"/>
              <a:gd name="connsiteX110" fmla="*/ 3638145 w 6843409"/>
              <a:gd name="connsiteY110" fmla="*/ 909536 h 1862847"/>
              <a:gd name="connsiteX111" fmla="*/ 3686783 w 6843409"/>
              <a:gd name="connsiteY111" fmla="*/ 894945 h 1862847"/>
              <a:gd name="connsiteX112" fmla="*/ 3701374 w 6843409"/>
              <a:gd name="connsiteY112" fmla="*/ 890081 h 1862847"/>
              <a:gd name="connsiteX113" fmla="*/ 3730557 w 6843409"/>
              <a:gd name="connsiteY113" fmla="*/ 885217 h 1862847"/>
              <a:gd name="connsiteX114" fmla="*/ 3813243 w 6843409"/>
              <a:gd name="connsiteY114" fmla="*/ 875489 h 1862847"/>
              <a:gd name="connsiteX115" fmla="*/ 3852153 w 6843409"/>
              <a:gd name="connsiteY115" fmla="*/ 870626 h 1862847"/>
              <a:gd name="connsiteX116" fmla="*/ 3895928 w 6843409"/>
              <a:gd name="connsiteY116" fmla="*/ 856034 h 1862847"/>
              <a:gd name="connsiteX117" fmla="*/ 3925111 w 6843409"/>
              <a:gd name="connsiteY117" fmla="*/ 846306 h 1862847"/>
              <a:gd name="connsiteX118" fmla="*/ 3959157 w 6843409"/>
              <a:gd name="connsiteY118" fmla="*/ 841443 h 1862847"/>
              <a:gd name="connsiteX119" fmla="*/ 3983477 w 6843409"/>
              <a:gd name="connsiteY119" fmla="*/ 836579 h 1862847"/>
              <a:gd name="connsiteX120" fmla="*/ 4027251 w 6843409"/>
              <a:gd name="connsiteY120" fmla="*/ 831715 h 1862847"/>
              <a:gd name="connsiteX121" fmla="*/ 4061298 w 6843409"/>
              <a:gd name="connsiteY121" fmla="*/ 826851 h 1862847"/>
              <a:gd name="connsiteX122" fmla="*/ 4095345 w 6843409"/>
              <a:gd name="connsiteY122" fmla="*/ 817123 h 1862847"/>
              <a:gd name="connsiteX123" fmla="*/ 4114462 w 6843409"/>
              <a:gd name="connsiteY123" fmla="*/ 812260 h 1862847"/>
              <a:gd name="connsiteX124" fmla="*/ 4147377 w 6843409"/>
              <a:gd name="connsiteY124" fmla="*/ 795067 h 1862847"/>
              <a:gd name="connsiteX125" fmla="*/ 4217278 w 6843409"/>
              <a:gd name="connsiteY125" fmla="*/ 778213 h 1862847"/>
              <a:gd name="connsiteX126" fmla="*/ 4275306 w 6843409"/>
              <a:gd name="connsiteY126" fmla="*/ 773349 h 1862847"/>
              <a:gd name="connsiteX127" fmla="*/ 4304489 w 6843409"/>
              <a:gd name="connsiteY127" fmla="*/ 763621 h 1862847"/>
              <a:gd name="connsiteX128" fmla="*/ 4319081 w 6843409"/>
              <a:gd name="connsiteY128" fmla="*/ 758757 h 1862847"/>
              <a:gd name="connsiteX129" fmla="*/ 4353128 w 6843409"/>
              <a:gd name="connsiteY129" fmla="*/ 753894 h 1862847"/>
              <a:gd name="connsiteX130" fmla="*/ 4377447 w 6843409"/>
              <a:gd name="connsiteY130" fmla="*/ 749030 h 1862847"/>
              <a:gd name="connsiteX131" fmla="*/ 4411494 w 6843409"/>
              <a:gd name="connsiteY131" fmla="*/ 744166 h 1862847"/>
              <a:gd name="connsiteX132" fmla="*/ 4426085 w 6843409"/>
              <a:gd name="connsiteY132" fmla="*/ 739302 h 1862847"/>
              <a:gd name="connsiteX133" fmla="*/ 4508770 w 6843409"/>
              <a:gd name="connsiteY133" fmla="*/ 729574 h 1862847"/>
              <a:gd name="connsiteX134" fmla="*/ 4537953 w 6843409"/>
              <a:gd name="connsiteY134" fmla="*/ 719847 h 1862847"/>
              <a:gd name="connsiteX135" fmla="*/ 4552545 w 6843409"/>
              <a:gd name="connsiteY135" fmla="*/ 705255 h 1862847"/>
              <a:gd name="connsiteX136" fmla="*/ 4567136 w 6843409"/>
              <a:gd name="connsiteY136" fmla="*/ 700392 h 1862847"/>
              <a:gd name="connsiteX137" fmla="*/ 4581728 w 6843409"/>
              <a:gd name="connsiteY137" fmla="*/ 690664 h 1862847"/>
              <a:gd name="connsiteX138" fmla="*/ 4596319 w 6843409"/>
              <a:gd name="connsiteY138" fmla="*/ 685800 h 1862847"/>
              <a:gd name="connsiteX139" fmla="*/ 4610911 w 6843409"/>
              <a:gd name="connsiteY139" fmla="*/ 676072 h 1862847"/>
              <a:gd name="connsiteX140" fmla="*/ 4630366 w 6843409"/>
              <a:gd name="connsiteY140" fmla="*/ 660012 h 1862847"/>
              <a:gd name="connsiteX141" fmla="*/ 4659549 w 6843409"/>
              <a:gd name="connsiteY141" fmla="*/ 661481 h 1862847"/>
              <a:gd name="connsiteX142" fmla="*/ 4674140 w 6843409"/>
              <a:gd name="connsiteY142" fmla="*/ 656617 h 1862847"/>
              <a:gd name="connsiteX143" fmla="*/ 4732506 w 6843409"/>
              <a:gd name="connsiteY143" fmla="*/ 646889 h 1862847"/>
              <a:gd name="connsiteX144" fmla="*/ 4781145 w 6843409"/>
              <a:gd name="connsiteY144" fmla="*/ 632298 h 1862847"/>
              <a:gd name="connsiteX145" fmla="*/ 4810328 w 6843409"/>
              <a:gd name="connsiteY145" fmla="*/ 627434 h 1862847"/>
              <a:gd name="connsiteX146" fmla="*/ 4824919 w 6843409"/>
              <a:gd name="connsiteY146" fmla="*/ 622570 h 1862847"/>
              <a:gd name="connsiteX147" fmla="*/ 4849238 w 6843409"/>
              <a:gd name="connsiteY147" fmla="*/ 617706 h 1862847"/>
              <a:gd name="connsiteX148" fmla="*/ 4883285 w 6843409"/>
              <a:gd name="connsiteY148" fmla="*/ 603115 h 1862847"/>
              <a:gd name="connsiteX149" fmla="*/ 5000017 w 6843409"/>
              <a:gd name="connsiteY149" fmla="*/ 593387 h 1862847"/>
              <a:gd name="connsiteX150" fmla="*/ 5014609 w 6843409"/>
              <a:gd name="connsiteY150" fmla="*/ 578796 h 1862847"/>
              <a:gd name="connsiteX151" fmla="*/ 5029200 w 6843409"/>
              <a:gd name="connsiteY151" fmla="*/ 573932 h 1862847"/>
              <a:gd name="connsiteX152" fmla="*/ 5102157 w 6843409"/>
              <a:gd name="connsiteY152" fmla="*/ 564204 h 1862847"/>
              <a:gd name="connsiteX153" fmla="*/ 5136204 w 6843409"/>
              <a:gd name="connsiteY153" fmla="*/ 549613 h 1862847"/>
              <a:gd name="connsiteX154" fmla="*/ 5170251 w 6843409"/>
              <a:gd name="connsiteY154" fmla="*/ 539885 h 1862847"/>
              <a:gd name="connsiteX155" fmla="*/ 5184843 w 6843409"/>
              <a:gd name="connsiteY155" fmla="*/ 535021 h 1862847"/>
              <a:gd name="connsiteX156" fmla="*/ 5214026 w 6843409"/>
              <a:gd name="connsiteY156" fmla="*/ 515566 h 1862847"/>
              <a:gd name="connsiteX157" fmla="*/ 5228617 w 6843409"/>
              <a:gd name="connsiteY157" fmla="*/ 510702 h 1862847"/>
              <a:gd name="connsiteX158" fmla="*/ 5257800 w 6843409"/>
              <a:gd name="connsiteY158" fmla="*/ 496111 h 1862847"/>
              <a:gd name="connsiteX159" fmla="*/ 5335621 w 6843409"/>
              <a:gd name="connsiteY159" fmla="*/ 491247 h 1862847"/>
              <a:gd name="connsiteX160" fmla="*/ 5398851 w 6843409"/>
              <a:gd name="connsiteY160" fmla="*/ 486383 h 1862847"/>
              <a:gd name="connsiteX161" fmla="*/ 5447489 w 6843409"/>
              <a:gd name="connsiteY161" fmla="*/ 476655 h 1862847"/>
              <a:gd name="connsiteX162" fmla="*/ 5481536 w 6843409"/>
              <a:gd name="connsiteY162" fmla="*/ 466928 h 1862847"/>
              <a:gd name="connsiteX163" fmla="*/ 5496128 w 6843409"/>
              <a:gd name="connsiteY163" fmla="*/ 462064 h 1862847"/>
              <a:gd name="connsiteX164" fmla="*/ 5535038 w 6843409"/>
              <a:gd name="connsiteY164" fmla="*/ 457200 h 1862847"/>
              <a:gd name="connsiteX165" fmla="*/ 5622587 w 6843409"/>
              <a:gd name="connsiteY165" fmla="*/ 447472 h 1862847"/>
              <a:gd name="connsiteX166" fmla="*/ 5651770 w 6843409"/>
              <a:gd name="connsiteY166" fmla="*/ 437745 h 1862847"/>
              <a:gd name="connsiteX167" fmla="*/ 5666362 w 6843409"/>
              <a:gd name="connsiteY167" fmla="*/ 432881 h 1862847"/>
              <a:gd name="connsiteX168" fmla="*/ 5700409 w 6843409"/>
              <a:gd name="connsiteY168" fmla="*/ 423153 h 1862847"/>
              <a:gd name="connsiteX169" fmla="*/ 5719864 w 6843409"/>
              <a:gd name="connsiteY169" fmla="*/ 408562 h 1862847"/>
              <a:gd name="connsiteX170" fmla="*/ 5749047 w 6843409"/>
              <a:gd name="connsiteY170" fmla="*/ 398834 h 1862847"/>
              <a:gd name="connsiteX171" fmla="*/ 5802549 w 6843409"/>
              <a:gd name="connsiteY171" fmla="*/ 389106 h 1862847"/>
              <a:gd name="connsiteX172" fmla="*/ 5890098 w 6843409"/>
              <a:gd name="connsiteY172" fmla="*/ 384243 h 1862847"/>
              <a:gd name="connsiteX173" fmla="*/ 5933872 w 6843409"/>
              <a:gd name="connsiteY173" fmla="*/ 374515 h 1862847"/>
              <a:gd name="connsiteX174" fmla="*/ 5963055 w 6843409"/>
              <a:gd name="connsiteY174" fmla="*/ 364787 h 1862847"/>
              <a:gd name="connsiteX175" fmla="*/ 5977647 w 6843409"/>
              <a:gd name="connsiteY175" fmla="*/ 359923 h 1862847"/>
              <a:gd name="connsiteX176" fmla="*/ 6006830 w 6843409"/>
              <a:gd name="connsiteY176" fmla="*/ 355060 h 1862847"/>
              <a:gd name="connsiteX177" fmla="*/ 6055468 w 6843409"/>
              <a:gd name="connsiteY177" fmla="*/ 345332 h 1862847"/>
              <a:gd name="connsiteX178" fmla="*/ 6254885 w 6843409"/>
              <a:gd name="connsiteY178" fmla="*/ 340468 h 1862847"/>
              <a:gd name="connsiteX179" fmla="*/ 6269477 w 6843409"/>
              <a:gd name="connsiteY179" fmla="*/ 335604 h 1862847"/>
              <a:gd name="connsiteX180" fmla="*/ 6303523 w 6843409"/>
              <a:gd name="connsiteY180" fmla="*/ 291830 h 1862847"/>
              <a:gd name="connsiteX181" fmla="*/ 6322979 w 6843409"/>
              <a:gd name="connsiteY181" fmla="*/ 282102 h 1862847"/>
              <a:gd name="connsiteX182" fmla="*/ 6391072 w 6843409"/>
              <a:gd name="connsiteY182" fmla="*/ 267511 h 1862847"/>
              <a:gd name="connsiteX183" fmla="*/ 6405664 w 6843409"/>
              <a:gd name="connsiteY183" fmla="*/ 262647 h 1862847"/>
              <a:gd name="connsiteX184" fmla="*/ 6434847 w 6843409"/>
              <a:gd name="connsiteY184" fmla="*/ 257783 h 1862847"/>
              <a:gd name="connsiteX185" fmla="*/ 6449438 w 6843409"/>
              <a:gd name="connsiteY185" fmla="*/ 248055 h 1862847"/>
              <a:gd name="connsiteX186" fmla="*/ 6473757 w 6843409"/>
              <a:gd name="connsiteY186" fmla="*/ 243192 h 1862847"/>
              <a:gd name="connsiteX187" fmla="*/ 6478621 w 6843409"/>
              <a:gd name="connsiteY187" fmla="*/ 228600 h 1862847"/>
              <a:gd name="connsiteX188" fmla="*/ 6561306 w 6843409"/>
              <a:gd name="connsiteY188" fmla="*/ 214009 h 1862847"/>
              <a:gd name="connsiteX189" fmla="*/ 6566170 w 6843409"/>
              <a:gd name="connsiteY189" fmla="*/ 199417 h 1862847"/>
              <a:gd name="connsiteX190" fmla="*/ 6580762 w 6843409"/>
              <a:gd name="connsiteY190" fmla="*/ 189689 h 1862847"/>
              <a:gd name="connsiteX191" fmla="*/ 6731540 w 6843409"/>
              <a:gd name="connsiteY191" fmla="*/ 184826 h 1862847"/>
              <a:gd name="connsiteX192" fmla="*/ 6750996 w 6843409"/>
              <a:gd name="connsiteY192" fmla="*/ 179962 h 1862847"/>
              <a:gd name="connsiteX193" fmla="*/ 6760723 w 6843409"/>
              <a:gd name="connsiteY193" fmla="*/ 150779 h 1862847"/>
              <a:gd name="connsiteX194" fmla="*/ 6765587 w 6843409"/>
              <a:gd name="connsiteY194" fmla="*/ 111868 h 1862847"/>
              <a:gd name="connsiteX195" fmla="*/ 6809362 w 6843409"/>
              <a:gd name="connsiteY195" fmla="*/ 97277 h 1862847"/>
              <a:gd name="connsiteX196" fmla="*/ 6814226 w 6843409"/>
              <a:gd name="connsiteY196" fmla="*/ 82685 h 1862847"/>
              <a:gd name="connsiteX197" fmla="*/ 6819089 w 6843409"/>
              <a:gd name="connsiteY197" fmla="*/ 19455 h 1862847"/>
              <a:gd name="connsiteX198" fmla="*/ 6828817 w 6843409"/>
              <a:gd name="connsiteY198" fmla="*/ 4864 h 1862847"/>
              <a:gd name="connsiteX199" fmla="*/ 6843409 w 6843409"/>
              <a:gd name="connsiteY199" fmla="*/ 0 h 1862847"/>
              <a:gd name="connsiteX0" fmla="*/ 0 w 6828817"/>
              <a:gd name="connsiteY0" fmla="*/ 1872574 h 1872574"/>
              <a:gd name="connsiteX1" fmla="*/ 38911 w 6828817"/>
              <a:gd name="connsiteY1" fmla="*/ 1857982 h 1872574"/>
              <a:gd name="connsiteX2" fmla="*/ 72957 w 6828817"/>
              <a:gd name="connsiteY2" fmla="*/ 1848255 h 1872574"/>
              <a:gd name="connsiteX3" fmla="*/ 102140 w 6828817"/>
              <a:gd name="connsiteY3" fmla="*/ 1828799 h 1872574"/>
              <a:gd name="connsiteX4" fmla="*/ 141051 w 6828817"/>
              <a:gd name="connsiteY4" fmla="*/ 1819072 h 1872574"/>
              <a:gd name="connsiteX5" fmla="*/ 160506 w 6828817"/>
              <a:gd name="connsiteY5" fmla="*/ 1814208 h 1872574"/>
              <a:gd name="connsiteX6" fmla="*/ 189689 w 6828817"/>
              <a:gd name="connsiteY6" fmla="*/ 1799616 h 1872574"/>
              <a:gd name="connsiteX7" fmla="*/ 209145 w 6828817"/>
              <a:gd name="connsiteY7" fmla="*/ 1789889 h 1872574"/>
              <a:gd name="connsiteX8" fmla="*/ 223736 w 6828817"/>
              <a:gd name="connsiteY8" fmla="*/ 1785025 h 1872574"/>
              <a:gd name="connsiteX9" fmla="*/ 245792 w 6828817"/>
              <a:gd name="connsiteY9" fmla="*/ 1775297 h 1872574"/>
              <a:gd name="connsiteX10" fmla="*/ 296694 w 6828817"/>
              <a:gd name="connsiteY10" fmla="*/ 1760706 h 1872574"/>
              <a:gd name="connsiteX11" fmla="*/ 330740 w 6828817"/>
              <a:gd name="connsiteY11" fmla="*/ 1755842 h 1872574"/>
              <a:gd name="connsiteX12" fmla="*/ 379379 w 6828817"/>
              <a:gd name="connsiteY12" fmla="*/ 1741250 h 1872574"/>
              <a:gd name="connsiteX13" fmla="*/ 408562 w 6828817"/>
              <a:gd name="connsiteY13" fmla="*/ 1736387 h 1872574"/>
              <a:gd name="connsiteX14" fmla="*/ 428017 w 6828817"/>
              <a:gd name="connsiteY14" fmla="*/ 1726659 h 1872574"/>
              <a:gd name="connsiteX15" fmla="*/ 457200 w 6828817"/>
              <a:gd name="connsiteY15" fmla="*/ 1716931 h 1872574"/>
              <a:gd name="connsiteX16" fmla="*/ 486383 w 6828817"/>
              <a:gd name="connsiteY16" fmla="*/ 1707204 h 1872574"/>
              <a:gd name="connsiteX17" fmla="*/ 530157 w 6828817"/>
              <a:gd name="connsiteY17" fmla="*/ 1692612 h 1872574"/>
              <a:gd name="connsiteX18" fmla="*/ 544749 w 6828817"/>
              <a:gd name="connsiteY18" fmla="*/ 1687748 h 1872574"/>
              <a:gd name="connsiteX19" fmla="*/ 559340 w 6828817"/>
              <a:gd name="connsiteY19" fmla="*/ 1682884 h 1872574"/>
              <a:gd name="connsiteX20" fmla="*/ 578796 w 6828817"/>
              <a:gd name="connsiteY20" fmla="*/ 1678021 h 1872574"/>
              <a:gd name="connsiteX21" fmla="*/ 607959 w 6828817"/>
              <a:gd name="connsiteY21" fmla="*/ 1675579 h 1872574"/>
              <a:gd name="connsiteX22" fmla="*/ 661481 w 6828817"/>
              <a:gd name="connsiteY22" fmla="*/ 1653701 h 1872574"/>
              <a:gd name="connsiteX23" fmla="*/ 685800 w 6828817"/>
              <a:gd name="connsiteY23" fmla="*/ 1648838 h 1872574"/>
              <a:gd name="connsiteX24" fmla="*/ 753894 w 6828817"/>
              <a:gd name="connsiteY24" fmla="*/ 1643974 h 1872574"/>
              <a:gd name="connsiteX25" fmla="*/ 851170 w 6828817"/>
              <a:gd name="connsiteY25" fmla="*/ 1629382 h 1872574"/>
              <a:gd name="connsiteX26" fmla="*/ 880353 w 6828817"/>
              <a:gd name="connsiteY26" fmla="*/ 1619655 h 1872574"/>
              <a:gd name="connsiteX27" fmla="*/ 894945 w 6828817"/>
              <a:gd name="connsiteY27" fmla="*/ 1614791 h 1872574"/>
              <a:gd name="connsiteX28" fmla="*/ 943583 w 6828817"/>
              <a:gd name="connsiteY28" fmla="*/ 1609927 h 1872574"/>
              <a:gd name="connsiteX29" fmla="*/ 972766 w 6828817"/>
              <a:gd name="connsiteY29" fmla="*/ 1600199 h 1872574"/>
              <a:gd name="connsiteX30" fmla="*/ 1011677 w 6828817"/>
              <a:gd name="connsiteY30" fmla="*/ 1566153 h 1872574"/>
              <a:gd name="connsiteX31" fmla="*/ 1045723 w 6828817"/>
              <a:gd name="connsiteY31" fmla="*/ 1556425 h 1872574"/>
              <a:gd name="connsiteX32" fmla="*/ 1079770 w 6828817"/>
              <a:gd name="connsiteY32" fmla="*/ 1551561 h 1872574"/>
              <a:gd name="connsiteX33" fmla="*/ 1123545 w 6828817"/>
              <a:gd name="connsiteY33" fmla="*/ 1536970 h 1872574"/>
              <a:gd name="connsiteX34" fmla="*/ 1157591 w 6828817"/>
              <a:gd name="connsiteY34" fmla="*/ 1527242 h 1872574"/>
              <a:gd name="connsiteX35" fmla="*/ 1282792 w 6828817"/>
              <a:gd name="connsiteY35" fmla="*/ 1505364 h 1872574"/>
              <a:gd name="connsiteX36" fmla="*/ 1254888 w 6828817"/>
              <a:gd name="connsiteY36" fmla="*/ 1507787 h 1872574"/>
              <a:gd name="connsiteX37" fmla="*/ 1318098 w 6828817"/>
              <a:gd name="connsiteY37" fmla="*/ 1493195 h 1872574"/>
              <a:gd name="connsiteX38" fmla="*/ 1347281 w 6828817"/>
              <a:gd name="connsiteY38" fmla="*/ 1488331 h 1872574"/>
              <a:gd name="connsiteX39" fmla="*/ 1371600 w 6828817"/>
              <a:gd name="connsiteY39" fmla="*/ 1483467 h 1872574"/>
              <a:gd name="connsiteX40" fmla="*/ 1391055 w 6828817"/>
              <a:gd name="connsiteY40" fmla="*/ 1478604 h 1872574"/>
              <a:gd name="connsiteX41" fmla="*/ 1420238 w 6828817"/>
              <a:gd name="connsiteY41" fmla="*/ 1473740 h 1872574"/>
              <a:gd name="connsiteX42" fmla="*/ 1449421 w 6828817"/>
              <a:gd name="connsiteY42" fmla="*/ 1464012 h 1872574"/>
              <a:gd name="connsiteX43" fmla="*/ 1464013 w 6828817"/>
              <a:gd name="connsiteY43" fmla="*/ 1459148 h 1872574"/>
              <a:gd name="connsiteX44" fmla="*/ 1478604 w 6828817"/>
              <a:gd name="connsiteY44" fmla="*/ 1454284 h 1872574"/>
              <a:gd name="connsiteX45" fmla="*/ 1502923 w 6828817"/>
              <a:gd name="connsiteY45" fmla="*/ 1449421 h 1872574"/>
              <a:gd name="connsiteX46" fmla="*/ 1532106 w 6828817"/>
              <a:gd name="connsiteY46" fmla="*/ 1439693 h 1872574"/>
              <a:gd name="connsiteX47" fmla="*/ 1566153 w 6828817"/>
              <a:gd name="connsiteY47" fmla="*/ 1434829 h 1872574"/>
              <a:gd name="connsiteX48" fmla="*/ 1580745 w 6828817"/>
              <a:gd name="connsiteY48" fmla="*/ 1429965 h 1872574"/>
              <a:gd name="connsiteX49" fmla="*/ 1600200 w 6828817"/>
              <a:gd name="connsiteY49" fmla="*/ 1420238 h 1872574"/>
              <a:gd name="connsiteX50" fmla="*/ 1639111 w 6828817"/>
              <a:gd name="connsiteY50" fmla="*/ 1415374 h 1872574"/>
              <a:gd name="connsiteX51" fmla="*/ 1663430 w 6828817"/>
              <a:gd name="connsiteY51" fmla="*/ 1410510 h 1872574"/>
              <a:gd name="connsiteX52" fmla="*/ 1678021 w 6828817"/>
              <a:gd name="connsiteY52" fmla="*/ 1405646 h 1872574"/>
              <a:gd name="connsiteX53" fmla="*/ 1692613 w 6828817"/>
              <a:gd name="connsiteY53" fmla="*/ 1395919 h 1872574"/>
              <a:gd name="connsiteX54" fmla="*/ 1707204 w 6828817"/>
              <a:gd name="connsiteY54" fmla="*/ 1391055 h 1872574"/>
              <a:gd name="connsiteX55" fmla="*/ 1721796 w 6828817"/>
              <a:gd name="connsiteY55" fmla="*/ 1381327 h 1872574"/>
              <a:gd name="connsiteX56" fmla="*/ 1746115 w 6828817"/>
              <a:gd name="connsiteY56" fmla="*/ 1376463 h 1872574"/>
              <a:gd name="connsiteX57" fmla="*/ 1760706 w 6828817"/>
              <a:gd name="connsiteY57" fmla="*/ 1366736 h 1872574"/>
              <a:gd name="connsiteX58" fmla="*/ 1833664 w 6828817"/>
              <a:gd name="connsiteY58" fmla="*/ 1352144 h 1872574"/>
              <a:gd name="connsiteX59" fmla="*/ 1853119 w 6828817"/>
              <a:gd name="connsiteY59" fmla="*/ 1347280 h 1872574"/>
              <a:gd name="connsiteX60" fmla="*/ 1882302 w 6828817"/>
              <a:gd name="connsiteY60" fmla="*/ 1342416 h 1872574"/>
              <a:gd name="connsiteX61" fmla="*/ 1911485 w 6828817"/>
              <a:gd name="connsiteY61" fmla="*/ 1322961 h 1872574"/>
              <a:gd name="connsiteX62" fmla="*/ 1964987 w 6828817"/>
              <a:gd name="connsiteY62" fmla="*/ 1313233 h 1872574"/>
              <a:gd name="connsiteX63" fmla="*/ 1994170 w 6828817"/>
              <a:gd name="connsiteY63" fmla="*/ 1303506 h 1872574"/>
              <a:gd name="connsiteX64" fmla="*/ 2042809 w 6828817"/>
              <a:gd name="connsiteY64" fmla="*/ 1284050 h 1872574"/>
              <a:gd name="connsiteX65" fmla="*/ 2057400 w 6828817"/>
              <a:gd name="connsiteY65" fmla="*/ 1279187 h 1872574"/>
              <a:gd name="connsiteX66" fmla="*/ 2110902 w 6828817"/>
              <a:gd name="connsiteY66" fmla="*/ 1274323 h 1872574"/>
              <a:gd name="connsiteX67" fmla="*/ 2135221 w 6828817"/>
              <a:gd name="connsiteY67" fmla="*/ 1269459 h 1872574"/>
              <a:gd name="connsiteX68" fmla="*/ 2178996 w 6828817"/>
              <a:gd name="connsiteY68" fmla="*/ 1264595 h 1872574"/>
              <a:gd name="connsiteX69" fmla="*/ 2193587 w 6828817"/>
              <a:gd name="connsiteY69" fmla="*/ 1259731 h 1872574"/>
              <a:gd name="connsiteX70" fmla="*/ 2213043 w 6828817"/>
              <a:gd name="connsiteY70" fmla="*/ 1254867 h 1872574"/>
              <a:gd name="connsiteX71" fmla="*/ 2242226 w 6828817"/>
              <a:gd name="connsiteY71" fmla="*/ 1245140 h 1872574"/>
              <a:gd name="connsiteX72" fmla="*/ 2256817 w 6828817"/>
              <a:gd name="connsiteY72" fmla="*/ 1240276 h 1872574"/>
              <a:gd name="connsiteX73" fmla="*/ 2286000 w 6828817"/>
              <a:gd name="connsiteY73" fmla="*/ 1220821 h 1872574"/>
              <a:gd name="connsiteX74" fmla="*/ 2300591 w 6828817"/>
              <a:gd name="connsiteY74" fmla="*/ 1215957 h 1872574"/>
              <a:gd name="connsiteX75" fmla="*/ 2315183 w 6828817"/>
              <a:gd name="connsiteY75" fmla="*/ 1206229 h 1872574"/>
              <a:gd name="connsiteX76" fmla="*/ 2344366 w 6828817"/>
              <a:gd name="connsiteY76" fmla="*/ 1196501 h 1872574"/>
              <a:gd name="connsiteX77" fmla="*/ 2358957 w 6828817"/>
              <a:gd name="connsiteY77" fmla="*/ 1191638 h 1872574"/>
              <a:gd name="connsiteX78" fmla="*/ 2373549 w 6828817"/>
              <a:gd name="connsiteY78" fmla="*/ 1186774 h 1872574"/>
              <a:gd name="connsiteX79" fmla="*/ 2393004 w 6828817"/>
              <a:gd name="connsiteY79" fmla="*/ 1181910 h 1872574"/>
              <a:gd name="connsiteX80" fmla="*/ 2417323 w 6828817"/>
              <a:gd name="connsiteY80" fmla="*/ 1177046 h 1872574"/>
              <a:gd name="connsiteX81" fmla="*/ 2451370 w 6828817"/>
              <a:gd name="connsiteY81" fmla="*/ 1167319 h 1872574"/>
              <a:gd name="connsiteX82" fmla="*/ 2490281 w 6828817"/>
              <a:gd name="connsiteY82" fmla="*/ 1162455 h 1872574"/>
              <a:gd name="connsiteX83" fmla="*/ 2504872 w 6828817"/>
              <a:gd name="connsiteY83" fmla="*/ 1157591 h 1872574"/>
              <a:gd name="connsiteX84" fmla="*/ 2553511 w 6828817"/>
              <a:gd name="connsiteY84" fmla="*/ 1147863 h 1872574"/>
              <a:gd name="connsiteX85" fmla="*/ 2582694 w 6828817"/>
              <a:gd name="connsiteY85" fmla="*/ 1138136 h 1872574"/>
              <a:gd name="connsiteX86" fmla="*/ 2597285 w 6828817"/>
              <a:gd name="connsiteY86" fmla="*/ 1133272 h 1872574"/>
              <a:gd name="connsiteX87" fmla="*/ 2636196 w 6828817"/>
              <a:gd name="connsiteY87" fmla="*/ 1123544 h 1872574"/>
              <a:gd name="connsiteX88" fmla="*/ 2660515 w 6828817"/>
              <a:gd name="connsiteY88" fmla="*/ 1118680 h 1872574"/>
              <a:gd name="connsiteX89" fmla="*/ 2699426 w 6828817"/>
              <a:gd name="connsiteY89" fmla="*/ 1113816 h 1872574"/>
              <a:gd name="connsiteX90" fmla="*/ 2728609 w 6828817"/>
              <a:gd name="connsiteY90" fmla="*/ 1095572 h 1872574"/>
              <a:gd name="connsiteX91" fmla="*/ 2821021 w 6828817"/>
              <a:gd name="connsiteY91" fmla="*/ 1084633 h 1872574"/>
              <a:gd name="connsiteX92" fmla="*/ 2884251 w 6828817"/>
              <a:gd name="connsiteY92" fmla="*/ 1074906 h 1872574"/>
              <a:gd name="connsiteX93" fmla="*/ 2898843 w 6828817"/>
              <a:gd name="connsiteY93" fmla="*/ 1070042 h 1872574"/>
              <a:gd name="connsiteX94" fmla="*/ 2928026 w 6828817"/>
              <a:gd name="connsiteY94" fmla="*/ 1065178 h 1872574"/>
              <a:gd name="connsiteX95" fmla="*/ 2971800 w 6828817"/>
              <a:gd name="connsiteY95" fmla="*/ 1050587 h 1872574"/>
              <a:gd name="connsiteX96" fmla="*/ 2986391 w 6828817"/>
              <a:gd name="connsiteY96" fmla="*/ 1045723 h 1872574"/>
              <a:gd name="connsiteX97" fmla="*/ 3000983 w 6828817"/>
              <a:gd name="connsiteY97" fmla="*/ 1040859 h 1872574"/>
              <a:gd name="connsiteX98" fmla="*/ 3093396 w 6828817"/>
              <a:gd name="connsiteY98" fmla="*/ 1026267 h 1872574"/>
              <a:gd name="connsiteX99" fmla="*/ 3107987 w 6828817"/>
              <a:gd name="connsiteY99" fmla="*/ 1016540 h 1872574"/>
              <a:gd name="connsiteX100" fmla="*/ 3170542 w 6828817"/>
              <a:gd name="connsiteY100" fmla="*/ 1015409 h 1872574"/>
              <a:gd name="connsiteX101" fmla="*/ 3292813 w 6828817"/>
              <a:gd name="connsiteY101" fmla="*/ 992221 h 1872574"/>
              <a:gd name="connsiteX102" fmla="*/ 3360906 w 6828817"/>
              <a:gd name="connsiteY102" fmla="*/ 977629 h 1872574"/>
              <a:gd name="connsiteX103" fmla="*/ 3390089 w 6828817"/>
              <a:gd name="connsiteY103" fmla="*/ 972765 h 1872574"/>
              <a:gd name="connsiteX104" fmla="*/ 3404681 w 6828817"/>
              <a:gd name="connsiteY104" fmla="*/ 967901 h 1872574"/>
              <a:gd name="connsiteX105" fmla="*/ 3443591 w 6828817"/>
              <a:gd name="connsiteY105" fmla="*/ 958174 h 1872574"/>
              <a:gd name="connsiteX106" fmla="*/ 3458183 w 6828817"/>
              <a:gd name="connsiteY106" fmla="*/ 953310 h 1872574"/>
              <a:gd name="connsiteX107" fmla="*/ 3525940 w 6828817"/>
              <a:gd name="connsiteY107" fmla="*/ 955911 h 1872574"/>
              <a:gd name="connsiteX108" fmla="*/ 3562925 w 6828817"/>
              <a:gd name="connsiteY108" fmla="*/ 927522 h 1872574"/>
              <a:gd name="connsiteX109" fmla="*/ 3589506 w 6828817"/>
              <a:gd name="connsiteY109" fmla="*/ 928991 h 1872574"/>
              <a:gd name="connsiteX110" fmla="*/ 3638145 w 6828817"/>
              <a:gd name="connsiteY110" fmla="*/ 919263 h 1872574"/>
              <a:gd name="connsiteX111" fmla="*/ 3686783 w 6828817"/>
              <a:gd name="connsiteY111" fmla="*/ 904672 h 1872574"/>
              <a:gd name="connsiteX112" fmla="*/ 3701374 w 6828817"/>
              <a:gd name="connsiteY112" fmla="*/ 899808 h 1872574"/>
              <a:gd name="connsiteX113" fmla="*/ 3730557 w 6828817"/>
              <a:gd name="connsiteY113" fmla="*/ 894944 h 1872574"/>
              <a:gd name="connsiteX114" fmla="*/ 3813243 w 6828817"/>
              <a:gd name="connsiteY114" fmla="*/ 885216 h 1872574"/>
              <a:gd name="connsiteX115" fmla="*/ 3852153 w 6828817"/>
              <a:gd name="connsiteY115" fmla="*/ 880353 h 1872574"/>
              <a:gd name="connsiteX116" fmla="*/ 3895928 w 6828817"/>
              <a:gd name="connsiteY116" fmla="*/ 865761 h 1872574"/>
              <a:gd name="connsiteX117" fmla="*/ 3925111 w 6828817"/>
              <a:gd name="connsiteY117" fmla="*/ 856033 h 1872574"/>
              <a:gd name="connsiteX118" fmla="*/ 3959157 w 6828817"/>
              <a:gd name="connsiteY118" fmla="*/ 851170 h 1872574"/>
              <a:gd name="connsiteX119" fmla="*/ 3983477 w 6828817"/>
              <a:gd name="connsiteY119" fmla="*/ 846306 h 1872574"/>
              <a:gd name="connsiteX120" fmla="*/ 4027251 w 6828817"/>
              <a:gd name="connsiteY120" fmla="*/ 841442 h 1872574"/>
              <a:gd name="connsiteX121" fmla="*/ 4061298 w 6828817"/>
              <a:gd name="connsiteY121" fmla="*/ 836578 h 1872574"/>
              <a:gd name="connsiteX122" fmla="*/ 4095345 w 6828817"/>
              <a:gd name="connsiteY122" fmla="*/ 826850 h 1872574"/>
              <a:gd name="connsiteX123" fmla="*/ 4114462 w 6828817"/>
              <a:gd name="connsiteY123" fmla="*/ 821987 h 1872574"/>
              <a:gd name="connsiteX124" fmla="*/ 4147377 w 6828817"/>
              <a:gd name="connsiteY124" fmla="*/ 804794 h 1872574"/>
              <a:gd name="connsiteX125" fmla="*/ 4217278 w 6828817"/>
              <a:gd name="connsiteY125" fmla="*/ 787940 h 1872574"/>
              <a:gd name="connsiteX126" fmla="*/ 4275306 w 6828817"/>
              <a:gd name="connsiteY126" fmla="*/ 783076 h 1872574"/>
              <a:gd name="connsiteX127" fmla="*/ 4304489 w 6828817"/>
              <a:gd name="connsiteY127" fmla="*/ 773348 h 1872574"/>
              <a:gd name="connsiteX128" fmla="*/ 4319081 w 6828817"/>
              <a:gd name="connsiteY128" fmla="*/ 768484 h 1872574"/>
              <a:gd name="connsiteX129" fmla="*/ 4353128 w 6828817"/>
              <a:gd name="connsiteY129" fmla="*/ 763621 h 1872574"/>
              <a:gd name="connsiteX130" fmla="*/ 4377447 w 6828817"/>
              <a:gd name="connsiteY130" fmla="*/ 758757 h 1872574"/>
              <a:gd name="connsiteX131" fmla="*/ 4411494 w 6828817"/>
              <a:gd name="connsiteY131" fmla="*/ 753893 h 1872574"/>
              <a:gd name="connsiteX132" fmla="*/ 4426085 w 6828817"/>
              <a:gd name="connsiteY132" fmla="*/ 749029 h 1872574"/>
              <a:gd name="connsiteX133" fmla="*/ 4508770 w 6828817"/>
              <a:gd name="connsiteY133" fmla="*/ 739301 h 1872574"/>
              <a:gd name="connsiteX134" fmla="*/ 4537953 w 6828817"/>
              <a:gd name="connsiteY134" fmla="*/ 729574 h 1872574"/>
              <a:gd name="connsiteX135" fmla="*/ 4552545 w 6828817"/>
              <a:gd name="connsiteY135" fmla="*/ 714982 h 1872574"/>
              <a:gd name="connsiteX136" fmla="*/ 4567136 w 6828817"/>
              <a:gd name="connsiteY136" fmla="*/ 710119 h 1872574"/>
              <a:gd name="connsiteX137" fmla="*/ 4581728 w 6828817"/>
              <a:gd name="connsiteY137" fmla="*/ 700391 h 1872574"/>
              <a:gd name="connsiteX138" fmla="*/ 4596319 w 6828817"/>
              <a:gd name="connsiteY138" fmla="*/ 695527 h 1872574"/>
              <a:gd name="connsiteX139" fmla="*/ 4610911 w 6828817"/>
              <a:gd name="connsiteY139" fmla="*/ 685799 h 1872574"/>
              <a:gd name="connsiteX140" fmla="*/ 4630366 w 6828817"/>
              <a:gd name="connsiteY140" fmla="*/ 669739 h 1872574"/>
              <a:gd name="connsiteX141" fmla="*/ 4659549 w 6828817"/>
              <a:gd name="connsiteY141" fmla="*/ 671208 h 1872574"/>
              <a:gd name="connsiteX142" fmla="*/ 4674140 w 6828817"/>
              <a:gd name="connsiteY142" fmla="*/ 666344 h 1872574"/>
              <a:gd name="connsiteX143" fmla="*/ 4732506 w 6828817"/>
              <a:gd name="connsiteY143" fmla="*/ 656616 h 1872574"/>
              <a:gd name="connsiteX144" fmla="*/ 4781145 w 6828817"/>
              <a:gd name="connsiteY144" fmla="*/ 642025 h 1872574"/>
              <a:gd name="connsiteX145" fmla="*/ 4810328 w 6828817"/>
              <a:gd name="connsiteY145" fmla="*/ 637161 h 1872574"/>
              <a:gd name="connsiteX146" fmla="*/ 4824919 w 6828817"/>
              <a:gd name="connsiteY146" fmla="*/ 632297 h 1872574"/>
              <a:gd name="connsiteX147" fmla="*/ 4849238 w 6828817"/>
              <a:gd name="connsiteY147" fmla="*/ 627433 h 1872574"/>
              <a:gd name="connsiteX148" fmla="*/ 4883285 w 6828817"/>
              <a:gd name="connsiteY148" fmla="*/ 612842 h 1872574"/>
              <a:gd name="connsiteX149" fmla="*/ 5000017 w 6828817"/>
              <a:gd name="connsiteY149" fmla="*/ 603114 h 1872574"/>
              <a:gd name="connsiteX150" fmla="*/ 5014609 w 6828817"/>
              <a:gd name="connsiteY150" fmla="*/ 588523 h 1872574"/>
              <a:gd name="connsiteX151" fmla="*/ 5029200 w 6828817"/>
              <a:gd name="connsiteY151" fmla="*/ 583659 h 1872574"/>
              <a:gd name="connsiteX152" fmla="*/ 5102157 w 6828817"/>
              <a:gd name="connsiteY152" fmla="*/ 573931 h 1872574"/>
              <a:gd name="connsiteX153" fmla="*/ 5136204 w 6828817"/>
              <a:gd name="connsiteY153" fmla="*/ 559340 h 1872574"/>
              <a:gd name="connsiteX154" fmla="*/ 5170251 w 6828817"/>
              <a:gd name="connsiteY154" fmla="*/ 549612 h 1872574"/>
              <a:gd name="connsiteX155" fmla="*/ 5184843 w 6828817"/>
              <a:gd name="connsiteY155" fmla="*/ 544748 h 1872574"/>
              <a:gd name="connsiteX156" fmla="*/ 5214026 w 6828817"/>
              <a:gd name="connsiteY156" fmla="*/ 525293 h 1872574"/>
              <a:gd name="connsiteX157" fmla="*/ 5228617 w 6828817"/>
              <a:gd name="connsiteY157" fmla="*/ 520429 h 1872574"/>
              <a:gd name="connsiteX158" fmla="*/ 5257800 w 6828817"/>
              <a:gd name="connsiteY158" fmla="*/ 505838 h 1872574"/>
              <a:gd name="connsiteX159" fmla="*/ 5335621 w 6828817"/>
              <a:gd name="connsiteY159" fmla="*/ 500974 h 1872574"/>
              <a:gd name="connsiteX160" fmla="*/ 5398851 w 6828817"/>
              <a:gd name="connsiteY160" fmla="*/ 496110 h 1872574"/>
              <a:gd name="connsiteX161" fmla="*/ 5447489 w 6828817"/>
              <a:gd name="connsiteY161" fmla="*/ 486382 h 1872574"/>
              <a:gd name="connsiteX162" fmla="*/ 5481536 w 6828817"/>
              <a:gd name="connsiteY162" fmla="*/ 476655 h 1872574"/>
              <a:gd name="connsiteX163" fmla="*/ 5496128 w 6828817"/>
              <a:gd name="connsiteY163" fmla="*/ 471791 h 1872574"/>
              <a:gd name="connsiteX164" fmla="*/ 5535038 w 6828817"/>
              <a:gd name="connsiteY164" fmla="*/ 466927 h 1872574"/>
              <a:gd name="connsiteX165" fmla="*/ 5622587 w 6828817"/>
              <a:gd name="connsiteY165" fmla="*/ 457199 h 1872574"/>
              <a:gd name="connsiteX166" fmla="*/ 5651770 w 6828817"/>
              <a:gd name="connsiteY166" fmla="*/ 447472 h 1872574"/>
              <a:gd name="connsiteX167" fmla="*/ 5666362 w 6828817"/>
              <a:gd name="connsiteY167" fmla="*/ 442608 h 1872574"/>
              <a:gd name="connsiteX168" fmla="*/ 5700409 w 6828817"/>
              <a:gd name="connsiteY168" fmla="*/ 432880 h 1872574"/>
              <a:gd name="connsiteX169" fmla="*/ 5719864 w 6828817"/>
              <a:gd name="connsiteY169" fmla="*/ 418289 h 1872574"/>
              <a:gd name="connsiteX170" fmla="*/ 5749047 w 6828817"/>
              <a:gd name="connsiteY170" fmla="*/ 408561 h 1872574"/>
              <a:gd name="connsiteX171" fmla="*/ 5802549 w 6828817"/>
              <a:gd name="connsiteY171" fmla="*/ 398833 h 1872574"/>
              <a:gd name="connsiteX172" fmla="*/ 5890098 w 6828817"/>
              <a:gd name="connsiteY172" fmla="*/ 393970 h 1872574"/>
              <a:gd name="connsiteX173" fmla="*/ 5933872 w 6828817"/>
              <a:gd name="connsiteY173" fmla="*/ 384242 h 1872574"/>
              <a:gd name="connsiteX174" fmla="*/ 5963055 w 6828817"/>
              <a:gd name="connsiteY174" fmla="*/ 374514 h 1872574"/>
              <a:gd name="connsiteX175" fmla="*/ 5977647 w 6828817"/>
              <a:gd name="connsiteY175" fmla="*/ 369650 h 1872574"/>
              <a:gd name="connsiteX176" fmla="*/ 6006830 w 6828817"/>
              <a:gd name="connsiteY176" fmla="*/ 364787 h 1872574"/>
              <a:gd name="connsiteX177" fmla="*/ 6055468 w 6828817"/>
              <a:gd name="connsiteY177" fmla="*/ 355059 h 1872574"/>
              <a:gd name="connsiteX178" fmla="*/ 6254885 w 6828817"/>
              <a:gd name="connsiteY178" fmla="*/ 350195 h 1872574"/>
              <a:gd name="connsiteX179" fmla="*/ 6269477 w 6828817"/>
              <a:gd name="connsiteY179" fmla="*/ 345331 h 1872574"/>
              <a:gd name="connsiteX180" fmla="*/ 6303523 w 6828817"/>
              <a:gd name="connsiteY180" fmla="*/ 301557 h 1872574"/>
              <a:gd name="connsiteX181" fmla="*/ 6322979 w 6828817"/>
              <a:gd name="connsiteY181" fmla="*/ 291829 h 1872574"/>
              <a:gd name="connsiteX182" fmla="*/ 6391072 w 6828817"/>
              <a:gd name="connsiteY182" fmla="*/ 277238 h 1872574"/>
              <a:gd name="connsiteX183" fmla="*/ 6405664 w 6828817"/>
              <a:gd name="connsiteY183" fmla="*/ 272374 h 1872574"/>
              <a:gd name="connsiteX184" fmla="*/ 6434847 w 6828817"/>
              <a:gd name="connsiteY184" fmla="*/ 267510 h 1872574"/>
              <a:gd name="connsiteX185" fmla="*/ 6449438 w 6828817"/>
              <a:gd name="connsiteY185" fmla="*/ 257782 h 1872574"/>
              <a:gd name="connsiteX186" fmla="*/ 6473757 w 6828817"/>
              <a:gd name="connsiteY186" fmla="*/ 252919 h 1872574"/>
              <a:gd name="connsiteX187" fmla="*/ 6478621 w 6828817"/>
              <a:gd name="connsiteY187" fmla="*/ 238327 h 1872574"/>
              <a:gd name="connsiteX188" fmla="*/ 6561306 w 6828817"/>
              <a:gd name="connsiteY188" fmla="*/ 223736 h 1872574"/>
              <a:gd name="connsiteX189" fmla="*/ 6566170 w 6828817"/>
              <a:gd name="connsiteY189" fmla="*/ 209144 h 1872574"/>
              <a:gd name="connsiteX190" fmla="*/ 6580762 w 6828817"/>
              <a:gd name="connsiteY190" fmla="*/ 199416 h 1872574"/>
              <a:gd name="connsiteX191" fmla="*/ 6731540 w 6828817"/>
              <a:gd name="connsiteY191" fmla="*/ 194553 h 1872574"/>
              <a:gd name="connsiteX192" fmla="*/ 6750996 w 6828817"/>
              <a:gd name="connsiteY192" fmla="*/ 189689 h 1872574"/>
              <a:gd name="connsiteX193" fmla="*/ 6760723 w 6828817"/>
              <a:gd name="connsiteY193" fmla="*/ 160506 h 1872574"/>
              <a:gd name="connsiteX194" fmla="*/ 6765587 w 6828817"/>
              <a:gd name="connsiteY194" fmla="*/ 121595 h 1872574"/>
              <a:gd name="connsiteX195" fmla="*/ 6809362 w 6828817"/>
              <a:gd name="connsiteY195" fmla="*/ 107004 h 1872574"/>
              <a:gd name="connsiteX196" fmla="*/ 6814226 w 6828817"/>
              <a:gd name="connsiteY196" fmla="*/ 92412 h 1872574"/>
              <a:gd name="connsiteX197" fmla="*/ 6819089 w 6828817"/>
              <a:gd name="connsiteY197" fmla="*/ 29182 h 1872574"/>
              <a:gd name="connsiteX198" fmla="*/ 6828817 w 6828817"/>
              <a:gd name="connsiteY198" fmla="*/ 14591 h 1872574"/>
              <a:gd name="connsiteX199" fmla="*/ 6819090 w 6828817"/>
              <a:gd name="connsiteY199" fmla="*/ 0 h 1872574"/>
              <a:gd name="connsiteX0" fmla="*/ 0 w 6828990"/>
              <a:gd name="connsiteY0" fmla="*/ 1867710 h 1867710"/>
              <a:gd name="connsiteX1" fmla="*/ 38911 w 6828990"/>
              <a:gd name="connsiteY1" fmla="*/ 1853118 h 1867710"/>
              <a:gd name="connsiteX2" fmla="*/ 72957 w 6828990"/>
              <a:gd name="connsiteY2" fmla="*/ 1843391 h 1867710"/>
              <a:gd name="connsiteX3" fmla="*/ 102140 w 6828990"/>
              <a:gd name="connsiteY3" fmla="*/ 1823935 h 1867710"/>
              <a:gd name="connsiteX4" fmla="*/ 141051 w 6828990"/>
              <a:gd name="connsiteY4" fmla="*/ 1814208 h 1867710"/>
              <a:gd name="connsiteX5" fmla="*/ 160506 w 6828990"/>
              <a:gd name="connsiteY5" fmla="*/ 1809344 h 1867710"/>
              <a:gd name="connsiteX6" fmla="*/ 189689 w 6828990"/>
              <a:gd name="connsiteY6" fmla="*/ 1794752 h 1867710"/>
              <a:gd name="connsiteX7" fmla="*/ 209145 w 6828990"/>
              <a:gd name="connsiteY7" fmla="*/ 1785025 h 1867710"/>
              <a:gd name="connsiteX8" fmla="*/ 223736 w 6828990"/>
              <a:gd name="connsiteY8" fmla="*/ 1780161 h 1867710"/>
              <a:gd name="connsiteX9" fmla="*/ 245792 w 6828990"/>
              <a:gd name="connsiteY9" fmla="*/ 1770433 h 1867710"/>
              <a:gd name="connsiteX10" fmla="*/ 296694 w 6828990"/>
              <a:gd name="connsiteY10" fmla="*/ 1755842 h 1867710"/>
              <a:gd name="connsiteX11" fmla="*/ 330740 w 6828990"/>
              <a:gd name="connsiteY11" fmla="*/ 1750978 h 1867710"/>
              <a:gd name="connsiteX12" fmla="*/ 379379 w 6828990"/>
              <a:gd name="connsiteY12" fmla="*/ 1736386 h 1867710"/>
              <a:gd name="connsiteX13" fmla="*/ 408562 w 6828990"/>
              <a:gd name="connsiteY13" fmla="*/ 1731523 h 1867710"/>
              <a:gd name="connsiteX14" fmla="*/ 428017 w 6828990"/>
              <a:gd name="connsiteY14" fmla="*/ 1721795 h 1867710"/>
              <a:gd name="connsiteX15" fmla="*/ 457200 w 6828990"/>
              <a:gd name="connsiteY15" fmla="*/ 1712067 h 1867710"/>
              <a:gd name="connsiteX16" fmla="*/ 486383 w 6828990"/>
              <a:gd name="connsiteY16" fmla="*/ 1702340 h 1867710"/>
              <a:gd name="connsiteX17" fmla="*/ 530157 w 6828990"/>
              <a:gd name="connsiteY17" fmla="*/ 1687748 h 1867710"/>
              <a:gd name="connsiteX18" fmla="*/ 544749 w 6828990"/>
              <a:gd name="connsiteY18" fmla="*/ 1682884 h 1867710"/>
              <a:gd name="connsiteX19" fmla="*/ 559340 w 6828990"/>
              <a:gd name="connsiteY19" fmla="*/ 1678020 h 1867710"/>
              <a:gd name="connsiteX20" fmla="*/ 578796 w 6828990"/>
              <a:gd name="connsiteY20" fmla="*/ 1673157 h 1867710"/>
              <a:gd name="connsiteX21" fmla="*/ 607959 w 6828990"/>
              <a:gd name="connsiteY21" fmla="*/ 1670715 h 1867710"/>
              <a:gd name="connsiteX22" fmla="*/ 661481 w 6828990"/>
              <a:gd name="connsiteY22" fmla="*/ 1648837 h 1867710"/>
              <a:gd name="connsiteX23" fmla="*/ 685800 w 6828990"/>
              <a:gd name="connsiteY23" fmla="*/ 1643974 h 1867710"/>
              <a:gd name="connsiteX24" fmla="*/ 753894 w 6828990"/>
              <a:gd name="connsiteY24" fmla="*/ 1639110 h 1867710"/>
              <a:gd name="connsiteX25" fmla="*/ 851170 w 6828990"/>
              <a:gd name="connsiteY25" fmla="*/ 1624518 h 1867710"/>
              <a:gd name="connsiteX26" fmla="*/ 880353 w 6828990"/>
              <a:gd name="connsiteY26" fmla="*/ 1614791 h 1867710"/>
              <a:gd name="connsiteX27" fmla="*/ 894945 w 6828990"/>
              <a:gd name="connsiteY27" fmla="*/ 1609927 h 1867710"/>
              <a:gd name="connsiteX28" fmla="*/ 943583 w 6828990"/>
              <a:gd name="connsiteY28" fmla="*/ 1605063 h 1867710"/>
              <a:gd name="connsiteX29" fmla="*/ 972766 w 6828990"/>
              <a:gd name="connsiteY29" fmla="*/ 1595335 h 1867710"/>
              <a:gd name="connsiteX30" fmla="*/ 1011677 w 6828990"/>
              <a:gd name="connsiteY30" fmla="*/ 1561289 h 1867710"/>
              <a:gd name="connsiteX31" fmla="*/ 1045723 w 6828990"/>
              <a:gd name="connsiteY31" fmla="*/ 1551561 h 1867710"/>
              <a:gd name="connsiteX32" fmla="*/ 1079770 w 6828990"/>
              <a:gd name="connsiteY32" fmla="*/ 1546697 h 1867710"/>
              <a:gd name="connsiteX33" fmla="*/ 1123545 w 6828990"/>
              <a:gd name="connsiteY33" fmla="*/ 1532106 h 1867710"/>
              <a:gd name="connsiteX34" fmla="*/ 1157591 w 6828990"/>
              <a:gd name="connsiteY34" fmla="*/ 1522378 h 1867710"/>
              <a:gd name="connsiteX35" fmla="*/ 1282792 w 6828990"/>
              <a:gd name="connsiteY35" fmla="*/ 1500500 h 1867710"/>
              <a:gd name="connsiteX36" fmla="*/ 1254888 w 6828990"/>
              <a:gd name="connsiteY36" fmla="*/ 1502923 h 1867710"/>
              <a:gd name="connsiteX37" fmla="*/ 1318098 w 6828990"/>
              <a:gd name="connsiteY37" fmla="*/ 1488331 h 1867710"/>
              <a:gd name="connsiteX38" fmla="*/ 1347281 w 6828990"/>
              <a:gd name="connsiteY38" fmla="*/ 1483467 h 1867710"/>
              <a:gd name="connsiteX39" fmla="*/ 1371600 w 6828990"/>
              <a:gd name="connsiteY39" fmla="*/ 1478603 h 1867710"/>
              <a:gd name="connsiteX40" fmla="*/ 1391055 w 6828990"/>
              <a:gd name="connsiteY40" fmla="*/ 1473740 h 1867710"/>
              <a:gd name="connsiteX41" fmla="*/ 1420238 w 6828990"/>
              <a:gd name="connsiteY41" fmla="*/ 1468876 h 1867710"/>
              <a:gd name="connsiteX42" fmla="*/ 1449421 w 6828990"/>
              <a:gd name="connsiteY42" fmla="*/ 1459148 h 1867710"/>
              <a:gd name="connsiteX43" fmla="*/ 1464013 w 6828990"/>
              <a:gd name="connsiteY43" fmla="*/ 1454284 h 1867710"/>
              <a:gd name="connsiteX44" fmla="*/ 1478604 w 6828990"/>
              <a:gd name="connsiteY44" fmla="*/ 1449420 h 1867710"/>
              <a:gd name="connsiteX45" fmla="*/ 1502923 w 6828990"/>
              <a:gd name="connsiteY45" fmla="*/ 1444557 h 1867710"/>
              <a:gd name="connsiteX46" fmla="*/ 1532106 w 6828990"/>
              <a:gd name="connsiteY46" fmla="*/ 1434829 h 1867710"/>
              <a:gd name="connsiteX47" fmla="*/ 1566153 w 6828990"/>
              <a:gd name="connsiteY47" fmla="*/ 1429965 h 1867710"/>
              <a:gd name="connsiteX48" fmla="*/ 1580745 w 6828990"/>
              <a:gd name="connsiteY48" fmla="*/ 1425101 h 1867710"/>
              <a:gd name="connsiteX49" fmla="*/ 1600200 w 6828990"/>
              <a:gd name="connsiteY49" fmla="*/ 1415374 h 1867710"/>
              <a:gd name="connsiteX50" fmla="*/ 1639111 w 6828990"/>
              <a:gd name="connsiteY50" fmla="*/ 1410510 h 1867710"/>
              <a:gd name="connsiteX51" fmla="*/ 1663430 w 6828990"/>
              <a:gd name="connsiteY51" fmla="*/ 1405646 h 1867710"/>
              <a:gd name="connsiteX52" fmla="*/ 1678021 w 6828990"/>
              <a:gd name="connsiteY52" fmla="*/ 1400782 h 1867710"/>
              <a:gd name="connsiteX53" fmla="*/ 1692613 w 6828990"/>
              <a:gd name="connsiteY53" fmla="*/ 1391055 h 1867710"/>
              <a:gd name="connsiteX54" fmla="*/ 1707204 w 6828990"/>
              <a:gd name="connsiteY54" fmla="*/ 1386191 h 1867710"/>
              <a:gd name="connsiteX55" fmla="*/ 1721796 w 6828990"/>
              <a:gd name="connsiteY55" fmla="*/ 1376463 h 1867710"/>
              <a:gd name="connsiteX56" fmla="*/ 1746115 w 6828990"/>
              <a:gd name="connsiteY56" fmla="*/ 1371599 h 1867710"/>
              <a:gd name="connsiteX57" fmla="*/ 1760706 w 6828990"/>
              <a:gd name="connsiteY57" fmla="*/ 1361872 h 1867710"/>
              <a:gd name="connsiteX58" fmla="*/ 1833664 w 6828990"/>
              <a:gd name="connsiteY58" fmla="*/ 1347280 h 1867710"/>
              <a:gd name="connsiteX59" fmla="*/ 1853119 w 6828990"/>
              <a:gd name="connsiteY59" fmla="*/ 1342416 h 1867710"/>
              <a:gd name="connsiteX60" fmla="*/ 1882302 w 6828990"/>
              <a:gd name="connsiteY60" fmla="*/ 1337552 h 1867710"/>
              <a:gd name="connsiteX61" fmla="*/ 1911485 w 6828990"/>
              <a:gd name="connsiteY61" fmla="*/ 1318097 h 1867710"/>
              <a:gd name="connsiteX62" fmla="*/ 1964987 w 6828990"/>
              <a:gd name="connsiteY62" fmla="*/ 1308369 h 1867710"/>
              <a:gd name="connsiteX63" fmla="*/ 1994170 w 6828990"/>
              <a:gd name="connsiteY63" fmla="*/ 1298642 h 1867710"/>
              <a:gd name="connsiteX64" fmla="*/ 2042809 w 6828990"/>
              <a:gd name="connsiteY64" fmla="*/ 1279186 h 1867710"/>
              <a:gd name="connsiteX65" fmla="*/ 2057400 w 6828990"/>
              <a:gd name="connsiteY65" fmla="*/ 1274323 h 1867710"/>
              <a:gd name="connsiteX66" fmla="*/ 2110902 w 6828990"/>
              <a:gd name="connsiteY66" fmla="*/ 1269459 h 1867710"/>
              <a:gd name="connsiteX67" fmla="*/ 2135221 w 6828990"/>
              <a:gd name="connsiteY67" fmla="*/ 1264595 h 1867710"/>
              <a:gd name="connsiteX68" fmla="*/ 2178996 w 6828990"/>
              <a:gd name="connsiteY68" fmla="*/ 1259731 h 1867710"/>
              <a:gd name="connsiteX69" fmla="*/ 2193587 w 6828990"/>
              <a:gd name="connsiteY69" fmla="*/ 1254867 h 1867710"/>
              <a:gd name="connsiteX70" fmla="*/ 2213043 w 6828990"/>
              <a:gd name="connsiteY70" fmla="*/ 1250003 h 1867710"/>
              <a:gd name="connsiteX71" fmla="*/ 2242226 w 6828990"/>
              <a:gd name="connsiteY71" fmla="*/ 1240276 h 1867710"/>
              <a:gd name="connsiteX72" fmla="*/ 2256817 w 6828990"/>
              <a:gd name="connsiteY72" fmla="*/ 1235412 h 1867710"/>
              <a:gd name="connsiteX73" fmla="*/ 2286000 w 6828990"/>
              <a:gd name="connsiteY73" fmla="*/ 1215957 h 1867710"/>
              <a:gd name="connsiteX74" fmla="*/ 2300591 w 6828990"/>
              <a:gd name="connsiteY74" fmla="*/ 1211093 h 1867710"/>
              <a:gd name="connsiteX75" fmla="*/ 2315183 w 6828990"/>
              <a:gd name="connsiteY75" fmla="*/ 1201365 h 1867710"/>
              <a:gd name="connsiteX76" fmla="*/ 2344366 w 6828990"/>
              <a:gd name="connsiteY76" fmla="*/ 1191637 h 1867710"/>
              <a:gd name="connsiteX77" fmla="*/ 2358957 w 6828990"/>
              <a:gd name="connsiteY77" fmla="*/ 1186774 h 1867710"/>
              <a:gd name="connsiteX78" fmla="*/ 2373549 w 6828990"/>
              <a:gd name="connsiteY78" fmla="*/ 1181910 h 1867710"/>
              <a:gd name="connsiteX79" fmla="*/ 2393004 w 6828990"/>
              <a:gd name="connsiteY79" fmla="*/ 1177046 h 1867710"/>
              <a:gd name="connsiteX80" fmla="*/ 2417323 w 6828990"/>
              <a:gd name="connsiteY80" fmla="*/ 1172182 h 1867710"/>
              <a:gd name="connsiteX81" fmla="*/ 2451370 w 6828990"/>
              <a:gd name="connsiteY81" fmla="*/ 1162455 h 1867710"/>
              <a:gd name="connsiteX82" fmla="*/ 2490281 w 6828990"/>
              <a:gd name="connsiteY82" fmla="*/ 1157591 h 1867710"/>
              <a:gd name="connsiteX83" fmla="*/ 2504872 w 6828990"/>
              <a:gd name="connsiteY83" fmla="*/ 1152727 h 1867710"/>
              <a:gd name="connsiteX84" fmla="*/ 2553511 w 6828990"/>
              <a:gd name="connsiteY84" fmla="*/ 1142999 h 1867710"/>
              <a:gd name="connsiteX85" fmla="*/ 2582694 w 6828990"/>
              <a:gd name="connsiteY85" fmla="*/ 1133272 h 1867710"/>
              <a:gd name="connsiteX86" fmla="*/ 2597285 w 6828990"/>
              <a:gd name="connsiteY86" fmla="*/ 1128408 h 1867710"/>
              <a:gd name="connsiteX87" fmla="*/ 2636196 w 6828990"/>
              <a:gd name="connsiteY87" fmla="*/ 1118680 h 1867710"/>
              <a:gd name="connsiteX88" fmla="*/ 2660515 w 6828990"/>
              <a:gd name="connsiteY88" fmla="*/ 1113816 h 1867710"/>
              <a:gd name="connsiteX89" fmla="*/ 2699426 w 6828990"/>
              <a:gd name="connsiteY89" fmla="*/ 1108952 h 1867710"/>
              <a:gd name="connsiteX90" fmla="*/ 2728609 w 6828990"/>
              <a:gd name="connsiteY90" fmla="*/ 1090708 h 1867710"/>
              <a:gd name="connsiteX91" fmla="*/ 2821021 w 6828990"/>
              <a:gd name="connsiteY91" fmla="*/ 1079769 h 1867710"/>
              <a:gd name="connsiteX92" fmla="*/ 2884251 w 6828990"/>
              <a:gd name="connsiteY92" fmla="*/ 1070042 h 1867710"/>
              <a:gd name="connsiteX93" fmla="*/ 2898843 w 6828990"/>
              <a:gd name="connsiteY93" fmla="*/ 1065178 h 1867710"/>
              <a:gd name="connsiteX94" fmla="*/ 2928026 w 6828990"/>
              <a:gd name="connsiteY94" fmla="*/ 1060314 h 1867710"/>
              <a:gd name="connsiteX95" fmla="*/ 2971800 w 6828990"/>
              <a:gd name="connsiteY95" fmla="*/ 1045723 h 1867710"/>
              <a:gd name="connsiteX96" fmla="*/ 2986391 w 6828990"/>
              <a:gd name="connsiteY96" fmla="*/ 1040859 h 1867710"/>
              <a:gd name="connsiteX97" fmla="*/ 3000983 w 6828990"/>
              <a:gd name="connsiteY97" fmla="*/ 1035995 h 1867710"/>
              <a:gd name="connsiteX98" fmla="*/ 3093396 w 6828990"/>
              <a:gd name="connsiteY98" fmla="*/ 1021403 h 1867710"/>
              <a:gd name="connsiteX99" fmla="*/ 3107987 w 6828990"/>
              <a:gd name="connsiteY99" fmla="*/ 1011676 h 1867710"/>
              <a:gd name="connsiteX100" fmla="*/ 3170542 w 6828990"/>
              <a:gd name="connsiteY100" fmla="*/ 1010545 h 1867710"/>
              <a:gd name="connsiteX101" fmla="*/ 3292813 w 6828990"/>
              <a:gd name="connsiteY101" fmla="*/ 987357 h 1867710"/>
              <a:gd name="connsiteX102" fmla="*/ 3360906 w 6828990"/>
              <a:gd name="connsiteY102" fmla="*/ 972765 h 1867710"/>
              <a:gd name="connsiteX103" fmla="*/ 3390089 w 6828990"/>
              <a:gd name="connsiteY103" fmla="*/ 967901 h 1867710"/>
              <a:gd name="connsiteX104" fmla="*/ 3404681 w 6828990"/>
              <a:gd name="connsiteY104" fmla="*/ 963037 h 1867710"/>
              <a:gd name="connsiteX105" fmla="*/ 3443591 w 6828990"/>
              <a:gd name="connsiteY105" fmla="*/ 953310 h 1867710"/>
              <a:gd name="connsiteX106" fmla="*/ 3458183 w 6828990"/>
              <a:gd name="connsiteY106" fmla="*/ 948446 h 1867710"/>
              <a:gd name="connsiteX107" fmla="*/ 3525940 w 6828990"/>
              <a:gd name="connsiteY107" fmla="*/ 951047 h 1867710"/>
              <a:gd name="connsiteX108" fmla="*/ 3562925 w 6828990"/>
              <a:gd name="connsiteY108" fmla="*/ 922658 h 1867710"/>
              <a:gd name="connsiteX109" fmla="*/ 3589506 w 6828990"/>
              <a:gd name="connsiteY109" fmla="*/ 924127 h 1867710"/>
              <a:gd name="connsiteX110" fmla="*/ 3638145 w 6828990"/>
              <a:gd name="connsiteY110" fmla="*/ 914399 h 1867710"/>
              <a:gd name="connsiteX111" fmla="*/ 3686783 w 6828990"/>
              <a:gd name="connsiteY111" fmla="*/ 899808 h 1867710"/>
              <a:gd name="connsiteX112" fmla="*/ 3701374 w 6828990"/>
              <a:gd name="connsiteY112" fmla="*/ 894944 h 1867710"/>
              <a:gd name="connsiteX113" fmla="*/ 3730557 w 6828990"/>
              <a:gd name="connsiteY113" fmla="*/ 890080 h 1867710"/>
              <a:gd name="connsiteX114" fmla="*/ 3813243 w 6828990"/>
              <a:gd name="connsiteY114" fmla="*/ 880352 h 1867710"/>
              <a:gd name="connsiteX115" fmla="*/ 3852153 w 6828990"/>
              <a:gd name="connsiteY115" fmla="*/ 875489 h 1867710"/>
              <a:gd name="connsiteX116" fmla="*/ 3895928 w 6828990"/>
              <a:gd name="connsiteY116" fmla="*/ 860897 h 1867710"/>
              <a:gd name="connsiteX117" fmla="*/ 3925111 w 6828990"/>
              <a:gd name="connsiteY117" fmla="*/ 851169 h 1867710"/>
              <a:gd name="connsiteX118" fmla="*/ 3959157 w 6828990"/>
              <a:gd name="connsiteY118" fmla="*/ 846306 h 1867710"/>
              <a:gd name="connsiteX119" fmla="*/ 3983477 w 6828990"/>
              <a:gd name="connsiteY119" fmla="*/ 841442 h 1867710"/>
              <a:gd name="connsiteX120" fmla="*/ 4027251 w 6828990"/>
              <a:gd name="connsiteY120" fmla="*/ 836578 h 1867710"/>
              <a:gd name="connsiteX121" fmla="*/ 4061298 w 6828990"/>
              <a:gd name="connsiteY121" fmla="*/ 831714 h 1867710"/>
              <a:gd name="connsiteX122" fmla="*/ 4095345 w 6828990"/>
              <a:gd name="connsiteY122" fmla="*/ 821986 h 1867710"/>
              <a:gd name="connsiteX123" fmla="*/ 4114462 w 6828990"/>
              <a:gd name="connsiteY123" fmla="*/ 817123 h 1867710"/>
              <a:gd name="connsiteX124" fmla="*/ 4147377 w 6828990"/>
              <a:gd name="connsiteY124" fmla="*/ 799930 h 1867710"/>
              <a:gd name="connsiteX125" fmla="*/ 4217278 w 6828990"/>
              <a:gd name="connsiteY125" fmla="*/ 783076 h 1867710"/>
              <a:gd name="connsiteX126" fmla="*/ 4275306 w 6828990"/>
              <a:gd name="connsiteY126" fmla="*/ 778212 h 1867710"/>
              <a:gd name="connsiteX127" fmla="*/ 4304489 w 6828990"/>
              <a:gd name="connsiteY127" fmla="*/ 768484 h 1867710"/>
              <a:gd name="connsiteX128" fmla="*/ 4319081 w 6828990"/>
              <a:gd name="connsiteY128" fmla="*/ 763620 h 1867710"/>
              <a:gd name="connsiteX129" fmla="*/ 4353128 w 6828990"/>
              <a:gd name="connsiteY129" fmla="*/ 758757 h 1867710"/>
              <a:gd name="connsiteX130" fmla="*/ 4377447 w 6828990"/>
              <a:gd name="connsiteY130" fmla="*/ 753893 h 1867710"/>
              <a:gd name="connsiteX131" fmla="*/ 4411494 w 6828990"/>
              <a:gd name="connsiteY131" fmla="*/ 749029 h 1867710"/>
              <a:gd name="connsiteX132" fmla="*/ 4426085 w 6828990"/>
              <a:gd name="connsiteY132" fmla="*/ 744165 h 1867710"/>
              <a:gd name="connsiteX133" fmla="*/ 4508770 w 6828990"/>
              <a:gd name="connsiteY133" fmla="*/ 734437 h 1867710"/>
              <a:gd name="connsiteX134" fmla="*/ 4537953 w 6828990"/>
              <a:gd name="connsiteY134" fmla="*/ 724710 h 1867710"/>
              <a:gd name="connsiteX135" fmla="*/ 4552545 w 6828990"/>
              <a:gd name="connsiteY135" fmla="*/ 710118 h 1867710"/>
              <a:gd name="connsiteX136" fmla="*/ 4567136 w 6828990"/>
              <a:gd name="connsiteY136" fmla="*/ 705255 h 1867710"/>
              <a:gd name="connsiteX137" fmla="*/ 4581728 w 6828990"/>
              <a:gd name="connsiteY137" fmla="*/ 695527 h 1867710"/>
              <a:gd name="connsiteX138" fmla="*/ 4596319 w 6828990"/>
              <a:gd name="connsiteY138" fmla="*/ 690663 h 1867710"/>
              <a:gd name="connsiteX139" fmla="*/ 4610911 w 6828990"/>
              <a:gd name="connsiteY139" fmla="*/ 680935 h 1867710"/>
              <a:gd name="connsiteX140" fmla="*/ 4630366 w 6828990"/>
              <a:gd name="connsiteY140" fmla="*/ 664875 h 1867710"/>
              <a:gd name="connsiteX141" fmla="*/ 4659549 w 6828990"/>
              <a:gd name="connsiteY141" fmla="*/ 666344 h 1867710"/>
              <a:gd name="connsiteX142" fmla="*/ 4674140 w 6828990"/>
              <a:gd name="connsiteY142" fmla="*/ 661480 h 1867710"/>
              <a:gd name="connsiteX143" fmla="*/ 4732506 w 6828990"/>
              <a:gd name="connsiteY143" fmla="*/ 651752 h 1867710"/>
              <a:gd name="connsiteX144" fmla="*/ 4781145 w 6828990"/>
              <a:gd name="connsiteY144" fmla="*/ 637161 h 1867710"/>
              <a:gd name="connsiteX145" fmla="*/ 4810328 w 6828990"/>
              <a:gd name="connsiteY145" fmla="*/ 632297 h 1867710"/>
              <a:gd name="connsiteX146" fmla="*/ 4824919 w 6828990"/>
              <a:gd name="connsiteY146" fmla="*/ 627433 h 1867710"/>
              <a:gd name="connsiteX147" fmla="*/ 4849238 w 6828990"/>
              <a:gd name="connsiteY147" fmla="*/ 622569 h 1867710"/>
              <a:gd name="connsiteX148" fmla="*/ 4883285 w 6828990"/>
              <a:gd name="connsiteY148" fmla="*/ 607978 h 1867710"/>
              <a:gd name="connsiteX149" fmla="*/ 5000017 w 6828990"/>
              <a:gd name="connsiteY149" fmla="*/ 598250 h 1867710"/>
              <a:gd name="connsiteX150" fmla="*/ 5014609 w 6828990"/>
              <a:gd name="connsiteY150" fmla="*/ 583659 h 1867710"/>
              <a:gd name="connsiteX151" fmla="*/ 5029200 w 6828990"/>
              <a:gd name="connsiteY151" fmla="*/ 578795 h 1867710"/>
              <a:gd name="connsiteX152" fmla="*/ 5102157 w 6828990"/>
              <a:gd name="connsiteY152" fmla="*/ 569067 h 1867710"/>
              <a:gd name="connsiteX153" fmla="*/ 5136204 w 6828990"/>
              <a:gd name="connsiteY153" fmla="*/ 554476 h 1867710"/>
              <a:gd name="connsiteX154" fmla="*/ 5170251 w 6828990"/>
              <a:gd name="connsiteY154" fmla="*/ 544748 h 1867710"/>
              <a:gd name="connsiteX155" fmla="*/ 5184843 w 6828990"/>
              <a:gd name="connsiteY155" fmla="*/ 539884 h 1867710"/>
              <a:gd name="connsiteX156" fmla="*/ 5214026 w 6828990"/>
              <a:gd name="connsiteY156" fmla="*/ 520429 h 1867710"/>
              <a:gd name="connsiteX157" fmla="*/ 5228617 w 6828990"/>
              <a:gd name="connsiteY157" fmla="*/ 515565 h 1867710"/>
              <a:gd name="connsiteX158" fmla="*/ 5257800 w 6828990"/>
              <a:gd name="connsiteY158" fmla="*/ 500974 h 1867710"/>
              <a:gd name="connsiteX159" fmla="*/ 5335621 w 6828990"/>
              <a:gd name="connsiteY159" fmla="*/ 496110 h 1867710"/>
              <a:gd name="connsiteX160" fmla="*/ 5398851 w 6828990"/>
              <a:gd name="connsiteY160" fmla="*/ 491246 h 1867710"/>
              <a:gd name="connsiteX161" fmla="*/ 5447489 w 6828990"/>
              <a:gd name="connsiteY161" fmla="*/ 481518 h 1867710"/>
              <a:gd name="connsiteX162" fmla="*/ 5481536 w 6828990"/>
              <a:gd name="connsiteY162" fmla="*/ 471791 h 1867710"/>
              <a:gd name="connsiteX163" fmla="*/ 5496128 w 6828990"/>
              <a:gd name="connsiteY163" fmla="*/ 466927 h 1867710"/>
              <a:gd name="connsiteX164" fmla="*/ 5535038 w 6828990"/>
              <a:gd name="connsiteY164" fmla="*/ 462063 h 1867710"/>
              <a:gd name="connsiteX165" fmla="*/ 5622587 w 6828990"/>
              <a:gd name="connsiteY165" fmla="*/ 452335 h 1867710"/>
              <a:gd name="connsiteX166" fmla="*/ 5651770 w 6828990"/>
              <a:gd name="connsiteY166" fmla="*/ 442608 h 1867710"/>
              <a:gd name="connsiteX167" fmla="*/ 5666362 w 6828990"/>
              <a:gd name="connsiteY167" fmla="*/ 437744 h 1867710"/>
              <a:gd name="connsiteX168" fmla="*/ 5700409 w 6828990"/>
              <a:gd name="connsiteY168" fmla="*/ 428016 h 1867710"/>
              <a:gd name="connsiteX169" fmla="*/ 5719864 w 6828990"/>
              <a:gd name="connsiteY169" fmla="*/ 413425 h 1867710"/>
              <a:gd name="connsiteX170" fmla="*/ 5749047 w 6828990"/>
              <a:gd name="connsiteY170" fmla="*/ 403697 h 1867710"/>
              <a:gd name="connsiteX171" fmla="*/ 5802549 w 6828990"/>
              <a:gd name="connsiteY171" fmla="*/ 393969 h 1867710"/>
              <a:gd name="connsiteX172" fmla="*/ 5890098 w 6828990"/>
              <a:gd name="connsiteY172" fmla="*/ 389106 h 1867710"/>
              <a:gd name="connsiteX173" fmla="*/ 5933872 w 6828990"/>
              <a:gd name="connsiteY173" fmla="*/ 379378 h 1867710"/>
              <a:gd name="connsiteX174" fmla="*/ 5963055 w 6828990"/>
              <a:gd name="connsiteY174" fmla="*/ 369650 h 1867710"/>
              <a:gd name="connsiteX175" fmla="*/ 5977647 w 6828990"/>
              <a:gd name="connsiteY175" fmla="*/ 364786 h 1867710"/>
              <a:gd name="connsiteX176" fmla="*/ 6006830 w 6828990"/>
              <a:gd name="connsiteY176" fmla="*/ 359923 h 1867710"/>
              <a:gd name="connsiteX177" fmla="*/ 6055468 w 6828990"/>
              <a:gd name="connsiteY177" fmla="*/ 350195 h 1867710"/>
              <a:gd name="connsiteX178" fmla="*/ 6254885 w 6828990"/>
              <a:gd name="connsiteY178" fmla="*/ 345331 h 1867710"/>
              <a:gd name="connsiteX179" fmla="*/ 6269477 w 6828990"/>
              <a:gd name="connsiteY179" fmla="*/ 340467 h 1867710"/>
              <a:gd name="connsiteX180" fmla="*/ 6303523 w 6828990"/>
              <a:gd name="connsiteY180" fmla="*/ 296693 h 1867710"/>
              <a:gd name="connsiteX181" fmla="*/ 6322979 w 6828990"/>
              <a:gd name="connsiteY181" fmla="*/ 286965 h 1867710"/>
              <a:gd name="connsiteX182" fmla="*/ 6391072 w 6828990"/>
              <a:gd name="connsiteY182" fmla="*/ 272374 h 1867710"/>
              <a:gd name="connsiteX183" fmla="*/ 6405664 w 6828990"/>
              <a:gd name="connsiteY183" fmla="*/ 267510 h 1867710"/>
              <a:gd name="connsiteX184" fmla="*/ 6434847 w 6828990"/>
              <a:gd name="connsiteY184" fmla="*/ 262646 h 1867710"/>
              <a:gd name="connsiteX185" fmla="*/ 6449438 w 6828990"/>
              <a:gd name="connsiteY185" fmla="*/ 252918 h 1867710"/>
              <a:gd name="connsiteX186" fmla="*/ 6473757 w 6828990"/>
              <a:gd name="connsiteY186" fmla="*/ 248055 h 1867710"/>
              <a:gd name="connsiteX187" fmla="*/ 6478621 w 6828990"/>
              <a:gd name="connsiteY187" fmla="*/ 233463 h 1867710"/>
              <a:gd name="connsiteX188" fmla="*/ 6561306 w 6828990"/>
              <a:gd name="connsiteY188" fmla="*/ 218872 h 1867710"/>
              <a:gd name="connsiteX189" fmla="*/ 6566170 w 6828990"/>
              <a:gd name="connsiteY189" fmla="*/ 204280 h 1867710"/>
              <a:gd name="connsiteX190" fmla="*/ 6580762 w 6828990"/>
              <a:gd name="connsiteY190" fmla="*/ 194552 h 1867710"/>
              <a:gd name="connsiteX191" fmla="*/ 6731540 w 6828990"/>
              <a:gd name="connsiteY191" fmla="*/ 189689 h 1867710"/>
              <a:gd name="connsiteX192" fmla="*/ 6750996 w 6828990"/>
              <a:gd name="connsiteY192" fmla="*/ 184825 h 1867710"/>
              <a:gd name="connsiteX193" fmla="*/ 6760723 w 6828990"/>
              <a:gd name="connsiteY193" fmla="*/ 155642 h 1867710"/>
              <a:gd name="connsiteX194" fmla="*/ 6765587 w 6828990"/>
              <a:gd name="connsiteY194" fmla="*/ 116731 h 1867710"/>
              <a:gd name="connsiteX195" fmla="*/ 6809362 w 6828990"/>
              <a:gd name="connsiteY195" fmla="*/ 102140 h 1867710"/>
              <a:gd name="connsiteX196" fmla="*/ 6814226 w 6828990"/>
              <a:gd name="connsiteY196" fmla="*/ 87548 h 1867710"/>
              <a:gd name="connsiteX197" fmla="*/ 6819089 w 6828990"/>
              <a:gd name="connsiteY197" fmla="*/ 24318 h 1867710"/>
              <a:gd name="connsiteX198" fmla="*/ 6828817 w 6828990"/>
              <a:gd name="connsiteY198" fmla="*/ 9727 h 1867710"/>
              <a:gd name="connsiteX199" fmla="*/ 6809362 w 6828990"/>
              <a:gd name="connsiteY199" fmla="*/ 0 h 1867710"/>
              <a:gd name="connsiteX0" fmla="*/ 0 w 6830141"/>
              <a:gd name="connsiteY0" fmla="*/ 1858028 h 1858028"/>
              <a:gd name="connsiteX1" fmla="*/ 38911 w 6830141"/>
              <a:gd name="connsiteY1" fmla="*/ 1843436 h 1858028"/>
              <a:gd name="connsiteX2" fmla="*/ 72957 w 6830141"/>
              <a:gd name="connsiteY2" fmla="*/ 1833709 h 1858028"/>
              <a:gd name="connsiteX3" fmla="*/ 102140 w 6830141"/>
              <a:gd name="connsiteY3" fmla="*/ 1814253 h 1858028"/>
              <a:gd name="connsiteX4" fmla="*/ 141051 w 6830141"/>
              <a:gd name="connsiteY4" fmla="*/ 1804526 h 1858028"/>
              <a:gd name="connsiteX5" fmla="*/ 160506 w 6830141"/>
              <a:gd name="connsiteY5" fmla="*/ 1799662 h 1858028"/>
              <a:gd name="connsiteX6" fmla="*/ 189689 w 6830141"/>
              <a:gd name="connsiteY6" fmla="*/ 1785070 h 1858028"/>
              <a:gd name="connsiteX7" fmla="*/ 209145 w 6830141"/>
              <a:gd name="connsiteY7" fmla="*/ 1775343 h 1858028"/>
              <a:gd name="connsiteX8" fmla="*/ 223736 w 6830141"/>
              <a:gd name="connsiteY8" fmla="*/ 1770479 h 1858028"/>
              <a:gd name="connsiteX9" fmla="*/ 245792 w 6830141"/>
              <a:gd name="connsiteY9" fmla="*/ 1760751 h 1858028"/>
              <a:gd name="connsiteX10" fmla="*/ 296694 w 6830141"/>
              <a:gd name="connsiteY10" fmla="*/ 1746160 h 1858028"/>
              <a:gd name="connsiteX11" fmla="*/ 330740 w 6830141"/>
              <a:gd name="connsiteY11" fmla="*/ 1741296 h 1858028"/>
              <a:gd name="connsiteX12" fmla="*/ 379379 w 6830141"/>
              <a:gd name="connsiteY12" fmla="*/ 1726704 h 1858028"/>
              <a:gd name="connsiteX13" fmla="*/ 408562 w 6830141"/>
              <a:gd name="connsiteY13" fmla="*/ 1721841 h 1858028"/>
              <a:gd name="connsiteX14" fmla="*/ 428017 w 6830141"/>
              <a:gd name="connsiteY14" fmla="*/ 1712113 h 1858028"/>
              <a:gd name="connsiteX15" fmla="*/ 457200 w 6830141"/>
              <a:gd name="connsiteY15" fmla="*/ 1702385 h 1858028"/>
              <a:gd name="connsiteX16" fmla="*/ 486383 w 6830141"/>
              <a:gd name="connsiteY16" fmla="*/ 1692658 h 1858028"/>
              <a:gd name="connsiteX17" fmla="*/ 530157 w 6830141"/>
              <a:gd name="connsiteY17" fmla="*/ 1678066 h 1858028"/>
              <a:gd name="connsiteX18" fmla="*/ 544749 w 6830141"/>
              <a:gd name="connsiteY18" fmla="*/ 1673202 h 1858028"/>
              <a:gd name="connsiteX19" fmla="*/ 559340 w 6830141"/>
              <a:gd name="connsiteY19" fmla="*/ 1668338 h 1858028"/>
              <a:gd name="connsiteX20" fmla="*/ 578796 w 6830141"/>
              <a:gd name="connsiteY20" fmla="*/ 1663475 h 1858028"/>
              <a:gd name="connsiteX21" fmla="*/ 607959 w 6830141"/>
              <a:gd name="connsiteY21" fmla="*/ 1661033 h 1858028"/>
              <a:gd name="connsiteX22" fmla="*/ 661481 w 6830141"/>
              <a:gd name="connsiteY22" fmla="*/ 1639155 h 1858028"/>
              <a:gd name="connsiteX23" fmla="*/ 685800 w 6830141"/>
              <a:gd name="connsiteY23" fmla="*/ 1634292 h 1858028"/>
              <a:gd name="connsiteX24" fmla="*/ 753894 w 6830141"/>
              <a:gd name="connsiteY24" fmla="*/ 1629428 h 1858028"/>
              <a:gd name="connsiteX25" fmla="*/ 851170 w 6830141"/>
              <a:gd name="connsiteY25" fmla="*/ 1614836 h 1858028"/>
              <a:gd name="connsiteX26" fmla="*/ 880353 w 6830141"/>
              <a:gd name="connsiteY26" fmla="*/ 1605109 h 1858028"/>
              <a:gd name="connsiteX27" fmla="*/ 894945 w 6830141"/>
              <a:gd name="connsiteY27" fmla="*/ 1600245 h 1858028"/>
              <a:gd name="connsiteX28" fmla="*/ 943583 w 6830141"/>
              <a:gd name="connsiteY28" fmla="*/ 1595381 h 1858028"/>
              <a:gd name="connsiteX29" fmla="*/ 972766 w 6830141"/>
              <a:gd name="connsiteY29" fmla="*/ 1585653 h 1858028"/>
              <a:gd name="connsiteX30" fmla="*/ 1011677 w 6830141"/>
              <a:gd name="connsiteY30" fmla="*/ 1551607 h 1858028"/>
              <a:gd name="connsiteX31" fmla="*/ 1045723 w 6830141"/>
              <a:gd name="connsiteY31" fmla="*/ 1541879 h 1858028"/>
              <a:gd name="connsiteX32" fmla="*/ 1079770 w 6830141"/>
              <a:gd name="connsiteY32" fmla="*/ 1537015 h 1858028"/>
              <a:gd name="connsiteX33" fmla="*/ 1123545 w 6830141"/>
              <a:gd name="connsiteY33" fmla="*/ 1522424 h 1858028"/>
              <a:gd name="connsiteX34" fmla="*/ 1157591 w 6830141"/>
              <a:gd name="connsiteY34" fmla="*/ 1512696 h 1858028"/>
              <a:gd name="connsiteX35" fmla="*/ 1282792 w 6830141"/>
              <a:gd name="connsiteY35" fmla="*/ 1490818 h 1858028"/>
              <a:gd name="connsiteX36" fmla="*/ 1254888 w 6830141"/>
              <a:gd name="connsiteY36" fmla="*/ 1493241 h 1858028"/>
              <a:gd name="connsiteX37" fmla="*/ 1318098 w 6830141"/>
              <a:gd name="connsiteY37" fmla="*/ 1478649 h 1858028"/>
              <a:gd name="connsiteX38" fmla="*/ 1347281 w 6830141"/>
              <a:gd name="connsiteY38" fmla="*/ 1473785 h 1858028"/>
              <a:gd name="connsiteX39" fmla="*/ 1371600 w 6830141"/>
              <a:gd name="connsiteY39" fmla="*/ 1468921 h 1858028"/>
              <a:gd name="connsiteX40" fmla="*/ 1391055 w 6830141"/>
              <a:gd name="connsiteY40" fmla="*/ 1464058 h 1858028"/>
              <a:gd name="connsiteX41" fmla="*/ 1420238 w 6830141"/>
              <a:gd name="connsiteY41" fmla="*/ 1459194 h 1858028"/>
              <a:gd name="connsiteX42" fmla="*/ 1449421 w 6830141"/>
              <a:gd name="connsiteY42" fmla="*/ 1449466 h 1858028"/>
              <a:gd name="connsiteX43" fmla="*/ 1464013 w 6830141"/>
              <a:gd name="connsiteY43" fmla="*/ 1444602 h 1858028"/>
              <a:gd name="connsiteX44" fmla="*/ 1478604 w 6830141"/>
              <a:gd name="connsiteY44" fmla="*/ 1439738 h 1858028"/>
              <a:gd name="connsiteX45" fmla="*/ 1502923 w 6830141"/>
              <a:gd name="connsiteY45" fmla="*/ 1434875 h 1858028"/>
              <a:gd name="connsiteX46" fmla="*/ 1532106 w 6830141"/>
              <a:gd name="connsiteY46" fmla="*/ 1425147 h 1858028"/>
              <a:gd name="connsiteX47" fmla="*/ 1566153 w 6830141"/>
              <a:gd name="connsiteY47" fmla="*/ 1420283 h 1858028"/>
              <a:gd name="connsiteX48" fmla="*/ 1580745 w 6830141"/>
              <a:gd name="connsiteY48" fmla="*/ 1415419 h 1858028"/>
              <a:gd name="connsiteX49" fmla="*/ 1600200 w 6830141"/>
              <a:gd name="connsiteY49" fmla="*/ 1405692 h 1858028"/>
              <a:gd name="connsiteX50" fmla="*/ 1639111 w 6830141"/>
              <a:gd name="connsiteY50" fmla="*/ 1400828 h 1858028"/>
              <a:gd name="connsiteX51" fmla="*/ 1663430 w 6830141"/>
              <a:gd name="connsiteY51" fmla="*/ 1395964 h 1858028"/>
              <a:gd name="connsiteX52" fmla="*/ 1678021 w 6830141"/>
              <a:gd name="connsiteY52" fmla="*/ 1391100 h 1858028"/>
              <a:gd name="connsiteX53" fmla="*/ 1692613 w 6830141"/>
              <a:gd name="connsiteY53" fmla="*/ 1381373 h 1858028"/>
              <a:gd name="connsiteX54" fmla="*/ 1707204 w 6830141"/>
              <a:gd name="connsiteY54" fmla="*/ 1376509 h 1858028"/>
              <a:gd name="connsiteX55" fmla="*/ 1721796 w 6830141"/>
              <a:gd name="connsiteY55" fmla="*/ 1366781 h 1858028"/>
              <a:gd name="connsiteX56" fmla="*/ 1746115 w 6830141"/>
              <a:gd name="connsiteY56" fmla="*/ 1361917 h 1858028"/>
              <a:gd name="connsiteX57" fmla="*/ 1760706 w 6830141"/>
              <a:gd name="connsiteY57" fmla="*/ 1352190 h 1858028"/>
              <a:gd name="connsiteX58" fmla="*/ 1833664 w 6830141"/>
              <a:gd name="connsiteY58" fmla="*/ 1337598 h 1858028"/>
              <a:gd name="connsiteX59" fmla="*/ 1853119 w 6830141"/>
              <a:gd name="connsiteY59" fmla="*/ 1332734 h 1858028"/>
              <a:gd name="connsiteX60" fmla="*/ 1882302 w 6830141"/>
              <a:gd name="connsiteY60" fmla="*/ 1327870 h 1858028"/>
              <a:gd name="connsiteX61" fmla="*/ 1911485 w 6830141"/>
              <a:gd name="connsiteY61" fmla="*/ 1308415 h 1858028"/>
              <a:gd name="connsiteX62" fmla="*/ 1964987 w 6830141"/>
              <a:gd name="connsiteY62" fmla="*/ 1298687 h 1858028"/>
              <a:gd name="connsiteX63" fmla="*/ 1994170 w 6830141"/>
              <a:gd name="connsiteY63" fmla="*/ 1288960 h 1858028"/>
              <a:gd name="connsiteX64" fmla="*/ 2042809 w 6830141"/>
              <a:gd name="connsiteY64" fmla="*/ 1269504 h 1858028"/>
              <a:gd name="connsiteX65" fmla="*/ 2057400 w 6830141"/>
              <a:gd name="connsiteY65" fmla="*/ 1264641 h 1858028"/>
              <a:gd name="connsiteX66" fmla="*/ 2110902 w 6830141"/>
              <a:gd name="connsiteY66" fmla="*/ 1259777 h 1858028"/>
              <a:gd name="connsiteX67" fmla="*/ 2135221 w 6830141"/>
              <a:gd name="connsiteY67" fmla="*/ 1254913 h 1858028"/>
              <a:gd name="connsiteX68" fmla="*/ 2178996 w 6830141"/>
              <a:gd name="connsiteY68" fmla="*/ 1250049 h 1858028"/>
              <a:gd name="connsiteX69" fmla="*/ 2193587 w 6830141"/>
              <a:gd name="connsiteY69" fmla="*/ 1245185 h 1858028"/>
              <a:gd name="connsiteX70" fmla="*/ 2213043 w 6830141"/>
              <a:gd name="connsiteY70" fmla="*/ 1240321 h 1858028"/>
              <a:gd name="connsiteX71" fmla="*/ 2242226 w 6830141"/>
              <a:gd name="connsiteY71" fmla="*/ 1230594 h 1858028"/>
              <a:gd name="connsiteX72" fmla="*/ 2256817 w 6830141"/>
              <a:gd name="connsiteY72" fmla="*/ 1225730 h 1858028"/>
              <a:gd name="connsiteX73" fmla="*/ 2286000 w 6830141"/>
              <a:gd name="connsiteY73" fmla="*/ 1206275 h 1858028"/>
              <a:gd name="connsiteX74" fmla="*/ 2300591 w 6830141"/>
              <a:gd name="connsiteY74" fmla="*/ 1201411 h 1858028"/>
              <a:gd name="connsiteX75" fmla="*/ 2315183 w 6830141"/>
              <a:gd name="connsiteY75" fmla="*/ 1191683 h 1858028"/>
              <a:gd name="connsiteX76" fmla="*/ 2344366 w 6830141"/>
              <a:gd name="connsiteY76" fmla="*/ 1181955 h 1858028"/>
              <a:gd name="connsiteX77" fmla="*/ 2358957 w 6830141"/>
              <a:gd name="connsiteY77" fmla="*/ 1177092 h 1858028"/>
              <a:gd name="connsiteX78" fmla="*/ 2373549 w 6830141"/>
              <a:gd name="connsiteY78" fmla="*/ 1172228 h 1858028"/>
              <a:gd name="connsiteX79" fmla="*/ 2393004 w 6830141"/>
              <a:gd name="connsiteY79" fmla="*/ 1167364 h 1858028"/>
              <a:gd name="connsiteX80" fmla="*/ 2417323 w 6830141"/>
              <a:gd name="connsiteY80" fmla="*/ 1162500 h 1858028"/>
              <a:gd name="connsiteX81" fmla="*/ 2451370 w 6830141"/>
              <a:gd name="connsiteY81" fmla="*/ 1152773 h 1858028"/>
              <a:gd name="connsiteX82" fmla="*/ 2490281 w 6830141"/>
              <a:gd name="connsiteY82" fmla="*/ 1147909 h 1858028"/>
              <a:gd name="connsiteX83" fmla="*/ 2504872 w 6830141"/>
              <a:gd name="connsiteY83" fmla="*/ 1143045 h 1858028"/>
              <a:gd name="connsiteX84" fmla="*/ 2553511 w 6830141"/>
              <a:gd name="connsiteY84" fmla="*/ 1133317 h 1858028"/>
              <a:gd name="connsiteX85" fmla="*/ 2582694 w 6830141"/>
              <a:gd name="connsiteY85" fmla="*/ 1123590 h 1858028"/>
              <a:gd name="connsiteX86" fmla="*/ 2597285 w 6830141"/>
              <a:gd name="connsiteY86" fmla="*/ 1118726 h 1858028"/>
              <a:gd name="connsiteX87" fmla="*/ 2636196 w 6830141"/>
              <a:gd name="connsiteY87" fmla="*/ 1108998 h 1858028"/>
              <a:gd name="connsiteX88" fmla="*/ 2660515 w 6830141"/>
              <a:gd name="connsiteY88" fmla="*/ 1104134 h 1858028"/>
              <a:gd name="connsiteX89" fmla="*/ 2699426 w 6830141"/>
              <a:gd name="connsiteY89" fmla="*/ 1099270 h 1858028"/>
              <a:gd name="connsiteX90" fmla="*/ 2728609 w 6830141"/>
              <a:gd name="connsiteY90" fmla="*/ 1081026 h 1858028"/>
              <a:gd name="connsiteX91" fmla="*/ 2821021 w 6830141"/>
              <a:gd name="connsiteY91" fmla="*/ 1070087 h 1858028"/>
              <a:gd name="connsiteX92" fmla="*/ 2884251 w 6830141"/>
              <a:gd name="connsiteY92" fmla="*/ 1060360 h 1858028"/>
              <a:gd name="connsiteX93" fmla="*/ 2898843 w 6830141"/>
              <a:gd name="connsiteY93" fmla="*/ 1055496 h 1858028"/>
              <a:gd name="connsiteX94" fmla="*/ 2928026 w 6830141"/>
              <a:gd name="connsiteY94" fmla="*/ 1050632 h 1858028"/>
              <a:gd name="connsiteX95" fmla="*/ 2971800 w 6830141"/>
              <a:gd name="connsiteY95" fmla="*/ 1036041 h 1858028"/>
              <a:gd name="connsiteX96" fmla="*/ 2986391 w 6830141"/>
              <a:gd name="connsiteY96" fmla="*/ 1031177 h 1858028"/>
              <a:gd name="connsiteX97" fmla="*/ 3000983 w 6830141"/>
              <a:gd name="connsiteY97" fmla="*/ 1026313 h 1858028"/>
              <a:gd name="connsiteX98" fmla="*/ 3093396 w 6830141"/>
              <a:gd name="connsiteY98" fmla="*/ 1011721 h 1858028"/>
              <a:gd name="connsiteX99" fmla="*/ 3107987 w 6830141"/>
              <a:gd name="connsiteY99" fmla="*/ 1001994 h 1858028"/>
              <a:gd name="connsiteX100" fmla="*/ 3170542 w 6830141"/>
              <a:gd name="connsiteY100" fmla="*/ 1000863 h 1858028"/>
              <a:gd name="connsiteX101" fmla="*/ 3292813 w 6830141"/>
              <a:gd name="connsiteY101" fmla="*/ 977675 h 1858028"/>
              <a:gd name="connsiteX102" fmla="*/ 3360906 w 6830141"/>
              <a:gd name="connsiteY102" fmla="*/ 963083 h 1858028"/>
              <a:gd name="connsiteX103" fmla="*/ 3390089 w 6830141"/>
              <a:gd name="connsiteY103" fmla="*/ 958219 h 1858028"/>
              <a:gd name="connsiteX104" fmla="*/ 3404681 w 6830141"/>
              <a:gd name="connsiteY104" fmla="*/ 953355 h 1858028"/>
              <a:gd name="connsiteX105" fmla="*/ 3443591 w 6830141"/>
              <a:gd name="connsiteY105" fmla="*/ 943628 h 1858028"/>
              <a:gd name="connsiteX106" fmla="*/ 3458183 w 6830141"/>
              <a:gd name="connsiteY106" fmla="*/ 938764 h 1858028"/>
              <a:gd name="connsiteX107" fmla="*/ 3525940 w 6830141"/>
              <a:gd name="connsiteY107" fmla="*/ 941365 h 1858028"/>
              <a:gd name="connsiteX108" fmla="*/ 3562925 w 6830141"/>
              <a:gd name="connsiteY108" fmla="*/ 912976 h 1858028"/>
              <a:gd name="connsiteX109" fmla="*/ 3589506 w 6830141"/>
              <a:gd name="connsiteY109" fmla="*/ 914445 h 1858028"/>
              <a:gd name="connsiteX110" fmla="*/ 3638145 w 6830141"/>
              <a:gd name="connsiteY110" fmla="*/ 904717 h 1858028"/>
              <a:gd name="connsiteX111" fmla="*/ 3686783 w 6830141"/>
              <a:gd name="connsiteY111" fmla="*/ 890126 h 1858028"/>
              <a:gd name="connsiteX112" fmla="*/ 3701374 w 6830141"/>
              <a:gd name="connsiteY112" fmla="*/ 885262 h 1858028"/>
              <a:gd name="connsiteX113" fmla="*/ 3730557 w 6830141"/>
              <a:gd name="connsiteY113" fmla="*/ 880398 h 1858028"/>
              <a:gd name="connsiteX114" fmla="*/ 3813243 w 6830141"/>
              <a:gd name="connsiteY114" fmla="*/ 870670 h 1858028"/>
              <a:gd name="connsiteX115" fmla="*/ 3852153 w 6830141"/>
              <a:gd name="connsiteY115" fmla="*/ 865807 h 1858028"/>
              <a:gd name="connsiteX116" fmla="*/ 3895928 w 6830141"/>
              <a:gd name="connsiteY116" fmla="*/ 851215 h 1858028"/>
              <a:gd name="connsiteX117" fmla="*/ 3925111 w 6830141"/>
              <a:gd name="connsiteY117" fmla="*/ 841487 h 1858028"/>
              <a:gd name="connsiteX118" fmla="*/ 3959157 w 6830141"/>
              <a:gd name="connsiteY118" fmla="*/ 836624 h 1858028"/>
              <a:gd name="connsiteX119" fmla="*/ 3983477 w 6830141"/>
              <a:gd name="connsiteY119" fmla="*/ 831760 h 1858028"/>
              <a:gd name="connsiteX120" fmla="*/ 4027251 w 6830141"/>
              <a:gd name="connsiteY120" fmla="*/ 826896 h 1858028"/>
              <a:gd name="connsiteX121" fmla="*/ 4061298 w 6830141"/>
              <a:gd name="connsiteY121" fmla="*/ 822032 h 1858028"/>
              <a:gd name="connsiteX122" fmla="*/ 4095345 w 6830141"/>
              <a:gd name="connsiteY122" fmla="*/ 812304 h 1858028"/>
              <a:gd name="connsiteX123" fmla="*/ 4114462 w 6830141"/>
              <a:gd name="connsiteY123" fmla="*/ 807441 h 1858028"/>
              <a:gd name="connsiteX124" fmla="*/ 4147377 w 6830141"/>
              <a:gd name="connsiteY124" fmla="*/ 790248 h 1858028"/>
              <a:gd name="connsiteX125" fmla="*/ 4217278 w 6830141"/>
              <a:gd name="connsiteY125" fmla="*/ 773394 h 1858028"/>
              <a:gd name="connsiteX126" fmla="*/ 4275306 w 6830141"/>
              <a:gd name="connsiteY126" fmla="*/ 768530 h 1858028"/>
              <a:gd name="connsiteX127" fmla="*/ 4304489 w 6830141"/>
              <a:gd name="connsiteY127" fmla="*/ 758802 h 1858028"/>
              <a:gd name="connsiteX128" fmla="*/ 4319081 w 6830141"/>
              <a:gd name="connsiteY128" fmla="*/ 753938 h 1858028"/>
              <a:gd name="connsiteX129" fmla="*/ 4353128 w 6830141"/>
              <a:gd name="connsiteY129" fmla="*/ 749075 h 1858028"/>
              <a:gd name="connsiteX130" fmla="*/ 4377447 w 6830141"/>
              <a:gd name="connsiteY130" fmla="*/ 744211 h 1858028"/>
              <a:gd name="connsiteX131" fmla="*/ 4411494 w 6830141"/>
              <a:gd name="connsiteY131" fmla="*/ 739347 h 1858028"/>
              <a:gd name="connsiteX132" fmla="*/ 4426085 w 6830141"/>
              <a:gd name="connsiteY132" fmla="*/ 734483 h 1858028"/>
              <a:gd name="connsiteX133" fmla="*/ 4508770 w 6830141"/>
              <a:gd name="connsiteY133" fmla="*/ 724755 h 1858028"/>
              <a:gd name="connsiteX134" fmla="*/ 4537953 w 6830141"/>
              <a:gd name="connsiteY134" fmla="*/ 715028 h 1858028"/>
              <a:gd name="connsiteX135" fmla="*/ 4552545 w 6830141"/>
              <a:gd name="connsiteY135" fmla="*/ 700436 h 1858028"/>
              <a:gd name="connsiteX136" fmla="*/ 4567136 w 6830141"/>
              <a:gd name="connsiteY136" fmla="*/ 695573 h 1858028"/>
              <a:gd name="connsiteX137" fmla="*/ 4581728 w 6830141"/>
              <a:gd name="connsiteY137" fmla="*/ 685845 h 1858028"/>
              <a:gd name="connsiteX138" fmla="*/ 4596319 w 6830141"/>
              <a:gd name="connsiteY138" fmla="*/ 680981 h 1858028"/>
              <a:gd name="connsiteX139" fmla="*/ 4610911 w 6830141"/>
              <a:gd name="connsiteY139" fmla="*/ 671253 h 1858028"/>
              <a:gd name="connsiteX140" fmla="*/ 4630366 w 6830141"/>
              <a:gd name="connsiteY140" fmla="*/ 655193 h 1858028"/>
              <a:gd name="connsiteX141" fmla="*/ 4659549 w 6830141"/>
              <a:gd name="connsiteY141" fmla="*/ 656662 h 1858028"/>
              <a:gd name="connsiteX142" fmla="*/ 4674140 w 6830141"/>
              <a:gd name="connsiteY142" fmla="*/ 651798 h 1858028"/>
              <a:gd name="connsiteX143" fmla="*/ 4732506 w 6830141"/>
              <a:gd name="connsiteY143" fmla="*/ 642070 h 1858028"/>
              <a:gd name="connsiteX144" fmla="*/ 4781145 w 6830141"/>
              <a:gd name="connsiteY144" fmla="*/ 627479 h 1858028"/>
              <a:gd name="connsiteX145" fmla="*/ 4810328 w 6830141"/>
              <a:gd name="connsiteY145" fmla="*/ 622615 h 1858028"/>
              <a:gd name="connsiteX146" fmla="*/ 4824919 w 6830141"/>
              <a:gd name="connsiteY146" fmla="*/ 617751 h 1858028"/>
              <a:gd name="connsiteX147" fmla="*/ 4849238 w 6830141"/>
              <a:gd name="connsiteY147" fmla="*/ 612887 h 1858028"/>
              <a:gd name="connsiteX148" fmla="*/ 4883285 w 6830141"/>
              <a:gd name="connsiteY148" fmla="*/ 598296 h 1858028"/>
              <a:gd name="connsiteX149" fmla="*/ 5000017 w 6830141"/>
              <a:gd name="connsiteY149" fmla="*/ 588568 h 1858028"/>
              <a:gd name="connsiteX150" fmla="*/ 5014609 w 6830141"/>
              <a:gd name="connsiteY150" fmla="*/ 573977 h 1858028"/>
              <a:gd name="connsiteX151" fmla="*/ 5029200 w 6830141"/>
              <a:gd name="connsiteY151" fmla="*/ 569113 h 1858028"/>
              <a:gd name="connsiteX152" fmla="*/ 5102157 w 6830141"/>
              <a:gd name="connsiteY152" fmla="*/ 559385 h 1858028"/>
              <a:gd name="connsiteX153" fmla="*/ 5136204 w 6830141"/>
              <a:gd name="connsiteY153" fmla="*/ 544794 h 1858028"/>
              <a:gd name="connsiteX154" fmla="*/ 5170251 w 6830141"/>
              <a:gd name="connsiteY154" fmla="*/ 535066 h 1858028"/>
              <a:gd name="connsiteX155" fmla="*/ 5184843 w 6830141"/>
              <a:gd name="connsiteY155" fmla="*/ 530202 h 1858028"/>
              <a:gd name="connsiteX156" fmla="*/ 5214026 w 6830141"/>
              <a:gd name="connsiteY156" fmla="*/ 510747 h 1858028"/>
              <a:gd name="connsiteX157" fmla="*/ 5228617 w 6830141"/>
              <a:gd name="connsiteY157" fmla="*/ 505883 h 1858028"/>
              <a:gd name="connsiteX158" fmla="*/ 5257800 w 6830141"/>
              <a:gd name="connsiteY158" fmla="*/ 491292 h 1858028"/>
              <a:gd name="connsiteX159" fmla="*/ 5335621 w 6830141"/>
              <a:gd name="connsiteY159" fmla="*/ 486428 h 1858028"/>
              <a:gd name="connsiteX160" fmla="*/ 5398851 w 6830141"/>
              <a:gd name="connsiteY160" fmla="*/ 481564 h 1858028"/>
              <a:gd name="connsiteX161" fmla="*/ 5447489 w 6830141"/>
              <a:gd name="connsiteY161" fmla="*/ 471836 h 1858028"/>
              <a:gd name="connsiteX162" fmla="*/ 5481536 w 6830141"/>
              <a:gd name="connsiteY162" fmla="*/ 462109 h 1858028"/>
              <a:gd name="connsiteX163" fmla="*/ 5496128 w 6830141"/>
              <a:gd name="connsiteY163" fmla="*/ 457245 h 1858028"/>
              <a:gd name="connsiteX164" fmla="*/ 5535038 w 6830141"/>
              <a:gd name="connsiteY164" fmla="*/ 452381 h 1858028"/>
              <a:gd name="connsiteX165" fmla="*/ 5622587 w 6830141"/>
              <a:gd name="connsiteY165" fmla="*/ 442653 h 1858028"/>
              <a:gd name="connsiteX166" fmla="*/ 5651770 w 6830141"/>
              <a:gd name="connsiteY166" fmla="*/ 432926 h 1858028"/>
              <a:gd name="connsiteX167" fmla="*/ 5666362 w 6830141"/>
              <a:gd name="connsiteY167" fmla="*/ 428062 h 1858028"/>
              <a:gd name="connsiteX168" fmla="*/ 5700409 w 6830141"/>
              <a:gd name="connsiteY168" fmla="*/ 418334 h 1858028"/>
              <a:gd name="connsiteX169" fmla="*/ 5719864 w 6830141"/>
              <a:gd name="connsiteY169" fmla="*/ 403743 h 1858028"/>
              <a:gd name="connsiteX170" fmla="*/ 5749047 w 6830141"/>
              <a:gd name="connsiteY170" fmla="*/ 394015 h 1858028"/>
              <a:gd name="connsiteX171" fmla="*/ 5802549 w 6830141"/>
              <a:gd name="connsiteY171" fmla="*/ 384287 h 1858028"/>
              <a:gd name="connsiteX172" fmla="*/ 5890098 w 6830141"/>
              <a:gd name="connsiteY172" fmla="*/ 379424 h 1858028"/>
              <a:gd name="connsiteX173" fmla="*/ 5933872 w 6830141"/>
              <a:gd name="connsiteY173" fmla="*/ 369696 h 1858028"/>
              <a:gd name="connsiteX174" fmla="*/ 5963055 w 6830141"/>
              <a:gd name="connsiteY174" fmla="*/ 359968 h 1858028"/>
              <a:gd name="connsiteX175" fmla="*/ 5977647 w 6830141"/>
              <a:gd name="connsiteY175" fmla="*/ 355104 h 1858028"/>
              <a:gd name="connsiteX176" fmla="*/ 6006830 w 6830141"/>
              <a:gd name="connsiteY176" fmla="*/ 350241 h 1858028"/>
              <a:gd name="connsiteX177" fmla="*/ 6055468 w 6830141"/>
              <a:gd name="connsiteY177" fmla="*/ 340513 h 1858028"/>
              <a:gd name="connsiteX178" fmla="*/ 6254885 w 6830141"/>
              <a:gd name="connsiteY178" fmla="*/ 335649 h 1858028"/>
              <a:gd name="connsiteX179" fmla="*/ 6269477 w 6830141"/>
              <a:gd name="connsiteY179" fmla="*/ 330785 h 1858028"/>
              <a:gd name="connsiteX180" fmla="*/ 6303523 w 6830141"/>
              <a:gd name="connsiteY180" fmla="*/ 287011 h 1858028"/>
              <a:gd name="connsiteX181" fmla="*/ 6322979 w 6830141"/>
              <a:gd name="connsiteY181" fmla="*/ 277283 h 1858028"/>
              <a:gd name="connsiteX182" fmla="*/ 6391072 w 6830141"/>
              <a:gd name="connsiteY182" fmla="*/ 262692 h 1858028"/>
              <a:gd name="connsiteX183" fmla="*/ 6405664 w 6830141"/>
              <a:gd name="connsiteY183" fmla="*/ 257828 h 1858028"/>
              <a:gd name="connsiteX184" fmla="*/ 6434847 w 6830141"/>
              <a:gd name="connsiteY184" fmla="*/ 252964 h 1858028"/>
              <a:gd name="connsiteX185" fmla="*/ 6449438 w 6830141"/>
              <a:gd name="connsiteY185" fmla="*/ 243236 h 1858028"/>
              <a:gd name="connsiteX186" fmla="*/ 6473757 w 6830141"/>
              <a:gd name="connsiteY186" fmla="*/ 238373 h 1858028"/>
              <a:gd name="connsiteX187" fmla="*/ 6478621 w 6830141"/>
              <a:gd name="connsiteY187" fmla="*/ 223781 h 1858028"/>
              <a:gd name="connsiteX188" fmla="*/ 6561306 w 6830141"/>
              <a:gd name="connsiteY188" fmla="*/ 209190 h 1858028"/>
              <a:gd name="connsiteX189" fmla="*/ 6566170 w 6830141"/>
              <a:gd name="connsiteY189" fmla="*/ 194598 h 1858028"/>
              <a:gd name="connsiteX190" fmla="*/ 6580762 w 6830141"/>
              <a:gd name="connsiteY190" fmla="*/ 184870 h 1858028"/>
              <a:gd name="connsiteX191" fmla="*/ 6731540 w 6830141"/>
              <a:gd name="connsiteY191" fmla="*/ 180007 h 1858028"/>
              <a:gd name="connsiteX192" fmla="*/ 6750996 w 6830141"/>
              <a:gd name="connsiteY192" fmla="*/ 175143 h 1858028"/>
              <a:gd name="connsiteX193" fmla="*/ 6760723 w 6830141"/>
              <a:gd name="connsiteY193" fmla="*/ 145960 h 1858028"/>
              <a:gd name="connsiteX194" fmla="*/ 6765587 w 6830141"/>
              <a:gd name="connsiteY194" fmla="*/ 107049 h 1858028"/>
              <a:gd name="connsiteX195" fmla="*/ 6809362 w 6830141"/>
              <a:gd name="connsiteY195" fmla="*/ 92458 h 1858028"/>
              <a:gd name="connsiteX196" fmla="*/ 6814226 w 6830141"/>
              <a:gd name="connsiteY196" fmla="*/ 77866 h 1858028"/>
              <a:gd name="connsiteX197" fmla="*/ 6819089 w 6830141"/>
              <a:gd name="connsiteY197" fmla="*/ 14636 h 1858028"/>
              <a:gd name="connsiteX198" fmla="*/ 6828817 w 6830141"/>
              <a:gd name="connsiteY198" fmla="*/ 45 h 1858028"/>
              <a:gd name="connsiteX199" fmla="*/ 6785043 w 6830141"/>
              <a:gd name="connsiteY199" fmla="*/ 9774 h 1858028"/>
              <a:gd name="connsiteX0" fmla="*/ 0 w 6828817"/>
              <a:gd name="connsiteY0" fmla="*/ 1887165 h 1887165"/>
              <a:gd name="connsiteX1" fmla="*/ 38911 w 6828817"/>
              <a:gd name="connsiteY1" fmla="*/ 1872573 h 1887165"/>
              <a:gd name="connsiteX2" fmla="*/ 72957 w 6828817"/>
              <a:gd name="connsiteY2" fmla="*/ 1862846 h 1887165"/>
              <a:gd name="connsiteX3" fmla="*/ 102140 w 6828817"/>
              <a:gd name="connsiteY3" fmla="*/ 1843390 h 1887165"/>
              <a:gd name="connsiteX4" fmla="*/ 141051 w 6828817"/>
              <a:gd name="connsiteY4" fmla="*/ 1833663 h 1887165"/>
              <a:gd name="connsiteX5" fmla="*/ 160506 w 6828817"/>
              <a:gd name="connsiteY5" fmla="*/ 1828799 h 1887165"/>
              <a:gd name="connsiteX6" fmla="*/ 189689 w 6828817"/>
              <a:gd name="connsiteY6" fmla="*/ 1814207 h 1887165"/>
              <a:gd name="connsiteX7" fmla="*/ 209145 w 6828817"/>
              <a:gd name="connsiteY7" fmla="*/ 1804480 h 1887165"/>
              <a:gd name="connsiteX8" fmla="*/ 223736 w 6828817"/>
              <a:gd name="connsiteY8" fmla="*/ 1799616 h 1887165"/>
              <a:gd name="connsiteX9" fmla="*/ 245792 w 6828817"/>
              <a:gd name="connsiteY9" fmla="*/ 1789888 h 1887165"/>
              <a:gd name="connsiteX10" fmla="*/ 296694 w 6828817"/>
              <a:gd name="connsiteY10" fmla="*/ 1775297 h 1887165"/>
              <a:gd name="connsiteX11" fmla="*/ 330740 w 6828817"/>
              <a:gd name="connsiteY11" fmla="*/ 1770433 h 1887165"/>
              <a:gd name="connsiteX12" fmla="*/ 379379 w 6828817"/>
              <a:gd name="connsiteY12" fmla="*/ 1755841 h 1887165"/>
              <a:gd name="connsiteX13" fmla="*/ 408562 w 6828817"/>
              <a:gd name="connsiteY13" fmla="*/ 1750978 h 1887165"/>
              <a:gd name="connsiteX14" fmla="*/ 428017 w 6828817"/>
              <a:gd name="connsiteY14" fmla="*/ 1741250 h 1887165"/>
              <a:gd name="connsiteX15" fmla="*/ 457200 w 6828817"/>
              <a:gd name="connsiteY15" fmla="*/ 1731522 h 1887165"/>
              <a:gd name="connsiteX16" fmla="*/ 486383 w 6828817"/>
              <a:gd name="connsiteY16" fmla="*/ 1721795 h 1887165"/>
              <a:gd name="connsiteX17" fmla="*/ 530157 w 6828817"/>
              <a:gd name="connsiteY17" fmla="*/ 1707203 h 1887165"/>
              <a:gd name="connsiteX18" fmla="*/ 544749 w 6828817"/>
              <a:gd name="connsiteY18" fmla="*/ 1702339 h 1887165"/>
              <a:gd name="connsiteX19" fmla="*/ 559340 w 6828817"/>
              <a:gd name="connsiteY19" fmla="*/ 1697475 h 1887165"/>
              <a:gd name="connsiteX20" fmla="*/ 578796 w 6828817"/>
              <a:gd name="connsiteY20" fmla="*/ 1692612 h 1887165"/>
              <a:gd name="connsiteX21" fmla="*/ 607959 w 6828817"/>
              <a:gd name="connsiteY21" fmla="*/ 1690170 h 1887165"/>
              <a:gd name="connsiteX22" fmla="*/ 661481 w 6828817"/>
              <a:gd name="connsiteY22" fmla="*/ 1668292 h 1887165"/>
              <a:gd name="connsiteX23" fmla="*/ 685800 w 6828817"/>
              <a:gd name="connsiteY23" fmla="*/ 1663429 h 1887165"/>
              <a:gd name="connsiteX24" fmla="*/ 753894 w 6828817"/>
              <a:gd name="connsiteY24" fmla="*/ 1658565 h 1887165"/>
              <a:gd name="connsiteX25" fmla="*/ 851170 w 6828817"/>
              <a:gd name="connsiteY25" fmla="*/ 1643973 h 1887165"/>
              <a:gd name="connsiteX26" fmla="*/ 880353 w 6828817"/>
              <a:gd name="connsiteY26" fmla="*/ 1634246 h 1887165"/>
              <a:gd name="connsiteX27" fmla="*/ 894945 w 6828817"/>
              <a:gd name="connsiteY27" fmla="*/ 1629382 h 1887165"/>
              <a:gd name="connsiteX28" fmla="*/ 943583 w 6828817"/>
              <a:gd name="connsiteY28" fmla="*/ 1624518 h 1887165"/>
              <a:gd name="connsiteX29" fmla="*/ 972766 w 6828817"/>
              <a:gd name="connsiteY29" fmla="*/ 1614790 h 1887165"/>
              <a:gd name="connsiteX30" fmla="*/ 1011677 w 6828817"/>
              <a:gd name="connsiteY30" fmla="*/ 1580744 h 1887165"/>
              <a:gd name="connsiteX31" fmla="*/ 1045723 w 6828817"/>
              <a:gd name="connsiteY31" fmla="*/ 1571016 h 1887165"/>
              <a:gd name="connsiteX32" fmla="*/ 1079770 w 6828817"/>
              <a:gd name="connsiteY32" fmla="*/ 1566152 h 1887165"/>
              <a:gd name="connsiteX33" fmla="*/ 1123545 w 6828817"/>
              <a:gd name="connsiteY33" fmla="*/ 1551561 h 1887165"/>
              <a:gd name="connsiteX34" fmla="*/ 1157591 w 6828817"/>
              <a:gd name="connsiteY34" fmla="*/ 1541833 h 1887165"/>
              <a:gd name="connsiteX35" fmla="*/ 1282792 w 6828817"/>
              <a:gd name="connsiteY35" fmla="*/ 1519955 h 1887165"/>
              <a:gd name="connsiteX36" fmla="*/ 1254888 w 6828817"/>
              <a:gd name="connsiteY36" fmla="*/ 1522378 h 1887165"/>
              <a:gd name="connsiteX37" fmla="*/ 1318098 w 6828817"/>
              <a:gd name="connsiteY37" fmla="*/ 1507786 h 1887165"/>
              <a:gd name="connsiteX38" fmla="*/ 1347281 w 6828817"/>
              <a:gd name="connsiteY38" fmla="*/ 1502922 h 1887165"/>
              <a:gd name="connsiteX39" fmla="*/ 1371600 w 6828817"/>
              <a:gd name="connsiteY39" fmla="*/ 1498058 h 1887165"/>
              <a:gd name="connsiteX40" fmla="*/ 1391055 w 6828817"/>
              <a:gd name="connsiteY40" fmla="*/ 1493195 h 1887165"/>
              <a:gd name="connsiteX41" fmla="*/ 1420238 w 6828817"/>
              <a:gd name="connsiteY41" fmla="*/ 1488331 h 1887165"/>
              <a:gd name="connsiteX42" fmla="*/ 1449421 w 6828817"/>
              <a:gd name="connsiteY42" fmla="*/ 1478603 h 1887165"/>
              <a:gd name="connsiteX43" fmla="*/ 1464013 w 6828817"/>
              <a:gd name="connsiteY43" fmla="*/ 1473739 h 1887165"/>
              <a:gd name="connsiteX44" fmla="*/ 1478604 w 6828817"/>
              <a:gd name="connsiteY44" fmla="*/ 1468875 h 1887165"/>
              <a:gd name="connsiteX45" fmla="*/ 1502923 w 6828817"/>
              <a:gd name="connsiteY45" fmla="*/ 1464012 h 1887165"/>
              <a:gd name="connsiteX46" fmla="*/ 1532106 w 6828817"/>
              <a:gd name="connsiteY46" fmla="*/ 1454284 h 1887165"/>
              <a:gd name="connsiteX47" fmla="*/ 1566153 w 6828817"/>
              <a:gd name="connsiteY47" fmla="*/ 1449420 h 1887165"/>
              <a:gd name="connsiteX48" fmla="*/ 1580745 w 6828817"/>
              <a:gd name="connsiteY48" fmla="*/ 1444556 h 1887165"/>
              <a:gd name="connsiteX49" fmla="*/ 1600200 w 6828817"/>
              <a:gd name="connsiteY49" fmla="*/ 1434829 h 1887165"/>
              <a:gd name="connsiteX50" fmla="*/ 1639111 w 6828817"/>
              <a:gd name="connsiteY50" fmla="*/ 1429965 h 1887165"/>
              <a:gd name="connsiteX51" fmla="*/ 1663430 w 6828817"/>
              <a:gd name="connsiteY51" fmla="*/ 1425101 h 1887165"/>
              <a:gd name="connsiteX52" fmla="*/ 1678021 w 6828817"/>
              <a:gd name="connsiteY52" fmla="*/ 1420237 h 1887165"/>
              <a:gd name="connsiteX53" fmla="*/ 1692613 w 6828817"/>
              <a:gd name="connsiteY53" fmla="*/ 1410510 h 1887165"/>
              <a:gd name="connsiteX54" fmla="*/ 1707204 w 6828817"/>
              <a:gd name="connsiteY54" fmla="*/ 1405646 h 1887165"/>
              <a:gd name="connsiteX55" fmla="*/ 1721796 w 6828817"/>
              <a:gd name="connsiteY55" fmla="*/ 1395918 h 1887165"/>
              <a:gd name="connsiteX56" fmla="*/ 1746115 w 6828817"/>
              <a:gd name="connsiteY56" fmla="*/ 1391054 h 1887165"/>
              <a:gd name="connsiteX57" fmla="*/ 1760706 w 6828817"/>
              <a:gd name="connsiteY57" fmla="*/ 1381327 h 1887165"/>
              <a:gd name="connsiteX58" fmla="*/ 1833664 w 6828817"/>
              <a:gd name="connsiteY58" fmla="*/ 1366735 h 1887165"/>
              <a:gd name="connsiteX59" fmla="*/ 1853119 w 6828817"/>
              <a:gd name="connsiteY59" fmla="*/ 1361871 h 1887165"/>
              <a:gd name="connsiteX60" fmla="*/ 1882302 w 6828817"/>
              <a:gd name="connsiteY60" fmla="*/ 1357007 h 1887165"/>
              <a:gd name="connsiteX61" fmla="*/ 1911485 w 6828817"/>
              <a:gd name="connsiteY61" fmla="*/ 1337552 h 1887165"/>
              <a:gd name="connsiteX62" fmla="*/ 1964987 w 6828817"/>
              <a:gd name="connsiteY62" fmla="*/ 1327824 h 1887165"/>
              <a:gd name="connsiteX63" fmla="*/ 1994170 w 6828817"/>
              <a:gd name="connsiteY63" fmla="*/ 1318097 h 1887165"/>
              <a:gd name="connsiteX64" fmla="*/ 2042809 w 6828817"/>
              <a:gd name="connsiteY64" fmla="*/ 1298641 h 1887165"/>
              <a:gd name="connsiteX65" fmla="*/ 2057400 w 6828817"/>
              <a:gd name="connsiteY65" fmla="*/ 1293778 h 1887165"/>
              <a:gd name="connsiteX66" fmla="*/ 2110902 w 6828817"/>
              <a:gd name="connsiteY66" fmla="*/ 1288914 h 1887165"/>
              <a:gd name="connsiteX67" fmla="*/ 2135221 w 6828817"/>
              <a:gd name="connsiteY67" fmla="*/ 1284050 h 1887165"/>
              <a:gd name="connsiteX68" fmla="*/ 2178996 w 6828817"/>
              <a:gd name="connsiteY68" fmla="*/ 1279186 h 1887165"/>
              <a:gd name="connsiteX69" fmla="*/ 2193587 w 6828817"/>
              <a:gd name="connsiteY69" fmla="*/ 1274322 h 1887165"/>
              <a:gd name="connsiteX70" fmla="*/ 2213043 w 6828817"/>
              <a:gd name="connsiteY70" fmla="*/ 1269458 h 1887165"/>
              <a:gd name="connsiteX71" fmla="*/ 2242226 w 6828817"/>
              <a:gd name="connsiteY71" fmla="*/ 1259731 h 1887165"/>
              <a:gd name="connsiteX72" fmla="*/ 2256817 w 6828817"/>
              <a:gd name="connsiteY72" fmla="*/ 1254867 h 1887165"/>
              <a:gd name="connsiteX73" fmla="*/ 2286000 w 6828817"/>
              <a:gd name="connsiteY73" fmla="*/ 1235412 h 1887165"/>
              <a:gd name="connsiteX74" fmla="*/ 2300591 w 6828817"/>
              <a:gd name="connsiteY74" fmla="*/ 1230548 h 1887165"/>
              <a:gd name="connsiteX75" fmla="*/ 2315183 w 6828817"/>
              <a:gd name="connsiteY75" fmla="*/ 1220820 h 1887165"/>
              <a:gd name="connsiteX76" fmla="*/ 2344366 w 6828817"/>
              <a:gd name="connsiteY76" fmla="*/ 1211092 h 1887165"/>
              <a:gd name="connsiteX77" fmla="*/ 2358957 w 6828817"/>
              <a:gd name="connsiteY77" fmla="*/ 1206229 h 1887165"/>
              <a:gd name="connsiteX78" fmla="*/ 2373549 w 6828817"/>
              <a:gd name="connsiteY78" fmla="*/ 1201365 h 1887165"/>
              <a:gd name="connsiteX79" fmla="*/ 2393004 w 6828817"/>
              <a:gd name="connsiteY79" fmla="*/ 1196501 h 1887165"/>
              <a:gd name="connsiteX80" fmla="*/ 2417323 w 6828817"/>
              <a:gd name="connsiteY80" fmla="*/ 1191637 h 1887165"/>
              <a:gd name="connsiteX81" fmla="*/ 2451370 w 6828817"/>
              <a:gd name="connsiteY81" fmla="*/ 1181910 h 1887165"/>
              <a:gd name="connsiteX82" fmla="*/ 2490281 w 6828817"/>
              <a:gd name="connsiteY82" fmla="*/ 1177046 h 1887165"/>
              <a:gd name="connsiteX83" fmla="*/ 2504872 w 6828817"/>
              <a:gd name="connsiteY83" fmla="*/ 1172182 h 1887165"/>
              <a:gd name="connsiteX84" fmla="*/ 2553511 w 6828817"/>
              <a:gd name="connsiteY84" fmla="*/ 1162454 h 1887165"/>
              <a:gd name="connsiteX85" fmla="*/ 2582694 w 6828817"/>
              <a:gd name="connsiteY85" fmla="*/ 1152727 h 1887165"/>
              <a:gd name="connsiteX86" fmla="*/ 2597285 w 6828817"/>
              <a:gd name="connsiteY86" fmla="*/ 1147863 h 1887165"/>
              <a:gd name="connsiteX87" fmla="*/ 2636196 w 6828817"/>
              <a:gd name="connsiteY87" fmla="*/ 1138135 h 1887165"/>
              <a:gd name="connsiteX88" fmla="*/ 2660515 w 6828817"/>
              <a:gd name="connsiteY88" fmla="*/ 1133271 h 1887165"/>
              <a:gd name="connsiteX89" fmla="*/ 2699426 w 6828817"/>
              <a:gd name="connsiteY89" fmla="*/ 1128407 h 1887165"/>
              <a:gd name="connsiteX90" fmla="*/ 2728609 w 6828817"/>
              <a:gd name="connsiteY90" fmla="*/ 1110163 h 1887165"/>
              <a:gd name="connsiteX91" fmla="*/ 2821021 w 6828817"/>
              <a:gd name="connsiteY91" fmla="*/ 1099224 h 1887165"/>
              <a:gd name="connsiteX92" fmla="*/ 2884251 w 6828817"/>
              <a:gd name="connsiteY92" fmla="*/ 1089497 h 1887165"/>
              <a:gd name="connsiteX93" fmla="*/ 2898843 w 6828817"/>
              <a:gd name="connsiteY93" fmla="*/ 1084633 h 1887165"/>
              <a:gd name="connsiteX94" fmla="*/ 2928026 w 6828817"/>
              <a:gd name="connsiteY94" fmla="*/ 1079769 h 1887165"/>
              <a:gd name="connsiteX95" fmla="*/ 2971800 w 6828817"/>
              <a:gd name="connsiteY95" fmla="*/ 1065178 h 1887165"/>
              <a:gd name="connsiteX96" fmla="*/ 2986391 w 6828817"/>
              <a:gd name="connsiteY96" fmla="*/ 1060314 h 1887165"/>
              <a:gd name="connsiteX97" fmla="*/ 3000983 w 6828817"/>
              <a:gd name="connsiteY97" fmla="*/ 1055450 h 1887165"/>
              <a:gd name="connsiteX98" fmla="*/ 3093396 w 6828817"/>
              <a:gd name="connsiteY98" fmla="*/ 1040858 h 1887165"/>
              <a:gd name="connsiteX99" fmla="*/ 3107987 w 6828817"/>
              <a:gd name="connsiteY99" fmla="*/ 1031131 h 1887165"/>
              <a:gd name="connsiteX100" fmla="*/ 3170542 w 6828817"/>
              <a:gd name="connsiteY100" fmla="*/ 1030000 h 1887165"/>
              <a:gd name="connsiteX101" fmla="*/ 3292813 w 6828817"/>
              <a:gd name="connsiteY101" fmla="*/ 1006812 h 1887165"/>
              <a:gd name="connsiteX102" fmla="*/ 3360906 w 6828817"/>
              <a:gd name="connsiteY102" fmla="*/ 992220 h 1887165"/>
              <a:gd name="connsiteX103" fmla="*/ 3390089 w 6828817"/>
              <a:gd name="connsiteY103" fmla="*/ 987356 h 1887165"/>
              <a:gd name="connsiteX104" fmla="*/ 3404681 w 6828817"/>
              <a:gd name="connsiteY104" fmla="*/ 982492 h 1887165"/>
              <a:gd name="connsiteX105" fmla="*/ 3443591 w 6828817"/>
              <a:gd name="connsiteY105" fmla="*/ 972765 h 1887165"/>
              <a:gd name="connsiteX106" fmla="*/ 3458183 w 6828817"/>
              <a:gd name="connsiteY106" fmla="*/ 967901 h 1887165"/>
              <a:gd name="connsiteX107" fmla="*/ 3525940 w 6828817"/>
              <a:gd name="connsiteY107" fmla="*/ 970502 h 1887165"/>
              <a:gd name="connsiteX108" fmla="*/ 3562925 w 6828817"/>
              <a:gd name="connsiteY108" fmla="*/ 942113 h 1887165"/>
              <a:gd name="connsiteX109" fmla="*/ 3589506 w 6828817"/>
              <a:gd name="connsiteY109" fmla="*/ 943582 h 1887165"/>
              <a:gd name="connsiteX110" fmla="*/ 3638145 w 6828817"/>
              <a:gd name="connsiteY110" fmla="*/ 933854 h 1887165"/>
              <a:gd name="connsiteX111" fmla="*/ 3686783 w 6828817"/>
              <a:gd name="connsiteY111" fmla="*/ 919263 h 1887165"/>
              <a:gd name="connsiteX112" fmla="*/ 3701374 w 6828817"/>
              <a:gd name="connsiteY112" fmla="*/ 914399 h 1887165"/>
              <a:gd name="connsiteX113" fmla="*/ 3730557 w 6828817"/>
              <a:gd name="connsiteY113" fmla="*/ 909535 h 1887165"/>
              <a:gd name="connsiteX114" fmla="*/ 3813243 w 6828817"/>
              <a:gd name="connsiteY114" fmla="*/ 899807 h 1887165"/>
              <a:gd name="connsiteX115" fmla="*/ 3852153 w 6828817"/>
              <a:gd name="connsiteY115" fmla="*/ 894944 h 1887165"/>
              <a:gd name="connsiteX116" fmla="*/ 3895928 w 6828817"/>
              <a:gd name="connsiteY116" fmla="*/ 880352 h 1887165"/>
              <a:gd name="connsiteX117" fmla="*/ 3925111 w 6828817"/>
              <a:gd name="connsiteY117" fmla="*/ 870624 h 1887165"/>
              <a:gd name="connsiteX118" fmla="*/ 3959157 w 6828817"/>
              <a:gd name="connsiteY118" fmla="*/ 865761 h 1887165"/>
              <a:gd name="connsiteX119" fmla="*/ 3983477 w 6828817"/>
              <a:gd name="connsiteY119" fmla="*/ 860897 h 1887165"/>
              <a:gd name="connsiteX120" fmla="*/ 4027251 w 6828817"/>
              <a:gd name="connsiteY120" fmla="*/ 856033 h 1887165"/>
              <a:gd name="connsiteX121" fmla="*/ 4061298 w 6828817"/>
              <a:gd name="connsiteY121" fmla="*/ 851169 h 1887165"/>
              <a:gd name="connsiteX122" fmla="*/ 4095345 w 6828817"/>
              <a:gd name="connsiteY122" fmla="*/ 841441 h 1887165"/>
              <a:gd name="connsiteX123" fmla="*/ 4114462 w 6828817"/>
              <a:gd name="connsiteY123" fmla="*/ 836578 h 1887165"/>
              <a:gd name="connsiteX124" fmla="*/ 4147377 w 6828817"/>
              <a:gd name="connsiteY124" fmla="*/ 819385 h 1887165"/>
              <a:gd name="connsiteX125" fmla="*/ 4217278 w 6828817"/>
              <a:gd name="connsiteY125" fmla="*/ 802531 h 1887165"/>
              <a:gd name="connsiteX126" fmla="*/ 4275306 w 6828817"/>
              <a:gd name="connsiteY126" fmla="*/ 797667 h 1887165"/>
              <a:gd name="connsiteX127" fmla="*/ 4304489 w 6828817"/>
              <a:gd name="connsiteY127" fmla="*/ 787939 h 1887165"/>
              <a:gd name="connsiteX128" fmla="*/ 4319081 w 6828817"/>
              <a:gd name="connsiteY128" fmla="*/ 783075 h 1887165"/>
              <a:gd name="connsiteX129" fmla="*/ 4353128 w 6828817"/>
              <a:gd name="connsiteY129" fmla="*/ 778212 h 1887165"/>
              <a:gd name="connsiteX130" fmla="*/ 4377447 w 6828817"/>
              <a:gd name="connsiteY130" fmla="*/ 773348 h 1887165"/>
              <a:gd name="connsiteX131" fmla="*/ 4411494 w 6828817"/>
              <a:gd name="connsiteY131" fmla="*/ 768484 h 1887165"/>
              <a:gd name="connsiteX132" fmla="*/ 4426085 w 6828817"/>
              <a:gd name="connsiteY132" fmla="*/ 763620 h 1887165"/>
              <a:gd name="connsiteX133" fmla="*/ 4508770 w 6828817"/>
              <a:gd name="connsiteY133" fmla="*/ 753892 h 1887165"/>
              <a:gd name="connsiteX134" fmla="*/ 4537953 w 6828817"/>
              <a:gd name="connsiteY134" fmla="*/ 744165 h 1887165"/>
              <a:gd name="connsiteX135" fmla="*/ 4552545 w 6828817"/>
              <a:gd name="connsiteY135" fmla="*/ 729573 h 1887165"/>
              <a:gd name="connsiteX136" fmla="*/ 4567136 w 6828817"/>
              <a:gd name="connsiteY136" fmla="*/ 724710 h 1887165"/>
              <a:gd name="connsiteX137" fmla="*/ 4581728 w 6828817"/>
              <a:gd name="connsiteY137" fmla="*/ 714982 h 1887165"/>
              <a:gd name="connsiteX138" fmla="*/ 4596319 w 6828817"/>
              <a:gd name="connsiteY138" fmla="*/ 710118 h 1887165"/>
              <a:gd name="connsiteX139" fmla="*/ 4610911 w 6828817"/>
              <a:gd name="connsiteY139" fmla="*/ 700390 h 1887165"/>
              <a:gd name="connsiteX140" fmla="*/ 4630366 w 6828817"/>
              <a:gd name="connsiteY140" fmla="*/ 684330 h 1887165"/>
              <a:gd name="connsiteX141" fmla="*/ 4659549 w 6828817"/>
              <a:gd name="connsiteY141" fmla="*/ 685799 h 1887165"/>
              <a:gd name="connsiteX142" fmla="*/ 4674140 w 6828817"/>
              <a:gd name="connsiteY142" fmla="*/ 680935 h 1887165"/>
              <a:gd name="connsiteX143" fmla="*/ 4732506 w 6828817"/>
              <a:gd name="connsiteY143" fmla="*/ 671207 h 1887165"/>
              <a:gd name="connsiteX144" fmla="*/ 4781145 w 6828817"/>
              <a:gd name="connsiteY144" fmla="*/ 656616 h 1887165"/>
              <a:gd name="connsiteX145" fmla="*/ 4810328 w 6828817"/>
              <a:gd name="connsiteY145" fmla="*/ 651752 h 1887165"/>
              <a:gd name="connsiteX146" fmla="*/ 4824919 w 6828817"/>
              <a:gd name="connsiteY146" fmla="*/ 646888 h 1887165"/>
              <a:gd name="connsiteX147" fmla="*/ 4849238 w 6828817"/>
              <a:gd name="connsiteY147" fmla="*/ 642024 h 1887165"/>
              <a:gd name="connsiteX148" fmla="*/ 4883285 w 6828817"/>
              <a:gd name="connsiteY148" fmla="*/ 627433 h 1887165"/>
              <a:gd name="connsiteX149" fmla="*/ 5000017 w 6828817"/>
              <a:gd name="connsiteY149" fmla="*/ 617705 h 1887165"/>
              <a:gd name="connsiteX150" fmla="*/ 5014609 w 6828817"/>
              <a:gd name="connsiteY150" fmla="*/ 603114 h 1887165"/>
              <a:gd name="connsiteX151" fmla="*/ 5029200 w 6828817"/>
              <a:gd name="connsiteY151" fmla="*/ 598250 h 1887165"/>
              <a:gd name="connsiteX152" fmla="*/ 5102157 w 6828817"/>
              <a:gd name="connsiteY152" fmla="*/ 588522 h 1887165"/>
              <a:gd name="connsiteX153" fmla="*/ 5136204 w 6828817"/>
              <a:gd name="connsiteY153" fmla="*/ 573931 h 1887165"/>
              <a:gd name="connsiteX154" fmla="*/ 5170251 w 6828817"/>
              <a:gd name="connsiteY154" fmla="*/ 564203 h 1887165"/>
              <a:gd name="connsiteX155" fmla="*/ 5184843 w 6828817"/>
              <a:gd name="connsiteY155" fmla="*/ 559339 h 1887165"/>
              <a:gd name="connsiteX156" fmla="*/ 5214026 w 6828817"/>
              <a:gd name="connsiteY156" fmla="*/ 539884 h 1887165"/>
              <a:gd name="connsiteX157" fmla="*/ 5228617 w 6828817"/>
              <a:gd name="connsiteY157" fmla="*/ 535020 h 1887165"/>
              <a:gd name="connsiteX158" fmla="*/ 5257800 w 6828817"/>
              <a:gd name="connsiteY158" fmla="*/ 520429 h 1887165"/>
              <a:gd name="connsiteX159" fmla="*/ 5335621 w 6828817"/>
              <a:gd name="connsiteY159" fmla="*/ 515565 h 1887165"/>
              <a:gd name="connsiteX160" fmla="*/ 5398851 w 6828817"/>
              <a:gd name="connsiteY160" fmla="*/ 510701 h 1887165"/>
              <a:gd name="connsiteX161" fmla="*/ 5447489 w 6828817"/>
              <a:gd name="connsiteY161" fmla="*/ 500973 h 1887165"/>
              <a:gd name="connsiteX162" fmla="*/ 5481536 w 6828817"/>
              <a:gd name="connsiteY162" fmla="*/ 491246 h 1887165"/>
              <a:gd name="connsiteX163" fmla="*/ 5496128 w 6828817"/>
              <a:gd name="connsiteY163" fmla="*/ 486382 h 1887165"/>
              <a:gd name="connsiteX164" fmla="*/ 5535038 w 6828817"/>
              <a:gd name="connsiteY164" fmla="*/ 481518 h 1887165"/>
              <a:gd name="connsiteX165" fmla="*/ 5622587 w 6828817"/>
              <a:gd name="connsiteY165" fmla="*/ 471790 h 1887165"/>
              <a:gd name="connsiteX166" fmla="*/ 5651770 w 6828817"/>
              <a:gd name="connsiteY166" fmla="*/ 462063 h 1887165"/>
              <a:gd name="connsiteX167" fmla="*/ 5666362 w 6828817"/>
              <a:gd name="connsiteY167" fmla="*/ 457199 h 1887165"/>
              <a:gd name="connsiteX168" fmla="*/ 5700409 w 6828817"/>
              <a:gd name="connsiteY168" fmla="*/ 447471 h 1887165"/>
              <a:gd name="connsiteX169" fmla="*/ 5719864 w 6828817"/>
              <a:gd name="connsiteY169" fmla="*/ 432880 h 1887165"/>
              <a:gd name="connsiteX170" fmla="*/ 5749047 w 6828817"/>
              <a:gd name="connsiteY170" fmla="*/ 423152 h 1887165"/>
              <a:gd name="connsiteX171" fmla="*/ 5802549 w 6828817"/>
              <a:gd name="connsiteY171" fmla="*/ 413424 h 1887165"/>
              <a:gd name="connsiteX172" fmla="*/ 5890098 w 6828817"/>
              <a:gd name="connsiteY172" fmla="*/ 408561 h 1887165"/>
              <a:gd name="connsiteX173" fmla="*/ 5933872 w 6828817"/>
              <a:gd name="connsiteY173" fmla="*/ 398833 h 1887165"/>
              <a:gd name="connsiteX174" fmla="*/ 5963055 w 6828817"/>
              <a:gd name="connsiteY174" fmla="*/ 389105 h 1887165"/>
              <a:gd name="connsiteX175" fmla="*/ 5977647 w 6828817"/>
              <a:gd name="connsiteY175" fmla="*/ 384241 h 1887165"/>
              <a:gd name="connsiteX176" fmla="*/ 6006830 w 6828817"/>
              <a:gd name="connsiteY176" fmla="*/ 379378 h 1887165"/>
              <a:gd name="connsiteX177" fmla="*/ 6055468 w 6828817"/>
              <a:gd name="connsiteY177" fmla="*/ 369650 h 1887165"/>
              <a:gd name="connsiteX178" fmla="*/ 6254885 w 6828817"/>
              <a:gd name="connsiteY178" fmla="*/ 364786 h 1887165"/>
              <a:gd name="connsiteX179" fmla="*/ 6269477 w 6828817"/>
              <a:gd name="connsiteY179" fmla="*/ 359922 h 1887165"/>
              <a:gd name="connsiteX180" fmla="*/ 6303523 w 6828817"/>
              <a:gd name="connsiteY180" fmla="*/ 316148 h 1887165"/>
              <a:gd name="connsiteX181" fmla="*/ 6322979 w 6828817"/>
              <a:gd name="connsiteY181" fmla="*/ 306420 h 1887165"/>
              <a:gd name="connsiteX182" fmla="*/ 6391072 w 6828817"/>
              <a:gd name="connsiteY182" fmla="*/ 291829 h 1887165"/>
              <a:gd name="connsiteX183" fmla="*/ 6405664 w 6828817"/>
              <a:gd name="connsiteY183" fmla="*/ 286965 h 1887165"/>
              <a:gd name="connsiteX184" fmla="*/ 6434847 w 6828817"/>
              <a:gd name="connsiteY184" fmla="*/ 282101 h 1887165"/>
              <a:gd name="connsiteX185" fmla="*/ 6449438 w 6828817"/>
              <a:gd name="connsiteY185" fmla="*/ 272373 h 1887165"/>
              <a:gd name="connsiteX186" fmla="*/ 6473757 w 6828817"/>
              <a:gd name="connsiteY186" fmla="*/ 267510 h 1887165"/>
              <a:gd name="connsiteX187" fmla="*/ 6478621 w 6828817"/>
              <a:gd name="connsiteY187" fmla="*/ 252918 h 1887165"/>
              <a:gd name="connsiteX188" fmla="*/ 6561306 w 6828817"/>
              <a:gd name="connsiteY188" fmla="*/ 238327 h 1887165"/>
              <a:gd name="connsiteX189" fmla="*/ 6566170 w 6828817"/>
              <a:gd name="connsiteY189" fmla="*/ 223735 h 1887165"/>
              <a:gd name="connsiteX190" fmla="*/ 6580762 w 6828817"/>
              <a:gd name="connsiteY190" fmla="*/ 214007 h 1887165"/>
              <a:gd name="connsiteX191" fmla="*/ 6731540 w 6828817"/>
              <a:gd name="connsiteY191" fmla="*/ 209144 h 1887165"/>
              <a:gd name="connsiteX192" fmla="*/ 6750996 w 6828817"/>
              <a:gd name="connsiteY192" fmla="*/ 204280 h 1887165"/>
              <a:gd name="connsiteX193" fmla="*/ 6760723 w 6828817"/>
              <a:gd name="connsiteY193" fmla="*/ 175097 h 1887165"/>
              <a:gd name="connsiteX194" fmla="*/ 6765587 w 6828817"/>
              <a:gd name="connsiteY194" fmla="*/ 136186 h 1887165"/>
              <a:gd name="connsiteX195" fmla="*/ 6809362 w 6828817"/>
              <a:gd name="connsiteY195" fmla="*/ 121595 h 1887165"/>
              <a:gd name="connsiteX196" fmla="*/ 6814226 w 6828817"/>
              <a:gd name="connsiteY196" fmla="*/ 107003 h 1887165"/>
              <a:gd name="connsiteX197" fmla="*/ 6819089 w 6828817"/>
              <a:gd name="connsiteY197" fmla="*/ 43773 h 1887165"/>
              <a:gd name="connsiteX198" fmla="*/ 6828817 w 6828817"/>
              <a:gd name="connsiteY198" fmla="*/ 29182 h 1887165"/>
              <a:gd name="connsiteX199" fmla="*/ 6819090 w 6828817"/>
              <a:gd name="connsiteY199" fmla="*/ 0 h 1887165"/>
              <a:gd name="connsiteX0" fmla="*/ 0 w 6819090"/>
              <a:gd name="connsiteY0" fmla="*/ 1887165 h 1887165"/>
              <a:gd name="connsiteX1" fmla="*/ 38911 w 6819090"/>
              <a:gd name="connsiteY1" fmla="*/ 1872573 h 1887165"/>
              <a:gd name="connsiteX2" fmla="*/ 72957 w 6819090"/>
              <a:gd name="connsiteY2" fmla="*/ 1862846 h 1887165"/>
              <a:gd name="connsiteX3" fmla="*/ 102140 w 6819090"/>
              <a:gd name="connsiteY3" fmla="*/ 1843390 h 1887165"/>
              <a:gd name="connsiteX4" fmla="*/ 141051 w 6819090"/>
              <a:gd name="connsiteY4" fmla="*/ 1833663 h 1887165"/>
              <a:gd name="connsiteX5" fmla="*/ 160506 w 6819090"/>
              <a:gd name="connsiteY5" fmla="*/ 1828799 h 1887165"/>
              <a:gd name="connsiteX6" fmla="*/ 189689 w 6819090"/>
              <a:gd name="connsiteY6" fmla="*/ 1814207 h 1887165"/>
              <a:gd name="connsiteX7" fmla="*/ 209145 w 6819090"/>
              <a:gd name="connsiteY7" fmla="*/ 1804480 h 1887165"/>
              <a:gd name="connsiteX8" fmla="*/ 223736 w 6819090"/>
              <a:gd name="connsiteY8" fmla="*/ 1799616 h 1887165"/>
              <a:gd name="connsiteX9" fmla="*/ 245792 w 6819090"/>
              <a:gd name="connsiteY9" fmla="*/ 1789888 h 1887165"/>
              <a:gd name="connsiteX10" fmla="*/ 296694 w 6819090"/>
              <a:gd name="connsiteY10" fmla="*/ 1775297 h 1887165"/>
              <a:gd name="connsiteX11" fmla="*/ 330740 w 6819090"/>
              <a:gd name="connsiteY11" fmla="*/ 1770433 h 1887165"/>
              <a:gd name="connsiteX12" fmla="*/ 379379 w 6819090"/>
              <a:gd name="connsiteY12" fmla="*/ 1755841 h 1887165"/>
              <a:gd name="connsiteX13" fmla="*/ 408562 w 6819090"/>
              <a:gd name="connsiteY13" fmla="*/ 1750978 h 1887165"/>
              <a:gd name="connsiteX14" fmla="*/ 428017 w 6819090"/>
              <a:gd name="connsiteY14" fmla="*/ 1741250 h 1887165"/>
              <a:gd name="connsiteX15" fmla="*/ 457200 w 6819090"/>
              <a:gd name="connsiteY15" fmla="*/ 1731522 h 1887165"/>
              <a:gd name="connsiteX16" fmla="*/ 486383 w 6819090"/>
              <a:gd name="connsiteY16" fmla="*/ 1721795 h 1887165"/>
              <a:gd name="connsiteX17" fmla="*/ 530157 w 6819090"/>
              <a:gd name="connsiteY17" fmla="*/ 1707203 h 1887165"/>
              <a:gd name="connsiteX18" fmla="*/ 544749 w 6819090"/>
              <a:gd name="connsiteY18" fmla="*/ 1702339 h 1887165"/>
              <a:gd name="connsiteX19" fmla="*/ 559340 w 6819090"/>
              <a:gd name="connsiteY19" fmla="*/ 1697475 h 1887165"/>
              <a:gd name="connsiteX20" fmla="*/ 578796 w 6819090"/>
              <a:gd name="connsiteY20" fmla="*/ 1692612 h 1887165"/>
              <a:gd name="connsiteX21" fmla="*/ 607959 w 6819090"/>
              <a:gd name="connsiteY21" fmla="*/ 1690170 h 1887165"/>
              <a:gd name="connsiteX22" fmla="*/ 661481 w 6819090"/>
              <a:gd name="connsiteY22" fmla="*/ 1668292 h 1887165"/>
              <a:gd name="connsiteX23" fmla="*/ 685800 w 6819090"/>
              <a:gd name="connsiteY23" fmla="*/ 1663429 h 1887165"/>
              <a:gd name="connsiteX24" fmla="*/ 753894 w 6819090"/>
              <a:gd name="connsiteY24" fmla="*/ 1658565 h 1887165"/>
              <a:gd name="connsiteX25" fmla="*/ 851170 w 6819090"/>
              <a:gd name="connsiteY25" fmla="*/ 1643973 h 1887165"/>
              <a:gd name="connsiteX26" fmla="*/ 880353 w 6819090"/>
              <a:gd name="connsiteY26" fmla="*/ 1634246 h 1887165"/>
              <a:gd name="connsiteX27" fmla="*/ 894945 w 6819090"/>
              <a:gd name="connsiteY27" fmla="*/ 1629382 h 1887165"/>
              <a:gd name="connsiteX28" fmla="*/ 943583 w 6819090"/>
              <a:gd name="connsiteY28" fmla="*/ 1624518 h 1887165"/>
              <a:gd name="connsiteX29" fmla="*/ 972766 w 6819090"/>
              <a:gd name="connsiteY29" fmla="*/ 1614790 h 1887165"/>
              <a:gd name="connsiteX30" fmla="*/ 1011677 w 6819090"/>
              <a:gd name="connsiteY30" fmla="*/ 1580744 h 1887165"/>
              <a:gd name="connsiteX31" fmla="*/ 1045723 w 6819090"/>
              <a:gd name="connsiteY31" fmla="*/ 1571016 h 1887165"/>
              <a:gd name="connsiteX32" fmla="*/ 1079770 w 6819090"/>
              <a:gd name="connsiteY32" fmla="*/ 1566152 h 1887165"/>
              <a:gd name="connsiteX33" fmla="*/ 1123545 w 6819090"/>
              <a:gd name="connsiteY33" fmla="*/ 1551561 h 1887165"/>
              <a:gd name="connsiteX34" fmla="*/ 1157591 w 6819090"/>
              <a:gd name="connsiteY34" fmla="*/ 1541833 h 1887165"/>
              <a:gd name="connsiteX35" fmla="*/ 1282792 w 6819090"/>
              <a:gd name="connsiteY35" fmla="*/ 1519955 h 1887165"/>
              <a:gd name="connsiteX36" fmla="*/ 1254888 w 6819090"/>
              <a:gd name="connsiteY36" fmla="*/ 1522378 h 1887165"/>
              <a:gd name="connsiteX37" fmla="*/ 1318098 w 6819090"/>
              <a:gd name="connsiteY37" fmla="*/ 1507786 h 1887165"/>
              <a:gd name="connsiteX38" fmla="*/ 1347281 w 6819090"/>
              <a:gd name="connsiteY38" fmla="*/ 1502922 h 1887165"/>
              <a:gd name="connsiteX39" fmla="*/ 1371600 w 6819090"/>
              <a:gd name="connsiteY39" fmla="*/ 1498058 h 1887165"/>
              <a:gd name="connsiteX40" fmla="*/ 1391055 w 6819090"/>
              <a:gd name="connsiteY40" fmla="*/ 1493195 h 1887165"/>
              <a:gd name="connsiteX41" fmla="*/ 1420238 w 6819090"/>
              <a:gd name="connsiteY41" fmla="*/ 1488331 h 1887165"/>
              <a:gd name="connsiteX42" fmla="*/ 1449421 w 6819090"/>
              <a:gd name="connsiteY42" fmla="*/ 1478603 h 1887165"/>
              <a:gd name="connsiteX43" fmla="*/ 1464013 w 6819090"/>
              <a:gd name="connsiteY43" fmla="*/ 1473739 h 1887165"/>
              <a:gd name="connsiteX44" fmla="*/ 1478604 w 6819090"/>
              <a:gd name="connsiteY44" fmla="*/ 1468875 h 1887165"/>
              <a:gd name="connsiteX45" fmla="*/ 1502923 w 6819090"/>
              <a:gd name="connsiteY45" fmla="*/ 1464012 h 1887165"/>
              <a:gd name="connsiteX46" fmla="*/ 1532106 w 6819090"/>
              <a:gd name="connsiteY46" fmla="*/ 1454284 h 1887165"/>
              <a:gd name="connsiteX47" fmla="*/ 1566153 w 6819090"/>
              <a:gd name="connsiteY47" fmla="*/ 1449420 h 1887165"/>
              <a:gd name="connsiteX48" fmla="*/ 1580745 w 6819090"/>
              <a:gd name="connsiteY48" fmla="*/ 1444556 h 1887165"/>
              <a:gd name="connsiteX49" fmla="*/ 1600200 w 6819090"/>
              <a:gd name="connsiteY49" fmla="*/ 1434829 h 1887165"/>
              <a:gd name="connsiteX50" fmla="*/ 1639111 w 6819090"/>
              <a:gd name="connsiteY50" fmla="*/ 1429965 h 1887165"/>
              <a:gd name="connsiteX51" fmla="*/ 1663430 w 6819090"/>
              <a:gd name="connsiteY51" fmla="*/ 1425101 h 1887165"/>
              <a:gd name="connsiteX52" fmla="*/ 1678021 w 6819090"/>
              <a:gd name="connsiteY52" fmla="*/ 1420237 h 1887165"/>
              <a:gd name="connsiteX53" fmla="*/ 1692613 w 6819090"/>
              <a:gd name="connsiteY53" fmla="*/ 1410510 h 1887165"/>
              <a:gd name="connsiteX54" fmla="*/ 1707204 w 6819090"/>
              <a:gd name="connsiteY54" fmla="*/ 1405646 h 1887165"/>
              <a:gd name="connsiteX55" fmla="*/ 1721796 w 6819090"/>
              <a:gd name="connsiteY55" fmla="*/ 1395918 h 1887165"/>
              <a:gd name="connsiteX56" fmla="*/ 1746115 w 6819090"/>
              <a:gd name="connsiteY56" fmla="*/ 1391054 h 1887165"/>
              <a:gd name="connsiteX57" fmla="*/ 1760706 w 6819090"/>
              <a:gd name="connsiteY57" fmla="*/ 1381327 h 1887165"/>
              <a:gd name="connsiteX58" fmla="*/ 1833664 w 6819090"/>
              <a:gd name="connsiteY58" fmla="*/ 1366735 h 1887165"/>
              <a:gd name="connsiteX59" fmla="*/ 1853119 w 6819090"/>
              <a:gd name="connsiteY59" fmla="*/ 1361871 h 1887165"/>
              <a:gd name="connsiteX60" fmla="*/ 1882302 w 6819090"/>
              <a:gd name="connsiteY60" fmla="*/ 1357007 h 1887165"/>
              <a:gd name="connsiteX61" fmla="*/ 1911485 w 6819090"/>
              <a:gd name="connsiteY61" fmla="*/ 1337552 h 1887165"/>
              <a:gd name="connsiteX62" fmla="*/ 1964987 w 6819090"/>
              <a:gd name="connsiteY62" fmla="*/ 1327824 h 1887165"/>
              <a:gd name="connsiteX63" fmla="*/ 1994170 w 6819090"/>
              <a:gd name="connsiteY63" fmla="*/ 1318097 h 1887165"/>
              <a:gd name="connsiteX64" fmla="*/ 2042809 w 6819090"/>
              <a:gd name="connsiteY64" fmla="*/ 1298641 h 1887165"/>
              <a:gd name="connsiteX65" fmla="*/ 2057400 w 6819090"/>
              <a:gd name="connsiteY65" fmla="*/ 1293778 h 1887165"/>
              <a:gd name="connsiteX66" fmla="*/ 2110902 w 6819090"/>
              <a:gd name="connsiteY66" fmla="*/ 1288914 h 1887165"/>
              <a:gd name="connsiteX67" fmla="*/ 2135221 w 6819090"/>
              <a:gd name="connsiteY67" fmla="*/ 1284050 h 1887165"/>
              <a:gd name="connsiteX68" fmla="*/ 2178996 w 6819090"/>
              <a:gd name="connsiteY68" fmla="*/ 1279186 h 1887165"/>
              <a:gd name="connsiteX69" fmla="*/ 2193587 w 6819090"/>
              <a:gd name="connsiteY69" fmla="*/ 1274322 h 1887165"/>
              <a:gd name="connsiteX70" fmla="*/ 2213043 w 6819090"/>
              <a:gd name="connsiteY70" fmla="*/ 1269458 h 1887165"/>
              <a:gd name="connsiteX71" fmla="*/ 2242226 w 6819090"/>
              <a:gd name="connsiteY71" fmla="*/ 1259731 h 1887165"/>
              <a:gd name="connsiteX72" fmla="*/ 2256817 w 6819090"/>
              <a:gd name="connsiteY72" fmla="*/ 1254867 h 1887165"/>
              <a:gd name="connsiteX73" fmla="*/ 2286000 w 6819090"/>
              <a:gd name="connsiteY73" fmla="*/ 1235412 h 1887165"/>
              <a:gd name="connsiteX74" fmla="*/ 2300591 w 6819090"/>
              <a:gd name="connsiteY74" fmla="*/ 1230548 h 1887165"/>
              <a:gd name="connsiteX75" fmla="*/ 2315183 w 6819090"/>
              <a:gd name="connsiteY75" fmla="*/ 1220820 h 1887165"/>
              <a:gd name="connsiteX76" fmla="*/ 2344366 w 6819090"/>
              <a:gd name="connsiteY76" fmla="*/ 1211092 h 1887165"/>
              <a:gd name="connsiteX77" fmla="*/ 2358957 w 6819090"/>
              <a:gd name="connsiteY77" fmla="*/ 1206229 h 1887165"/>
              <a:gd name="connsiteX78" fmla="*/ 2373549 w 6819090"/>
              <a:gd name="connsiteY78" fmla="*/ 1201365 h 1887165"/>
              <a:gd name="connsiteX79" fmla="*/ 2393004 w 6819090"/>
              <a:gd name="connsiteY79" fmla="*/ 1196501 h 1887165"/>
              <a:gd name="connsiteX80" fmla="*/ 2417323 w 6819090"/>
              <a:gd name="connsiteY80" fmla="*/ 1191637 h 1887165"/>
              <a:gd name="connsiteX81" fmla="*/ 2451370 w 6819090"/>
              <a:gd name="connsiteY81" fmla="*/ 1181910 h 1887165"/>
              <a:gd name="connsiteX82" fmla="*/ 2490281 w 6819090"/>
              <a:gd name="connsiteY82" fmla="*/ 1177046 h 1887165"/>
              <a:gd name="connsiteX83" fmla="*/ 2504872 w 6819090"/>
              <a:gd name="connsiteY83" fmla="*/ 1172182 h 1887165"/>
              <a:gd name="connsiteX84" fmla="*/ 2553511 w 6819090"/>
              <a:gd name="connsiteY84" fmla="*/ 1162454 h 1887165"/>
              <a:gd name="connsiteX85" fmla="*/ 2582694 w 6819090"/>
              <a:gd name="connsiteY85" fmla="*/ 1152727 h 1887165"/>
              <a:gd name="connsiteX86" fmla="*/ 2597285 w 6819090"/>
              <a:gd name="connsiteY86" fmla="*/ 1147863 h 1887165"/>
              <a:gd name="connsiteX87" fmla="*/ 2636196 w 6819090"/>
              <a:gd name="connsiteY87" fmla="*/ 1138135 h 1887165"/>
              <a:gd name="connsiteX88" fmla="*/ 2660515 w 6819090"/>
              <a:gd name="connsiteY88" fmla="*/ 1133271 h 1887165"/>
              <a:gd name="connsiteX89" fmla="*/ 2699426 w 6819090"/>
              <a:gd name="connsiteY89" fmla="*/ 1128407 h 1887165"/>
              <a:gd name="connsiteX90" fmla="*/ 2728609 w 6819090"/>
              <a:gd name="connsiteY90" fmla="*/ 1110163 h 1887165"/>
              <a:gd name="connsiteX91" fmla="*/ 2821021 w 6819090"/>
              <a:gd name="connsiteY91" fmla="*/ 1099224 h 1887165"/>
              <a:gd name="connsiteX92" fmla="*/ 2884251 w 6819090"/>
              <a:gd name="connsiteY92" fmla="*/ 1089497 h 1887165"/>
              <a:gd name="connsiteX93" fmla="*/ 2898843 w 6819090"/>
              <a:gd name="connsiteY93" fmla="*/ 1084633 h 1887165"/>
              <a:gd name="connsiteX94" fmla="*/ 2928026 w 6819090"/>
              <a:gd name="connsiteY94" fmla="*/ 1079769 h 1887165"/>
              <a:gd name="connsiteX95" fmla="*/ 2971800 w 6819090"/>
              <a:gd name="connsiteY95" fmla="*/ 1065178 h 1887165"/>
              <a:gd name="connsiteX96" fmla="*/ 2986391 w 6819090"/>
              <a:gd name="connsiteY96" fmla="*/ 1060314 h 1887165"/>
              <a:gd name="connsiteX97" fmla="*/ 3000983 w 6819090"/>
              <a:gd name="connsiteY97" fmla="*/ 1055450 h 1887165"/>
              <a:gd name="connsiteX98" fmla="*/ 3093396 w 6819090"/>
              <a:gd name="connsiteY98" fmla="*/ 1040858 h 1887165"/>
              <a:gd name="connsiteX99" fmla="*/ 3107987 w 6819090"/>
              <a:gd name="connsiteY99" fmla="*/ 1031131 h 1887165"/>
              <a:gd name="connsiteX100" fmla="*/ 3170542 w 6819090"/>
              <a:gd name="connsiteY100" fmla="*/ 1030000 h 1887165"/>
              <a:gd name="connsiteX101" fmla="*/ 3292813 w 6819090"/>
              <a:gd name="connsiteY101" fmla="*/ 1006812 h 1887165"/>
              <a:gd name="connsiteX102" fmla="*/ 3360906 w 6819090"/>
              <a:gd name="connsiteY102" fmla="*/ 992220 h 1887165"/>
              <a:gd name="connsiteX103" fmla="*/ 3390089 w 6819090"/>
              <a:gd name="connsiteY103" fmla="*/ 987356 h 1887165"/>
              <a:gd name="connsiteX104" fmla="*/ 3404681 w 6819090"/>
              <a:gd name="connsiteY104" fmla="*/ 982492 h 1887165"/>
              <a:gd name="connsiteX105" fmla="*/ 3443591 w 6819090"/>
              <a:gd name="connsiteY105" fmla="*/ 972765 h 1887165"/>
              <a:gd name="connsiteX106" fmla="*/ 3458183 w 6819090"/>
              <a:gd name="connsiteY106" fmla="*/ 967901 h 1887165"/>
              <a:gd name="connsiteX107" fmla="*/ 3525940 w 6819090"/>
              <a:gd name="connsiteY107" fmla="*/ 970502 h 1887165"/>
              <a:gd name="connsiteX108" fmla="*/ 3562925 w 6819090"/>
              <a:gd name="connsiteY108" fmla="*/ 942113 h 1887165"/>
              <a:gd name="connsiteX109" fmla="*/ 3589506 w 6819090"/>
              <a:gd name="connsiteY109" fmla="*/ 943582 h 1887165"/>
              <a:gd name="connsiteX110" fmla="*/ 3638145 w 6819090"/>
              <a:gd name="connsiteY110" fmla="*/ 933854 h 1887165"/>
              <a:gd name="connsiteX111" fmla="*/ 3686783 w 6819090"/>
              <a:gd name="connsiteY111" fmla="*/ 919263 h 1887165"/>
              <a:gd name="connsiteX112" fmla="*/ 3701374 w 6819090"/>
              <a:gd name="connsiteY112" fmla="*/ 914399 h 1887165"/>
              <a:gd name="connsiteX113" fmla="*/ 3730557 w 6819090"/>
              <a:gd name="connsiteY113" fmla="*/ 909535 h 1887165"/>
              <a:gd name="connsiteX114" fmla="*/ 3813243 w 6819090"/>
              <a:gd name="connsiteY114" fmla="*/ 899807 h 1887165"/>
              <a:gd name="connsiteX115" fmla="*/ 3852153 w 6819090"/>
              <a:gd name="connsiteY115" fmla="*/ 894944 h 1887165"/>
              <a:gd name="connsiteX116" fmla="*/ 3895928 w 6819090"/>
              <a:gd name="connsiteY116" fmla="*/ 880352 h 1887165"/>
              <a:gd name="connsiteX117" fmla="*/ 3925111 w 6819090"/>
              <a:gd name="connsiteY117" fmla="*/ 870624 h 1887165"/>
              <a:gd name="connsiteX118" fmla="*/ 3959157 w 6819090"/>
              <a:gd name="connsiteY118" fmla="*/ 865761 h 1887165"/>
              <a:gd name="connsiteX119" fmla="*/ 3983477 w 6819090"/>
              <a:gd name="connsiteY119" fmla="*/ 860897 h 1887165"/>
              <a:gd name="connsiteX120" fmla="*/ 4027251 w 6819090"/>
              <a:gd name="connsiteY120" fmla="*/ 856033 h 1887165"/>
              <a:gd name="connsiteX121" fmla="*/ 4061298 w 6819090"/>
              <a:gd name="connsiteY121" fmla="*/ 851169 h 1887165"/>
              <a:gd name="connsiteX122" fmla="*/ 4095345 w 6819090"/>
              <a:gd name="connsiteY122" fmla="*/ 841441 h 1887165"/>
              <a:gd name="connsiteX123" fmla="*/ 4114462 w 6819090"/>
              <a:gd name="connsiteY123" fmla="*/ 836578 h 1887165"/>
              <a:gd name="connsiteX124" fmla="*/ 4147377 w 6819090"/>
              <a:gd name="connsiteY124" fmla="*/ 819385 h 1887165"/>
              <a:gd name="connsiteX125" fmla="*/ 4217278 w 6819090"/>
              <a:gd name="connsiteY125" fmla="*/ 802531 h 1887165"/>
              <a:gd name="connsiteX126" fmla="*/ 4275306 w 6819090"/>
              <a:gd name="connsiteY126" fmla="*/ 797667 h 1887165"/>
              <a:gd name="connsiteX127" fmla="*/ 4304489 w 6819090"/>
              <a:gd name="connsiteY127" fmla="*/ 787939 h 1887165"/>
              <a:gd name="connsiteX128" fmla="*/ 4319081 w 6819090"/>
              <a:gd name="connsiteY128" fmla="*/ 783075 h 1887165"/>
              <a:gd name="connsiteX129" fmla="*/ 4353128 w 6819090"/>
              <a:gd name="connsiteY129" fmla="*/ 778212 h 1887165"/>
              <a:gd name="connsiteX130" fmla="*/ 4377447 w 6819090"/>
              <a:gd name="connsiteY130" fmla="*/ 773348 h 1887165"/>
              <a:gd name="connsiteX131" fmla="*/ 4411494 w 6819090"/>
              <a:gd name="connsiteY131" fmla="*/ 768484 h 1887165"/>
              <a:gd name="connsiteX132" fmla="*/ 4426085 w 6819090"/>
              <a:gd name="connsiteY132" fmla="*/ 763620 h 1887165"/>
              <a:gd name="connsiteX133" fmla="*/ 4508770 w 6819090"/>
              <a:gd name="connsiteY133" fmla="*/ 753892 h 1887165"/>
              <a:gd name="connsiteX134" fmla="*/ 4537953 w 6819090"/>
              <a:gd name="connsiteY134" fmla="*/ 744165 h 1887165"/>
              <a:gd name="connsiteX135" fmla="*/ 4552545 w 6819090"/>
              <a:gd name="connsiteY135" fmla="*/ 729573 h 1887165"/>
              <a:gd name="connsiteX136" fmla="*/ 4567136 w 6819090"/>
              <a:gd name="connsiteY136" fmla="*/ 724710 h 1887165"/>
              <a:gd name="connsiteX137" fmla="*/ 4581728 w 6819090"/>
              <a:gd name="connsiteY137" fmla="*/ 714982 h 1887165"/>
              <a:gd name="connsiteX138" fmla="*/ 4596319 w 6819090"/>
              <a:gd name="connsiteY138" fmla="*/ 710118 h 1887165"/>
              <a:gd name="connsiteX139" fmla="*/ 4610911 w 6819090"/>
              <a:gd name="connsiteY139" fmla="*/ 700390 h 1887165"/>
              <a:gd name="connsiteX140" fmla="*/ 4630366 w 6819090"/>
              <a:gd name="connsiteY140" fmla="*/ 684330 h 1887165"/>
              <a:gd name="connsiteX141" fmla="*/ 4659549 w 6819090"/>
              <a:gd name="connsiteY141" fmla="*/ 685799 h 1887165"/>
              <a:gd name="connsiteX142" fmla="*/ 4674140 w 6819090"/>
              <a:gd name="connsiteY142" fmla="*/ 680935 h 1887165"/>
              <a:gd name="connsiteX143" fmla="*/ 4732506 w 6819090"/>
              <a:gd name="connsiteY143" fmla="*/ 671207 h 1887165"/>
              <a:gd name="connsiteX144" fmla="*/ 4781145 w 6819090"/>
              <a:gd name="connsiteY144" fmla="*/ 656616 h 1887165"/>
              <a:gd name="connsiteX145" fmla="*/ 4810328 w 6819090"/>
              <a:gd name="connsiteY145" fmla="*/ 651752 h 1887165"/>
              <a:gd name="connsiteX146" fmla="*/ 4824919 w 6819090"/>
              <a:gd name="connsiteY146" fmla="*/ 646888 h 1887165"/>
              <a:gd name="connsiteX147" fmla="*/ 4849238 w 6819090"/>
              <a:gd name="connsiteY147" fmla="*/ 642024 h 1887165"/>
              <a:gd name="connsiteX148" fmla="*/ 4883285 w 6819090"/>
              <a:gd name="connsiteY148" fmla="*/ 627433 h 1887165"/>
              <a:gd name="connsiteX149" fmla="*/ 5000017 w 6819090"/>
              <a:gd name="connsiteY149" fmla="*/ 617705 h 1887165"/>
              <a:gd name="connsiteX150" fmla="*/ 5014609 w 6819090"/>
              <a:gd name="connsiteY150" fmla="*/ 603114 h 1887165"/>
              <a:gd name="connsiteX151" fmla="*/ 5029200 w 6819090"/>
              <a:gd name="connsiteY151" fmla="*/ 598250 h 1887165"/>
              <a:gd name="connsiteX152" fmla="*/ 5102157 w 6819090"/>
              <a:gd name="connsiteY152" fmla="*/ 588522 h 1887165"/>
              <a:gd name="connsiteX153" fmla="*/ 5136204 w 6819090"/>
              <a:gd name="connsiteY153" fmla="*/ 573931 h 1887165"/>
              <a:gd name="connsiteX154" fmla="*/ 5170251 w 6819090"/>
              <a:gd name="connsiteY154" fmla="*/ 564203 h 1887165"/>
              <a:gd name="connsiteX155" fmla="*/ 5184843 w 6819090"/>
              <a:gd name="connsiteY155" fmla="*/ 559339 h 1887165"/>
              <a:gd name="connsiteX156" fmla="*/ 5214026 w 6819090"/>
              <a:gd name="connsiteY156" fmla="*/ 539884 h 1887165"/>
              <a:gd name="connsiteX157" fmla="*/ 5228617 w 6819090"/>
              <a:gd name="connsiteY157" fmla="*/ 535020 h 1887165"/>
              <a:gd name="connsiteX158" fmla="*/ 5257800 w 6819090"/>
              <a:gd name="connsiteY158" fmla="*/ 520429 h 1887165"/>
              <a:gd name="connsiteX159" fmla="*/ 5335621 w 6819090"/>
              <a:gd name="connsiteY159" fmla="*/ 515565 h 1887165"/>
              <a:gd name="connsiteX160" fmla="*/ 5398851 w 6819090"/>
              <a:gd name="connsiteY160" fmla="*/ 510701 h 1887165"/>
              <a:gd name="connsiteX161" fmla="*/ 5447489 w 6819090"/>
              <a:gd name="connsiteY161" fmla="*/ 500973 h 1887165"/>
              <a:gd name="connsiteX162" fmla="*/ 5481536 w 6819090"/>
              <a:gd name="connsiteY162" fmla="*/ 491246 h 1887165"/>
              <a:gd name="connsiteX163" fmla="*/ 5496128 w 6819090"/>
              <a:gd name="connsiteY163" fmla="*/ 486382 h 1887165"/>
              <a:gd name="connsiteX164" fmla="*/ 5535038 w 6819090"/>
              <a:gd name="connsiteY164" fmla="*/ 481518 h 1887165"/>
              <a:gd name="connsiteX165" fmla="*/ 5622587 w 6819090"/>
              <a:gd name="connsiteY165" fmla="*/ 471790 h 1887165"/>
              <a:gd name="connsiteX166" fmla="*/ 5651770 w 6819090"/>
              <a:gd name="connsiteY166" fmla="*/ 462063 h 1887165"/>
              <a:gd name="connsiteX167" fmla="*/ 5666362 w 6819090"/>
              <a:gd name="connsiteY167" fmla="*/ 457199 h 1887165"/>
              <a:gd name="connsiteX168" fmla="*/ 5700409 w 6819090"/>
              <a:gd name="connsiteY168" fmla="*/ 447471 h 1887165"/>
              <a:gd name="connsiteX169" fmla="*/ 5719864 w 6819090"/>
              <a:gd name="connsiteY169" fmla="*/ 432880 h 1887165"/>
              <a:gd name="connsiteX170" fmla="*/ 5749047 w 6819090"/>
              <a:gd name="connsiteY170" fmla="*/ 423152 h 1887165"/>
              <a:gd name="connsiteX171" fmla="*/ 5802549 w 6819090"/>
              <a:gd name="connsiteY171" fmla="*/ 413424 h 1887165"/>
              <a:gd name="connsiteX172" fmla="*/ 5890098 w 6819090"/>
              <a:gd name="connsiteY172" fmla="*/ 408561 h 1887165"/>
              <a:gd name="connsiteX173" fmla="*/ 5933872 w 6819090"/>
              <a:gd name="connsiteY173" fmla="*/ 398833 h 1887165"/>
              <a:gd name="connsiteX174" fmla="*/ 5963055 w 6819090"/>
              <a:gd name="connsiteY174" fmla="*/ 389105 h 1887165"/>
              <a:gd name="connsiteX175" fmla="*/ 5977647 w 6819090"/>
              <a:gd name="connsiteY175" fmla="*/ 384241 h 1887165"/>
              <a:gd name="connsiteX176" fmla="*/ 6006830 w 6819090"/>
              <a:gd name="connsiteY176" fmla="*/ 379378 h 1887165"/>
              <a:gd name="connsiteX177" fmla="*/ 6055468 w 6819090"/>
              <a:gd name="connsiteY177" fmla="*/ 369650 h 1887165"/>
              <a:gd name="connsiteX178" fmla="*/ 6254885 w 6819090"/>
              <a:gd name="connsiteY178" fmla="*/ 364786 h 1887165"/>
              <a:gd name="connsiteX179" fmla="*/ 6269477 w 6819090"/>
              <a:gd name="connsiteY179" fmla="*/ 359922 h 1887165"/>
              <a:gd name="connsiteX180" fmla="*/ 6303523 w 6819090"/>
              <a:gd name="connsiteY180" fmla="*/ 316148 h 1887165"/>
              <a:gd name="connsiteX181" fmla="*/ 6322979 w 6819090"/>
              <a:gd name="connsiteY181" fmla="*/ 306420 h 1887165"/>
              <a:gd name="connsiteX182" fmla="*/ 6391072 w 6819090"/>
              <a:gd name="connsiteY182" fmla="*/ 291829 h 1887165"/>
              <a:gd name="connsiteX183" fmla="*/ 6405664 w 6819090"/>
              <a:gd name="connsiteY183" fmla="*/ 286965 h 1887165"/>
              <a:gd name="connsiteX184" fmla="*/ 6434847 w 6819090"/>
              <a:gd name="connsiteY184" fmla="*/ 282101 h 1887165"/>
              <a:gd name="connsiteX185" fmla="*/ 6449438 w 6819090"/>
              <a:gd name="connsiteY185" fmla="*/ 272373 h 1887165"/>
              <a:gd name="connsiteX186" fmla="*/ 6473757 w 6819090"/>
              <a:gd name="connsiteY186" fmla="*/ 267510 h 1887165"/>
              <a:gd name="connsiteX187" fmla="*/ 6478621 w 6819090"/>
              <a:gd name="connsiteY187" fmla="*/ 252918 h 1887165"/>
              <a:gd name="connsiteX188" fmla="*/ 6561306 w 6819090"/>
              <a:gd name="connsiteY188" fmla="*/ 238327 h 1887165"/>
              <a:gd name="connsiteX189" fmla="*/ 6566170 w 6819090"/>
              <a:gd name="connsiteY189" fmla="*/ 223735 h 1887165"/>
              <a:gd name="connsiteX190" fmla="*/ 6580762 w 6819090"/>
              <a:gd name="connsiteY190" fmla="*/ 214007 h 1887165"/>
              <a:gd name="connsiteX191" fmla="*/ 6731540 w 6819090"/>
              <a:gd name="connsiteY191" fmla="*/ 209144 h 1887165"/>
              <a:gd name="connsiteX192" fmla="*/ 6750996 w 6819090"/>
              <a:gd name="connsiteY192" fmla="*/ 204280 h 1887165"/>
              <a:gd name="connsiteX193" fmla="*/ 6760723 w 6819090"/>
              <a:gd name="connsiteY193" fmla="*/ 175097 h 1887165"/>
              <a:gd name="connsiteX194" fmla="*/ 6765587 w 6819090"/>
              <a:gd name="connsiteY194" fmla="*/ 136186 h 1887165"/>
              <a:gd name="connsiteX195" fmla="*/ 6809362 w 6819090"/>
              <a:gd name="connsiteY195" fmla="*/ 121595 h 1887165"/>
              <a:gd name="connsiteX196" fmla="*/ 6814226 w 6819090"/>
              <a:gd name="connsiteY196" fmla="*/ 107003 h 1887165"/>
              <a:gd name="connsiteX197" fmla="*/ 6819089 w 6819090"/>
              <a:gd name="connsiteY197" fmla="*/ 43773 h 1887165"/>
              <a:gd name="connsiteX198" fmla="*/ 6814225 w 6819090"/>
              <a:gd name="connsiteY198" fmla="*/ 43773 h 1887165"/>
              <a:gd name="connsiteX199" fmla="*/ 6819090 w 6819090"/>
              <a:gd name="connsiteY199" fmla="*/ 0 h 1887165"/>
              <a:gd name="connsiteX0" fmla="*/ 0 w 6822246"/>
              <a:gd name="connsiteY0" fmla="*/ 1887165 h 1887165"/>
              <a:gd name="connsiteX1" fmla="*/ 38911 w 6822246"/>
              <a:gd name="connsiteY1" fmla="*/ 1872573 h 1887165"/>
              <a:gd name="connsiteX2" fmla="*/ 72957 w 6822246"/>
              <a:gd name="connsiteY2" fmla="*/ 1862846 h 1887165"/>
              <a:gd name="connsiteX3" fmla="*/ 102140 w 6822246"/>
              <a:gd name="connsiteY3" fmla="*/ 1843390 h 1887165"/>
              <a:gd name="connsiteX4" fmla="*/ 141051 w 6822246"/>
              <a:gd name="connsiteY4" fmla="*/ 1833663 h 1887165"/>
              <a:gd name="connsiteX5" fmla="*/ 160506 w 6822246"/>
              <a:gd name="connsiteY5" fmla="*/ 1828799 h 1887165"/>
              <a:gd name="connsiteX6" fmla="*/ 189689 w 6822246"/>
              <a:gd name="connsiteY6" fmla="*/ 1814207 h 1887165"/>
              <a:gd name="connsiteX7" fmla="*/ 209145 w 6822246"/>
              <a:gd name="connsiteY7" fmla="*/ 1804480 h 1887165"/>
              <a:gd name="connsiteX8" fmla="*/ 223736 w 6822246"/>
              <a:gd name="connsiteY8" fmla="*/ 1799616 h 1887165"/>
              <a:gd name="connsiteX9" fmla="*/ 245792 w 6822246"/>
              <a:gd name="connsiteY9" fmla="*/ 1789888 h 1887165"/>
              <a:gd name="connsiteX10" fmla="*/ 296694 w 6822246"/>
              <a:gd name="connsiteY10" fmla="*/ 1775297 h 1887165"/>
              <a:gd name="connsiteX11" fmla="*/ 330740 w 6822246"/>
              <a:gd name="connsiteY11" fmla="*/ 1770433 h 1887165"/>
              <a:gd name="connsiteX12" fmla="*/ 379379 w 6822246"/>
              <a:gd name="connsiteY12" fmla="*/ 1755841 h 1887165"/>
              <a:gd name="connsiteX13" fmla="*/ 408562 w 6822246"/>
              <a:gd name="connsiteY13" fmla="*/ 1750978 h 1887165"/>
              <a:gd name="connsiteX14" fmla="*/ 428017 w 6822246"/>
              <a:gd name="connsiteY14" fmla="*/ 1741250 h 1887165"/>
              <a:gd name="connsiteX15" fmla="*/ 457200 w 6822246"/>
              <a:gd name="connsiteY15" fmla="*/ 1731522 h 1887165"/>
              <a:gd name="connsiteX16" fmla="*/ 486383 w 6822246"/>
              <a:gd name="connsiteY16" fmla="*/ 1721795 h 1887165"/>
              <a:gd name="connsiteX17" fmla="*/ 530157 w 6822246"/>
              <a:gd name="connsiteY17" fmla="*/ 1707203 h 1887165"/>
              <a:gd name="connsiteX18" fmla="*/ 544749 w 6822246"/>
              <a:gd name="connsiteY18" fmla="*/ 1702339 h 1887165"/>
              <a:gd name="connsiteX19" fmla="*/ 559340 w 6822246"/>
              <a:gd name="connsiteY19" fmla="*/ 1697475 h 1887165"/>
              <a:gd name="connsiteX20" fmla="*/ 578796 w 6822246"/>
              <a:gd name="connsiteY20" fmla="*/ 1692612 h 1887165"/>
              <a:gd name="connsiteX21" fmla="*/ 607959 w 6822246"/>
              <a:gd name="connsiteY21" fmla="*/ 1690170 h 1887165"/>
              <a:gd name="connsiteX22" fmla="*/ 661481 w 6822246"/>
              <a:gd name="connsiteY22" fmla="*/ 1668292 h 1887165"/>
              <a:gd name="connsiteX23" fmla="*/ 685800 w 6822246"/>
              <a:gd name="connsiteY23" fmla="*/ 1663429 h 1887165"/>
              <a:gd name="connsiteX24" fmla="*/ 753894 w 6822246"/>
              <a:gd name="connsiteY24" fmla="*/ 1658565 h 1887165"/>
              <a:gd name="connsiteX25" fmla="*/ 851170 w 6822246"/>
              <a:gd name="connsiteY25" fmla="*/ 1643973 h 1887165"/>
              <a:gd name="connsiteX26" fmla="*/ 880353 w 6822246"/>
              <a:gd name="connsiteY26" fmla="*/ 1634246 h 1887165"/>
              <a:gd name="connsiteX27" fmla="*/ 894945 w 6822246"/>
              <a:gd name="connsiteY27" fmla="*/ 1629382 h 1887165"/>
              <a:gd name="connsiteX28" fmla="*/ 943583 w 6822246"/>
              <a:gd name="connsiteY28" fmla="*/ 1624518 h 1887165"/>
              <a:gd name="connsiteX29" fmla="*/ 972766 w 6822246"/>
              <a:gd name="connsiteY29" fmla="*/ 1614790 h 1887165"/>
              <a:gd name="connsiteX30" fmla="*/ 1011677 w 6822246"/>
              <a:gd name="connsiteY30" fmla="*/ 1580744 h 1887165"/>
              <a:gd name="connsiteX31" fmla="*/ 1045723 w 6822246"/>
              <a:gd name="connsiteY31" fmla="*/ 1571016 h 1887165"/>
              <a:gd name="connsiteX32" fmla="*/ 1079770 w 6822246"/>
              <a:gd name="connsiteY32" fmla="*/ 1566152 h 1887165"/>
              <a:gd name="connsiteX33" fmla="*/ 1123545 w 6822246"/>
              <a:gd name="connsiteY33" fmla="*/ 1551561 h 1887165"/>
              <a:gd name="connsiteX34" fmla="*/ 1157591 w 6822246"/>
              <a:gd name="connsiteY34" fmla="*/ 1541833 h 1887165"/>
              <a:gd name="connsiteX35" fmla="*/ 1282792 w 6822246"/>
              <a:gd name="connsiteY35" fmla="*/ 1519955 h 1887165"/>
              <a:gd name="connsiteX36" fmla="*/ 1254888 w 6822246"/>
              <a:gd name="connsiteY36" fmla="*/ 1522378 h 1887165"/>
              <a:gd name="connsiteX37" fmla="*/ 1318098 w 6822246"/>
              <a:gd name="connsiteY37" fmla="*/ 1507786 h 1887165"/>
              <a:gd name="connsiteX38" fmla="*/ 1347281 w 6822246"/>
              <a:gd name="connsiteY38" fmla="*/ 1502922 h 1887165"/>
              <a:gd name="connsiteX39" fmla="*/ 1371600 w 6822246"/>
              <a:gd name="connsiteY39" fmla="*/ 1498058 h 1887165"/>
              <a:gd name="connsiteX40" fmla="*/ 1391055 w 6822246"/>
              <a:gd name="connsiteY40" fmla="*/ 1493195 h 1887165"/>
              <a:gd name="connsiteX41" fmla="*/ 1420238 w 6822246"/>
              <a:gd name="connsiteY41" fmla="*/ 1488331 h 1887165"/>
              <a:gd name="connsiteX42" fmla="*/ 1449421 w 6822246"/>
              <a:gd name="connsiteY42" fmla="*/ 1478603 h 1887165"/>
              <a:gd name="connsiteX43" fmla="*/ 1464013 w 6822246"/>
              <a:gd name="connsiteY43" fmla="*/ 1473739 h 1887165"/>
              <a:gd name="connsiteX44" fmla="*/ 1478604 w 6822246"/>
              <a:gd name="connsiteY44" fmla="*/ 1468875 h 1887165"/>
              <a:gd name="connsiteX45" fmla="*/ 1502923 w 6822246"/>
              <a:gd name="connsiteY45" fmla="*/ 1464012 h 1887165"/>
              <a:gd name="connsiteX46" fmla="*/ 1532106 w 6822246"/>
              <a:gd name="connsiteY46" fmla="*/ 1454284 h 1887165"/>
              <a:gd name="connsiteX47" fmla="*/ 1566153 w 6822246"/>
              <a:gd name="connsiteY47" fmla="*/ 1449420 h 1887165"/>
              <a:gd name="connsiteX48" fmla="*/ 1580745 w 6822246"/>
              <a:gd name="connsiteY48" fmla="*/ 1444556 h 1887165"/>
              <a:gd name="connsiteX49" fmla="*/ 1600200 w 6822246"/>
              <a:gd name="connsiteY49" fmla="*/ 1434829 h 1887165"/>
              <a:gd name="connsiteX50" fmla="*/ 1639111 w 6822246"/>
              <a:gd name="connsiteY50" fmla="*/ 1429965 h 1887165"/>
              <a:gd name="connsiteX51" fmla="*/ 1663430 w 6822246"/>
              <a:gd name="connsiteY51" fmla="*/ 1425101 h 1887165"/>
              <a:gd name="connsiteX52" fmla="*/ 1678021 w 6822246"/>
              <a:gd name="connsiteY52" fmla="*/ 1420237 h 1887165"/>
              <a:gd name="connsiteX53" fmla="*/ 1692613 w 6822246"/>
              <a:gd name="connsiteY53" fmla="*/ 1410510 h 1887165"/>
              <a:gd name="connsiteX54" fmla="*/ 1707204 w 6822246"/>
              <a:gd name="connsiteY54" fmla="*/ 1405646 h 1887165"/>
              <a:gd name="connsiteX55" fmla="*/ 1721796 w 6822246"/>
              <a:gd name="connsiteY55" fmla="*/ 1395918 h 1887165"/>
              <a:gd name="connsiteX56" fmla="*/ 1746115 w 6822246"/>
              <a:gd name="connsiteY56" fmla="*/ 1391054 h 1887165"/>
              <a:gd name="connsiteX57" fmla="*/ 1760706 w 6822246"/>
              <a:gd name="connsiteY57" fmla="*/ 1381327 h 1887165"/>
              <a:gd name="connsiteX58" fmla="*/ 1833664 w 6822246"/>
              <a:gd name="connsiteY58" fmla="*/ 1366735 h 1887165"/>
              <a:gd name="connsiteX59" fmla="*/ 1853119 w 6822246"/>
              <a:gd name="connsiteY59" fmla="*/ 1361871 h 1887165"/>
              <a:gd name="connsiteX60" fmla="*/ 1882302 w 6822246"/>
              <a:gd name="connsiteY60" fmla="*/ 1357007 h 1887165"/>
              <a:gd name="connsiteX61" fmla="*/ 1911485 w 6822246"/>
              <a:gd name="connsiteY61" fmla="*/ 1337552 h 1887165"/>
              <a:gd name="connsiteX62" fmla="*/ 1964987 w 6822246"/>
              <a:gd name="connsiteY62" fmla="*/ 1327824 h 1887165"/>
              <a:gd name="connsiteX63" fmla="*/ 1994170 w 6822246"/>
              <a:gd name="connsiteY63" fmla="*/ 1318097 h 1887165"/>
              <a:gd name="connsiteX64" fmla="*/ 2042809 w 6822246"/>
              <a:gd name="connsiteY64" fmla="*/ 1298641 h 1887165"/>
              <a:gd name="connsiteX65" fmla="*/ 2057400 w 6822246"/>
              <a:gd name="connsiteY65" fmla="*/ 1293778 h 1887165"/>
              <a:gd name="connsiteX66" fmla="*/ 2110902 w 6822246"/>
              <a:gd name="connsiteY66" fmla="*/ 1288914 h 1887165"/>
              <a:gd name="connsiteX67" fmla="*/ 2135221 w 6822246"/>
              <a:gd name="connsiteY67" fmla="*/ 1284050 h 1887165"/>
              <a:gd name="connsiteX68" fmla="*/ 2178996 w 6822246"/>
              <a:gd name="connsiteY68" fmla="*/ 1279186 h 1887165"/>
              <a:gd name="connsiteX69" fmla="*/ 2193587 w 6822246"/>
              <a:gd name="connsiteY69" fmla="*/ 1274322 h 1887165"/>
              <a:gd name="connsiteX70" fmla="*/ 2213043 w 6822246"/>
              <a:gd name="connsiteY70" fmla="*/ 1269458 h 1887165"/>
              <a:gd name="connsiteX71" fmla="*/ 2242226 w 6822246"/>
              <a:gd name="connsiteY71" fmla="*/ 1259731 h 1887165"/>
              <a:gd name="connsiteX72" fmla="*/ 2256817 w 6822246"/>
              <a:gd name="connsiteY72" fmla="*/ 1254867 h 1887165"/>
              <a:gd name="connsiteX73" fmla="*/ 2286000 w 6822246"/>
              <a:gd name="connsiteY73" fmla="*/ 1235412 h 1887165"/>
              <a:gd name="connsiteX74" fmla="*/ 2300591 w 6822246"/>
              <a:gd name="connsiteY74" fmla="*/ 1230548 h 1887165"/>
              <a:gd name="connsiteX75" fmla="*/ 2315183 w 6822246"/>
              <a:gd name="connsiteY75" fmla="*/ 1220820 h 1887165"/>
              <a:gd name="connsiteX76" fmla="*/ 2344366 w 6822246"/>
              <a:gd name="connsiteY76" fmla="*/ 1211092 h 1887165"/>
              <a:gd name="connsiteX77" fmla="*/ 2358957 w 6822246"/>
              <a:gd name="connsiteY77" fmla="*/ 1206229 h 1887165"/>
              <a:gd name="connsiteX78" fmla="*/ 2373549 w 6822246"/>
              <a:gd name="connsiteY78" fmla="*/ 1201365 h 1887165"/>
              <a:gd name="connsiteX79" fmla="*/ 2393004 w 6822246"/>
              <a:gd name="connsiteY79" fmla="*/ 1196501 h 1887165"/>
              <a:gd name="connsiteX80" fmla="*/ 2417323 w 6822246"/>
              <a:gd name="connsiteY80" fmla="*/ 1191637 h 1887165"/>
              <a:gd name="connsiteX81" fmla="*/ 2451370 w 6822246"/>
              <a:gd name="connsiteY81" fmla="*/ 1181910 h 1887165"/>
              <a:gd name="connsiteX82" fmla="*/ 2490281 w 6822246"/>
              <a:gd name="connsiteY82" fmla="*/ 1177046 h 1887165"/>
              <a:gd name="connsiteX83" fmla="*/ 2504872 w 6822246"/>
              <a:gd name="connsiteY83" fmla="*/ 1172182 h 1887165"/>
              <a:gd name="connsiteX84" fmla="*/ 2553511 w 6822246"/>
              <a:gd name="connsiteY84" fmla="*/ 1162454 h 1887165"/>
              <a:gd name="connsiteX85" fmla="*/ 2582694 w 6822246"/>
              <a:gd name="connsiteY85" fmla="*/ 1152727 h 1887165"/>
              <a:gd name="connsiteX86" fmla="*/ 2597285 w 6822246"/>
              <a:gd name="connsiteY86" fmla="*/ 1147863 h 1887165"/>
              <a:gd name="connsiteX87" fmla="*/ 2636196 w 6822246"/>
              <a:gd name="connsiteY87" fmla="*/ 1138135 h 1887165"/>
              <a:gd name="connsiteX88" fmla="*/ 2660515 w 6822246"/>
              <a:gd name="connsiteY88" fmla="*/ 1133271 h 1887165"/>
              <a:gd name="connsiteX89" fmla="*/ 2699426 w 6822246"/>
              <a:gd name="connsiteY89" fmla="*/ 1128407 h 1887165"/>
              <a:gd name="connsiteX90" fmla="*/ 2728609 w 6822246"/>
              <a:gd name="connsiteY90" fmla="*/ 1110163 h 1887165"/>
              <a:gd name="connsiteX91" fmla="*/ 2821021 w 6822246"/>
              <a:gd name="connsiteY91" fmla="*/ 1099224 h 1887165"/>
              <a:gd name="connsiteX92" fmla="*/ 2884251 w 6822246"/>
              <a:gd name="connsiteY92" fmla="*/ 1089497 h 1887165"/>
              <a:gd name="connsiteX93" fmla="*/ 2898843 w 6822246"/>
              <a:gd name="connsiteY93" fmla="*/ 1084633 h 1887165"/>
              <a:gd name="connsiteX94" fmla="*/ 2928026 w 6822246"/>
              <a:gd name="connsiteY94" fmla="*/ 1079769 h 1887165"/>
              <a:gd name="connsiteX95" fmla="*/ 2971800 w 6822246"/>
              <a:gd name="connsiteY95" fmla="*/ 1065178 h 1887165"/>
              <a:gd name="connsiteX96" fmla="*/ 2986391 w 6822246"/>
              <a:gd name="connsiteY96" fmla="*/ 1060314 h 1887165"/>
              <a:gd name="connsiteX97" fmla="*/ 3000983 w 6822246"/>
              <a:gd name="connsiteY97" fmla="*/ 1055450 h 1887165"/>
              <a:gd name="connsiteX98" fmla="*/ 3093396 w 6822246"/>
              <a:gd name="connsiteY98" fmla="*/ 1040858 h 1887165"/>
              <a:gd name="connsiteX99" fmla="*/ 3107987 w 6822246"/>
              <a:gd name="connsiteY99" fmla="*/ 1031131 h 1887165"/>
              <a:gd name="connsiteX100" fmla="*/ 3170542 w 6822246"/>
              <a:gd name="connsiteY100" fmla="*/ 1030000 h 1887165"/>
              <a:gd name="connsiteX101" fmla="*/ 3292813 w 6822246"/>
              <a:gd name="connsiteY101" fmla="*/ 1006812 h 1887165"/>
              <a:gd name="connsiteX102" fmla="*/ 3360906 w 6822246"/>
              <a:gd name="connsiteY102" fmla="*/ 992220 h 1887165"/>
              <a:gd name="connsiteX103" fmla="*/ 3390089 w 6822246"/>
              <a:gd name="connsiteY103" fmla="*/ 987356 h 1887165"/>
              <a:gd name="connsiteX104" fmla="*/ 3404681 w 6822246"/>
              <a:gd name="connsiteY104" fmla="*/ 982492 h 1887165"/>
              <a:gd name="connsiteX105" fmla="*/ 3443591 w 6822246"/>
              <a:gd name="connsiteY105" fmla="*/ 972765 h 1887165"/>
              <a:gd name="connsiteX106" fmla="*/ 3458183 w 6822246"/>
              <a:gd name="connsiteY106" fmla="*/ 967901 h 1887165"/>
              <a:gd name="connsiteX107" fmla="*/ 3525940 w 6822246"/>
              <a:gd name="connsiteY107" fmla="*/ 970502 h 1887165"/>
              <a:gd name="connsiteX108" fmla="*/ 3562925 w 6822246"/>
              <a:gd name="connsiteY108" fmla="*/ 942113 h 1887165"/>
              <a:gd name="connsiteX109" fmla="*/ 3589506 w 6822246"/>
              <a:gd name="connsiteY109" fmla="*/ 943582 h 1887165"/>
              <a:gd name="connsiteX110" fmla="*/ 3638145 w 6822246"/>
              <a:gd name="connsiteY110" fmla="*/ 933854 h 1887165"/>
              <a:gd name="connsiteX111" fmla="*/ 3686783 w 6822246"/>
              <a:gd name="connsiteY111" fmla="*/ 919263 h 1887165"/>
              <a:gd name="connsiteX112" fmla="*/ 3701374 w 6822246"/>
              <a:gd name="connsiteY112" fmla="*/ 914399 h 1887165"/>
              <a:gd name="connsiteX113" fmla="*/ 3730557 w 6822246"/>
              <a:gd name="connsiteY113" fmla="*/ 909535 h 1887165"/>
              <a:gd name="connsiteX114" fmla="*/ 3813243 w 6822246"/>
              <a:gd name="connsiteY114" fmla="*/ 899807 h 1887165"/>
              <a:gd name="connsiteX115" fmla="*/ 3852153 w 6822246"/>
              <a:gd name="connsiteY115" fmla="*/ 894944 h 1887165"/>
              <a:gd name="connsiteX116" fmla="*/ 3895928 w 6822246"/>
              <a:gd name="connsiteY116" fmla="*/ 880352 h 1887165"/>
              <a:gd name="connsiteX117" fmla="*/ 3925111 w 6822246"/>
              <a:gd name="connsiteY117" fmla="*/ 870624 h 1887165"/>
              <a:gd name="connsiteX118" fmla="*/ 3959157 w 6822246"/>
              <a:gd name="connsiteY118" fmla="*/ 865761 h 1887165"/>
              <a:gd name="connsiteX119" fmla="*/ 3983477 w 6822246"/>
              <a:gd name="connsiteY119" fmla="*/ 860897 h 1887165"/>
              <a:gd name="connsiteX120" fmla="*/ 4027251 w 6822246"/>
              <a:gd name="connsiteY120" fmla="*/ 856033 h 1887165"/>
              <a:gd name="connsiteX121" fmla="*/ 4061298 w 6822246"/>
              <a:gd name="connsiteY121" fmla="*/ 851169 h 1887165"/>
              <a:gd name="connsiteX122" fmla="*/ 4095345 w 6822246"/>
              <a:gd name="connsiteY122" fmla="*/ 841441 h 1887165"/>
              <a:gd name="connsiteX123" fmla="*/ 4114462 w 6822246"/>
              <a:gd name="connsiteY123" fmla="*/ 836578 h 1887165"/>
              <a:gd name="connsiteX124" fmla="*/ 4147377 w 6822246"/>
              <a:gd name="connsiteY124" fmla="*/ 819385 h 1887165"/>
              <a:gd name="connsiteX125" fmla="*/ 4217278 w 6822246"/>
              <a:gd name="connsiteY125" fmla="*/ 802531 h 1887165"/>
              <a:gd name="connsiteX126" fmla="*/ 4275306 w 6822246"/>
              <a:gd name="connsiteY126" fmla="*/ 797667 h 1887165"/>
              <a:gd name="connsiteX127" fmla="*/ 4304489 w 6822246"/>
              <a:gd name="connsiteY127" fmla="*/ 787939 h 1887165"/>
              <a:gd name="connsiteX128" fmla="*/ 4319081 w 6822246"/>
              <a:gd name="connsiteY128" fmla="*/ 783075 h 1887165"/>
              <a:gd name="connsiteX129" fmla="*/ 4353128 w 6822246"/>
              <a:gd name="connsiteY129" fmla="*/ 778212 h 1887165"/>
              <a:gd name="connsiteX130" fmla="*/ 4377447 w 6822246"/>
              <a:gd name="connsiteY130" fmla="*/ 773348 h 1887165"/>
              <a:gd name="connsiteX131" fmla="*/ 4411494 w 6822246"/>
              <a:gd name="connsiteY131" fmla="*/ 768484 h 1887165"/>
              <a:gd name="connsiteX132" fmla="*/ 4426085 w 6822246"/>
              <a:gd name="connsiteY132" fmla="*/ 763620 h 1887165"/>
              <a:gd name="connsiteX133" fmla="*/ 4508770 w 6822246"/>
              <a:gd name="connsiteY133" fmla="*/ 753892 h 1887165"/>
              <a:gd name="connsiteX134" fmla="*/ 4537953 w 6822246"/>
              <a:gd name="connsiteY134" fmla="*/ 744165 h 1887165"/>
              <a:gd name="connsiteX135" fmla="*/ 4552545 w 6822246"/>
              <a:gd name="connsiteY135" fmla="*/ 729573 h 1887165"/>
              <a:gd name="connsiteX136" fmla="*/ 4567136 w 6822246"/>
              <a:gd name="connsiteY136" fmla="*/ 724710 h 1887165"/>
              <a:gd name="connsiteX137" fmla="*/ 4581728 w 6822246"/>
              <a:gd name="connsiteY137" fmla="*/ 714982 h 1887165"/>
              <a:gd name="connsiteX138" fmla="*/ 4596319 w 6822246"/>
              <a:gd name="connsiteY138" fmla="*/ 710118 h 1887165"/>
              <a:gd name="connsiteX139" fmla="*/ 4610911 w 6822246"/>
              <a:gd name="connsiteY139" fmla="*/ 700390 h 1887165"/>
              <a:gd name="connsiteX140" fmla="*/ 4630366 w 6822246"/>
              <a:gd name="connsiteY140" fmla="*/ 684330 h 1887165"/>
              <a:gd name="connsiteX141" fmla="*/ 4659549 w 6822246"/>
              <a:gd name="connsiteY141" fmla="*/ 685799 h 1887165"/>
              <a:gd name="connsiteX142" fmla="*/ 4674140 w 6822246"/>
              <a:gd name="connsiteY142" fmla="*/ 680935 h 1887165"/>
              <a:gd name="connsiteX143" fmla="*/ 4732506 w 6822246"/>
              <a:gd name="connsiteY143" fmla="*/ 671207 h 1887165"/>
              <a:gd name="connsiteX144" fmla="*/ 4781145 w 6822246"/>
              <a:gd name="connsiteY144" fmla="*/ 656616 h 1887165"/>
              <a:gd name="connsiteX145" fmla="*/ 4810328 w 6822246"/>
              <a:gd name="connsiteY145" fmla="*/ 651752 h 1887165"/>
              <a:gd name="connsiteX146" fmla="*/ 4824919 w 6822246"/>
              <a:gd name="connsiteY146" fmla="*/ 646888 h 1887165"/>
              <a:gd name="connsiteX147" fmla="*/ 4849238 w 6822246"/>
              <a:gd name="connsiteY147" fmla="*/ 642024 h 1887165"/>
              <a:gd name="connsiteX148" fmla="*/ 4883285 w 6822246"/>
              <a:gd name="connsiteY148" fmla="*/ 627433 h 1887165"/>
              <a:gd name="connsiteX149" fmla="*/ 5000017 w 6822246"/>
              <a:gd name="connsiteY149" fmla="*/ 617705 h 1887165"/>
              <a:gd name="connsiteX150" fmla="*/ 5014609 w 6822246"/>
              <a:gd name="connsiteY150" fmla="*/ 603114 h 1887165"/>
              <a:gd name="connsiteX151" fmla="*/ 5029200 w 6822246"/>
              <a:gd name="connsiteY151" fmla="*/ 598250 h 1887165"/>
              <a:gd name="connsiteX152" fmla="*/ 5102157 w 6822246"/>
              <a:gd name="connsiteY152" fmla="*/ 588522 h 1887165"/>
              <a:gd name="connsiteX153" fmla="*/ 5136204 w 6822246"/>
              <a:gd name="connsiteY153" fmla="*/ 573931 h 1887165"/>
              <a:gd name="connsiteX154" fmla="*/ 5170251 w 6822246"/>
              <a:gd name="connsiteY154" fmla="*/ 564203 h 1887165"/>
              <a:gd name="connsiteX155" fmla="*/ 5184843 w 6822246"/>
              <a:gd name="connsiteY155" fmla="*/ 559339 h 1887165"/>
              <a:gd name="connsiteX156" fmla="*/ 5214026 w 6822246"/>
              <a:gd name="connsiteY156" fmla="*/ 539884 h 1887165"/>
              <a:gd name="connsiteX157" fmla="*/ 5228617 w 6822246"/>
              <a:gd name="connsiteY157" fmla="*/ 535020 h 1887165"/>
              <a:gd name="connsiteX158" fmla="*/ 5257800 w 6822246"/>
              <a:gd name="connsiteY158" fmla="*/ 520429 h 1887165"/>
              <a:gd name="connsiteX159" fmla="*/ 5335621 w 6822246"/>
              <a:gd name="connsiteY159" fmla="*/ 515565 h 1887165"/>
              <a:gd name="connsiteX160" fmla="*/ 5398851 w 6822246"/>
              <a:gd name="connsiteY160" fmla="*/ 510701 h 1887165"/>
              <a:gd name="connsiteX161" fmla="*/ 5447489 w 6822246"/>
              <a:gd name="connsiteY161" fmla="*/ 500973 h 1887165"/>
              <a:gd name="connsiteX162" fmla="*/ 5481536 w 6822246"/>
              <a:gd name="connsiteY162" fmla="*/ 491246 h 1887165"/>
              <a:gd name="connsiteX163" fmla="*/ 5496128 w 6822246"/>
              <a:gd name="connsiteY163" fmla="*/ 486382 h 1887165"/>
              <a:gd name="connsiteX164" fmla="*/ 5535038 w 6822246"/>
              <a:gd name="connsiteY164" fmla="*/ 481518 h 1887165"/>
              <a:gd name="connsiteX165" fmla="*/ 5622587 w 6822246"/>
              <a:gd name="connsiteY165" fmla="*/ 471790 h 1887165"/>
              <a:gd name="connsiteX166" fmla="*/ 5651770 w 6822246"/>
              <a:gd name="connsiteY166" fmla="*/ 462063 h 1887165"/>
              <a:gd name="connsiteX167" fmla="*/ 5666362 w 6822246"/>
              <a:gd name="connsiteY167" fmla="*/ 457199 h 1887165"/>
              <a:gd name="connsiteX168" fmla="*/ 5700409 w 6822246"/>
              <a:gd name="connsiteY168" fmla="*/ 447471 h 1887165"/>
              <a:gd name="connsiteX169" fmla="*/ 5719864 w 6822246"/>
              <a:gd name="connsiteY169" fmla="*/ 432880 h 1887165"/>
              <a:gd name="connsiteX170" fmla="*/ 5749047 w 6822246"/>
              <a:gd name="connsiteY170" fmla="*/ 423152 h 1887165"/>
              <a:gd name="connsiteX171" fmla="*/ 5802549 w 6822246"/>
              <a:gd name="connsiteY171" fmla="*/ 413424 h 1887165"/>
              <a:gd name="connsiteX172" fmla="*/ 5890098 w 6822246"/>
              <a:gd name="connsiteY172" fmla="*/ 408561 h 1887165"/>
              <a:gd name="connsiteX173" fmla="*/ 5933872 w 6822246"/>
              <a:gd name="connsiteY173" fmla="*/ 398833 h 1887165"/>
              <a:gd name="connsiteX174" fmla="*/ 5963055 w 6822246"/>
              <a:gd name="connsiteY174" fmla="*/ 389105 h 1887165"/>
              <a:gd name="connsiteX175" fmla="*/ 5977647 w 6822246"/>
              <a:gd name="connsiteY175" fmla="*/ 384241 h 1887165"/>
              <a:gd name="connsiteX176" fmla="*/ 6006830 w 6822246"/>
              <a:gd name="connsiteY176" fmla="*/ 379378 h 1887165"/>
              <a:gd name="connsiteX177" fmla="*/ 6055468 w 6822246"/>
              <a:gd name="connsiteY177" fmla="*/ 369650 h 1887165"/>
              <a:gd name="connsiteX178" fmla="*/ 6254885 w 6822246"/>
              <a:gd name="connsiteY178" fmla="*/ 364786 h 1887165"/>
              <a:gd name="connsiteX179" fmla="*/ 6269477 w 6822246"/>
              <a:gd name="connsiteY179" fmla="*/ 359922 h 1887165"/>
              <a:gd name="connsiteX180" fmla="*/ 6303523 w 6822246"/>
              <a:gd name="connsiteY180" fmla="*/ 316148 h 1887165"/>
              <a:gd name="connsiteX181" fmla="*/ 6322979 w 6822246"/>
              <a:gd name="connsiteY181" fmla="*/ 306420 h 1887165"/>
              <a:gd name="connsiteX182" fmla="*/ 6391072 w 6822246"/>
              <a:gd name="connsiteY182" fmla="*/ 291829 h 1887165"/>
              <a:gd name="connsiteX183" fmla="*/ 6405664 w 6822246"/>
              <a:gd name="connsiteY183" fmla="*/ 286965 h 1887165"/>
              <a:gd name="connsiteX184" fmla="*/ 6434847 w 6822246"/>
              <a:gd name="connsiteY184" fmla="*/ 282101 h 1887165"/>
              <a:gd name="connsiteX185" fmla="*/ 6449438 w 6822246"/>
              <a:gd name="connsiteY185" fmla="*/ 272373 h 1887165"/>
              <a:gd name="connsiteX186" fmla="*/ 6473757 w 6822246"/>
              <a:gd name="connsiteY186" fmla="*/ 267510 h 1887165"/>
              <a:gd name="connsiteX187" fmla="*/ 6478621 w 6822246"/>
              <a:gd name="connsiteY187" fmla="*/ 252918 h 1887165"/>
              <a:gd name="connsiteX188" fmla="*/ 6561306 w 6822246"/>
              <a:gd name="connsiteY188" fmla="*/ 238327 h 1887165"/>
              <a:gd name="connsiteX189" fmla="*/ 6566170 w 6822246"/>
              <a:gd name="connsiteY189" fmla="*/ 223735 h 1887165"/>
              <a:gd name="connsiteX190" fmla="*/ 6580762 w 6822246"/>
              <a:gd name="connsiteY190" fmla="*/ 214007 h 1887165"/>
              <a:gd name="connsiteX191" fmla="*/ 6731540 w 6822246"/>
              <a:gd name="connsiteY191" fmla="*/ 209144 h 1887165"/>
              <a:gd name="connsiteX192" fmla="*/ 6750996 w 6822246"/>
              <a:gd name="connsiteY192" fmla="*/ 204280 h 1887165"/>
              <a:gd name="connsiteX193" fmla="*/ 6760723 w 6822246"/>
              <a:gd name="connsiteY193" fmla="*/ 175097 h 1887165"/>
              <a:gd name="connsiteX194" fmla="*/ 6765587 w 6822246"/>
              <a:gd name="connsiteY194" fmla="*/ 136186 h 1887165"/>
              <a:gd name="connsiteX195" fmla="*/ 6809362 w 6822246"/>
              <a:gd name="connsiteY195" fmla="*/ 121595 h 1887165"/>
              <a:gd name="connsiteX196" fmla="*/ 6814226 w 6822246"/>
              <a:gd name="connsiteY196" fmla="*/ 107003 h 1887165"/>
              <a:gd name="connsiteX197" fmla="*/ 6819089 w 6822246"/>
              <a:gd name="connsiteY197" fmla="*/ 43773 h 1887165"/>
              <a:gd name="connsiteX198" fmla="*/ 6822246 w 6822246"/>
              <a:gd name="connsiteY198" fmla="*/ 43773 h 1887165"/>
              <a:gd name="connsiteX199" fmla="*/ 6819090 w 6822246"/>
              <a:gd name="connsiteY199" fmla="*/ 0 h 1887165"/>
              <a:gd name="connsiteX0" fmla="*/ 0 w 6827111"/>
              <a:gd name="connsiteY0" fmla="*/ 1895186 h 1895186"/>
              <a:gd name="connsiteX1" fmla="*/ 38911 w 6827111"/>
              <a:gd name="connsiteY1" fmla="*/ 1880594 h 1895186"/>
              <a:gd name="connsiteX2" fmla="*/ 72957 w 6827111"/>
              <a:gd name="connsiteY2" fmla="*/ 1870867 h 1895186"/>
              <a:gd name="connsiteX3" fmla="*/ 102140 w 6827111"/>
              <a:gd name="connsiteY3" fmla="*/ 1851411 h 1895186"/>
              <a:gd name="connsiteX4" fmla="*/ 141051 w 6827111"/>
              <a:gd name="connsiteY4" fmla="*/ 1841684 h 1895186"/>
              <a:gd name="connsiteX5" fmla="*/ 160506 w 6827111"/>
              <a:gd name="connsiteY5" fmla="*/ 1836820 h 1895186"/>
              <a:gd name="connsiteX6" fmla="*/ 189689 w 6827111"/>
              <a:gd name="connsiteY6" fmla="*/ 1822228 h 1895186"/>
              <a:gd name="connsiteX7" fmla="*/ 209145 w 6827111"/>
              <a:gd name="connsiteY7" fmla="*/ 1812501 h 1895186"/>
              <a:gd name="connsiteX8" fmla="*/ 223736 w 6827111"/>
              <a:gd name="connsiteY8" fmla="*/ 1807637 h 1895186"/>
              <a:gd name="connsiteX9" fmla="*/ 245792 w 6827111"/>
              <a:gd name="connsiteY9" fmla="*/ 1797909 h 1895186"/>
              <a:gd name="connsiteX10" fmla="*/ 296694 w 6827111"/>
              <a:gd name="connsiteY10" fmla="*/ 1783318 h 1895186"/>
              <a:gd name="connsiteX11" fmla="*/ 330740 w 6827111"/>
              <a:gd name="connsiteY11" fmla="*/ 1778454 h 1895186"/>
              <a:gd name="connsiteX12" fmla="*/ 379379 w 6827111"/>
              <a:gd name="connsiteY12" fmla="*/ 1763862 h 1895186"/>
              <a:gd name="connsiteX13" fmla="*/ 408562 w 6827111"/>
              <a:gd name="connsiteY13" fmla="*/ 1758999 h 1895186"/>
              <a:gd name="connsiteX14" fmla="*/ 428017 w 6827111"/>
              <a:gd name="connsiteY14" fmla="*/ 1749271 h 1895186"/>
              <a:gd name="connsiteX15" fmla="*/ 457200 w 6827111"/>
              <a:gd name="connsiteY15" fmla="*/ 1739543 h 1895186"/>
              <a:gd name="connsiteX16" fmla="*/ 486383 w 6827111"/>
              <a:gd name="connsiteY16" fmla="*/ 1729816 h 1895186"/>
              <a:gd name="connsiteX17" fmla="*/ 530157 w 6827111"/>
              <a:gd name="connsiteY17" fmla="*/ 1715224 h 1895186"/>
              <a:gd name="connsiteX18" fmla="*/ 544749 w 6827111"/>
              <a:gd name="connsiteY18" fmla="*/ 1710360 h 1895186"/>
              <a:gd name="connsiteX19" fmla="*/ 559340 w 6827111"/>
              <a:gd name="connsiteY19" fmla="*/ 1705496 h 1895186"/>
              <a:gd name="connsiteX20" fmla="*/ 578796 w 6827111"/>
              <a:gd name="connsiteY20" fmla="*/ 1700633 h 1895186"/>
              <a:gd name="connsiteX21" fmla="*/ 607959 w 6827111"/>
              <a:gd name="connsiteY21" fmla="*/ 1698191 h 1895186"/>
              <a:gd name="connsiteX22" fmla="*/ 661481 w 6827111"/>
              <a:gd name="connsiteY22" fmla="*/ 1676313 h 1895186"/>
              <a:gd name="connsiteX23" fmla="*/ 685800 w 6827111"/>
              <a:gd name="connsiteY23" fmla="*/ 1671450 h 1895186"/>
              <a:gd name="connsiteX24" fmla="*/ 753894 w 6827111"/>
              <a:gd name="connsiteY24" fmla="*/ 1666586 h 1895186"/>
              <a:gd name="connsiteX25" fmla="*/ 851170 w 6827111"/>
              <a:gd name="connsiteY25" fmla="*/ 1651994 h 1895186"/>
              <a:gd name="connsiteX26" fmla="*/ 880353 w 6827111"/>
              <a:gd name="connsiteY26" fmla="*/ 1642267 h 1895186"/>
              <a:gd name="connsiteX27" fmla="*/ 894945 w 6827111"/>
              <a:gd name="connsiteY27" fmla="*/ 1637403 h 1895186"/>
              <a:gd name="connsiteX28" fmla="*/ 943583 w 6827111"/>
              <a:gd name="connsiteY28" fmla="*/ 1632539 h 1895186"/>
              <a:gd name="connsiteX29" fmla="*/ 972766 w 6827111"/>
              <a:gd name="connsiteY29" fmla="*/ 1622811 h 1895186"/>
              <a:gd name="connsiteX30" fmla="*/ 1011677 w 6827111"/>
              <a:gd name="connsiteY30" fmla="*/ 1588765 h 1895186"/>
              <a:gd name="connsiteX31" fmla="*/ 1045723 w 6827111"/>
              <a:gd name="connsiteY31" fmla="*/ 1579037 h 1895186"/>
              <a:gd name="connsiteX32" fmla="*/ 1079770 w 6827111"/>
              <a:gd name="connsiteY32" fmla="*/ 1574173 h 1895186"/>
              <a:gd name="connsiteX33" fmla="*/ 1123545 w 6827111"/>
              <a:gd name="connsiteY33" fmla="*/ 1559582 h 1895186"/>
              <a:gd name="connsiteX34" fmla="*/ 1157591 w 6827111"/>
              <a:gd name="connsiteY34" fmla="*/ 1549854 h 1895186"/>
              <a:gd name="connsiteX35" fmla="*/ 1282792 w 6827111"/>
              <a:gd name="connsiteY35" fmla="*/ 1527976 h 1895186"/>
              <a:gd name="connsiteX36" fmla="*/ 1254888 w 6827111"/>
              <a:gd name="connsiteY36" fmla="*/ 1530399 h 1895186"/>
              <a:gd name="connsiteX37" fmla="*/ 1318098 w 6827111"/>
              <a:gd name="connsiteY37" fmla="*/ 1515807 h 1895186"/>
              <a:gd name="connsiteX38" fmla="*/ 1347281 w 6827111"/>
              <a:gd name="connsiteY38" fmla="*/ 1510943 h 1895186"/>
              <a:gd name="connsiteX39" fmla="*/ 1371600 w 6827111"/>
              <a:gd name="connsiteY39" fmla="*/ 1506079 h 1895186"/>
              <a:gd name="connsiteX40" fmla="*/ 1391055 w 6827111"/>
              <a:gd name="connsiteY40" fmla="*/ 1501216 h 1895186"/>
              <a:gd name="connsiteX41" fmla="*/ 1420238 w 6827111"/>
              <a:gd name="connsiteY41" fmla="*/ 1496352 h 1895186"/>
              <a:gd name="connsiteX42" fmla="*/ 1449421 w 6827111"/>
              <a:gd name="connsiteY42" fmla="*/ 1486624 h 1895186"/>
              <a:gd name="connsiteX43" fmla="*/ 1464013 w 6827111"/>
              <a:gd name="connsiteY43" fmla="*/ 1481760 h 1895186"/>
              <a:gd name="connsiteX44" fmla="*/ 1478604 w 6827111"/>
              <a:gd name="connsiteY44" fmla="*/ 1476896 h 1895186"/>
              <a:gd name="connsiteX45" fmla="*/ 1502923 w 6827111"/>
              <a:gd name="connsiteY45" fmla="*/ 1472033 h 1895186"/>
              <a:gd name="connsiteX46" fmla="*/ 1532106 w 6827111"/>
              <a:gd name="connsiteY46" fmla="*/ 1462305 h 1895186"/>
              <a:gd name="connsiteX47" fmla="*/ 1566153 w 6827111"/>
              <a:gd name="connsiteY47" fmla="*/ 1457441 h 1895186"/>
              <a:gd name="connsiteX48" fmla="*/ 1580745 w 6827111"/>
              <a:gd name="connsiteY48" fmla="*/ 1452577 h 1895186"/>
              <a:gd name="connsiteX49" fmla="*/ 1600200 w 6827111"/>
              <a:gd name="connsiteY49" fmla="*/ 1442850 h 1895186"/>
              <a:gd name="connsiteX50" fmla="*/ 1639111 w 6827111"/>
              <a:gd name="connsiteY50" fmla="*/ 1437986 h 1895186"/>
              <a:gd name="connsiteX51" fmla="*/ 1663430 w 6827111"/>
              <a:gd name="connsiteY51" fmla="*/ 1433122 h 1895186"/>
              <a:gd name="connsiteX52" fmla="*/ 1678021 w 6827111"/>
              <a:gd name="connsiteY52" fmla="*/ 1428258 h 1895186"/>
              <a:gd name="connsiteX53" fmla="*/ 1692613 w 6827111"/>
              <a:gd name="connsiteY53" fmla="*/ 1418531 h 1895186"/>
              <a:gd name="connsiteX54" fmla="*/ 1707204 w 6827111"/>
              <a:gd name="connsiteY54" fmla="*/ 1413667 h 1895186"/>
              <a:gd name="connsiteX55" fmla="*/ 1721796 w 6827111"/>
              <a:gd name="connsiteY55" fmla="*/ 1403939 h 1895186"/>
              <a:gd name="connsiteX56" fmla="*/ 1746115 w 6827111"/>
              <a:gd name="connsiteY56" fmla="*/ 1399075 h 1895186"/>
              <a:gd name="connsiteX57" fmla="*/ 1760706 w 6827111"/>
              <a:gd name="connsiteY57" fmla="*/ 1389348 h 1895186"/>
              <a:gd name="connsiteX58" fmla="*/ 1833664 w 6827111"/>
              <a:gd name="connsiteY58" fmla="*/ 1374756 h 1895186"/>
              <a:gd name="connsiteX59" fmla="*/ 1853119 w 6827111"/>
              <a:gd name="connsiteY59" fmla="*/ 1369892 h 1895186"/>
              <a:gd name="connsiteX60" fmla="*/ 1882302 w 6827111"/>
              <a:gd name="connsiteY60" fmla="*/ 1365028 h 1895186"/>
              <a:gd name="connsiteX61" fmla="*/ 1911485 w 6827111"/>
              <a:gd name="connsiteY61" fmla="*/ 1345573 h 1895186"/>
              <a:gd name="connsiteX62" fmla="*/ 1964987 w 6827111"/>
              <a:gd name="connsiteY62" fmla="*/ 1335845 h 1895186"/>
              <a:gd name="connsiteX63" fmla="*/ 1994170 w 6827111"/>
              <a:gd name="connsiteY63" fmla="*/ 1326118 h 1895186"/>
              <a:gd name="connsiteX64" fmla="*/ 2042809 w 6827111"/>
              <a:gd name="connsiteY64" fmla="*/ 1306662 h 1895186"/>
              <a:gd name="connsiteX65" fmla="*/ 2057400 w 6827111"/>
              <a:gd name="connsiteY65" fmla="*/ 1301799 h 1895186"/>
              <a:gd name="connsiteX66" fmla="*/ 2110902 w 6827111"/>
              <a:gd name="connsiteY66" fmla="*/ 1296935 h 1895186"/>
              <a:gd name="connsiteX67" fmla="*/ 2135221 w 6827111"/>
              <a:gd name="connsiteY67" fmla="*/ 1292071 h 1895186"/>
              <a:gd name="connsiteX68" fmla="*/ 2178996 w 6827111"/>
              <a:gd name="connsiteY68" fmla="*/ 1287207 h 1895186"/>
              <a:gd name="connsiteX69" fmla="*/ 2193587 w 6827111"/>
              <a:gd name="connsiteY69" fmla="*/ 1282343 h 1895186"/>
              <a:gd name="connsiteX70" fmla="*/ 2213043 w 6827111"/>
              <a:gd name="connsiteY70" fmla="*/ 1277479 h 1895186"/>
              <a:gd name="connsiteX71" fmla="*/ 2242226 w 6827111"/>
              <a:gd name="connsiteY71" fmla="*/ 1267752 h 1895186"/>
              <a:gd name="connsiteX72" fmla="*/ 2256817 w 6827111"/>
              <a:gd name="connsiteY72" fmla="*/ 1262888 h 1895186"/>
              <a:gd name="connsiteX73" fmla="*/ 2286000 w 6827111"/>
              <a:gd name="connsiteY73" fmla="*/ 1243433 h 1895186"/>
              <a:gd name="connsiteX74" fmla="*/ 2300591 w 6827111"/>
              <a:gd name="connsiteY74" fmla="*/ 1238569 h 1895186"/>
              <a:gd name="connsiteX75" fmla="*/ 2315183 w 6827111"/>
              <a:gd name="connsiteY75" fmla="*/ 1228841 h 1895186"/>
              <a:gd name="connsiteX76" fmla="*/ 2344366 w 6827111"/>
              <a:gd name="connsiteY76" fmla="*/ 1219113 h 1895186"/>
              <a:gd name="connsiteX77" fmla="*/ 2358957 w 6827111"/>
              <a:gd name="connsiteY77" fmla="*/ 1214250 h 1895186"/>
              <a:gd name="connsiteX78" fmla="*/ 2373549 w 6827111"/>
              <a:gd name="connsiteY78" fmla="*/ 1209386 h 1895186"/>
              <a:gd name="connsiteX79" fmla="*/ 2393004 w 6827111"/>
              <a:gd name="connsiteY79" fmla="*/ 1204522 h 1895186"/>
              <a:gd name="connsiteX80" fmla="*/ 2417323 w 6827111"/>
              <a:gd name="connsiteY80" fmla="*/ 1199658 h 1895186"/>
              <a:gd name="connsiteX81" fmla="*/ 2451370 w 6827111"/>
              <a:gd name="connsiteY81" fmla="*/ 1189931 h 1895186"/>
              <a:gd name="connsiteX82" fmla="*/ 2490281 w 6827111"/>
              <a:gd name="connsiteY82" fmla="*/ 1185067 h 1895186"/>
              <a:gd name="connsiteX83" fmla="*/ 2504872 w 6827111"/>
              <a:gd name="connsiteY83" fmla="*/ 1180203 h 1895186"/>
              <a:gd name="connsiteX84" fmla="*/ 2553511 w 6827111"/>
              <a:gd name="connsiteY84" fmla="*/ 1170475 h 1895186"/>
              <a:gd name="connsiteX85" fmla="*/ 2582694 w 6827111"/>
              <a:gd name="connsiteY85" fmla="*/ 1160748 h 1895186"/>
              <a:gd name="connsiteX86" fmla="*/ 2597285 w 6827111"/>
              <a:gd name="connsiteY86" fmla="*/ 1155884 h 1895186"/>
              <a:gd name="connsiteX87" fmla="*/ 2636196 w 6827111"/>
              <a:gd name="connsiteY87" fmla="*/ 1146156 h 1895186"/>
              <a:gd name="connsiteX88" fmla="*/ 2660515 w 6827111"/>
              <a:gd name="connsiteY88" fmla="*/ 1141292 h 1895186"/>
              <a:gd name="connsiteX89" fmla="*/ 2699426 w 6827111"/>
              <a:gd name="connsiteY89" fmla="*/ 1136428 h 1895186"/>
              <a:gd name="connsiteX90" fmla="*/ 2728609 w 6827111"/>
              <a:gd name="connsiteY90" fmla="*/ 1118184 h 1895186"/>
              <a:gd name="connsiteX91" fmla="*/ 2821021 w 6827111"/>
              <a:gd name="connsiteY91" fmla="*/ 1107245 h 1895186"/>
              <a:gd name="connsiteX92" fmla="*/ 2884251 w 6827111"/>
              <a:gd name="connsiteY92" fmla="*/ 1097518 h 1895186"/>
              <a:gd name="connsiteX93" fmla="*/ 2898843 w 6827111"/>
              <a:gd name="connsiteY93" fmla="*/ 1092654 h 1895186"/>
              <a:gd name="connsiteX94" fmla="*/ 2928026 w 6827111"/>
              <a:gd name="connsiteY94" fmla="*/ 1087790 h 1895186"/>
              <a:gd name="connsiteX95" fmla="*/ 2971800 w 6827111"/>
              <a:gd name="connsiteY95" fmla="*/ 1073199 h 1895186"/>
              <a:gd name="connsiteX96" fmla="*/ 2986391 w 6827111"/>
              <a:gd name="connsiteY96" fmla="*/ 1068335 h 1895186"/>
              <a:gd name="connsiteX97" fmla="*/ 3000983 w 6827111"/>
              <a:gd name="connsiteY97" fmla="*/ 1063471 h 1895186"/>
              <a:gd name="connsiteX98" fmla="*/ 3093396 w 6827111"/>
              <a:gd name="connsiteY98" fmla="*/ 1048879 h 1895186"/>
              <a:gd name="connsiteX99" fmla="*/ 3107987 w 6827111"/>
              <a:gd name="connsiteY99" fmla="*/ 1039152 h 1895186"/>
              <a:gd name="connsiteX100" fmla="*/ 3170542 w 6827111"/>
              <a:gd name="connsiteY100" fmla="*/ 1038021 h 1895186"/>
              <a:gd name="connsiteX101" fmla="*/ 3292813 w 6827111"/>
              <a:gd name="connsiteY101" fmla="*/ 1014833 h 1895186"/>
              <a:gd name="connsiteX102" fmla="*/ 3360906 w 6827111"/>
              <a:gd name="connsiteY102" fmla="*/ 1000241 h 1895186"/>
              <a:gd name="connsiteX103" fmla="*/ 3390089 w 6827111"/>
              <a:gd name="connsiteY103" fmla="*/ 995377 h 1895186"/>
              <a:gd name="connsiteX104" fmla="*/ 3404681 w 6827111"/>
              <a:gd name="connsiteY104" fmla="*/ 990513 h 1895186"/>
              <a:gd name="connsiteX105" fmla="*/ 3443591 w 6827111"/>
              <a:gd name="connsiteY105" fmla="*/ 980786 h 1895186"/>
              <a:gd name="connsiteX106" fmla="*/ 3458183 w 6827111"/>
              <a:gd name="connsiteY106" fmla="*/ 975922 h 1895186"/>
              <a:gd name="connsiteX107" fmla="*/ 3525940 w 6827111"/>
              <a:gd name="connsiteY107" fmla="*/ 978523 h 1895186"/>
              <a:gd name="connsiteX108" fmla="*/ 3562925 w 6827111"/>
              <a:gd name="connsiteY108" fmla="*/ 950134 h 1895186"/>
              <a:gd name="connsiteX109" fmla="*/ 3589506 w 6827111"/>
              <a:gd name="connsiteY109" fmla="*/ 951603 h 1895186"/>
              <a:gd name="connsiteX110" fmla="*/ 3638145 w 6827111"/>
              <a:gd name="connsiteY110" fmla="*/ 941875 h 1895186"/>
              <a:gd name="connsiteX111" fmla="*/ 3686783 w 6827111"/>
              <a:gd name="connsiteY111" fmla="*/ 927284 h 1895186"/>
              <a:gd name="connsiteX112" fmla="*/ 3701374 w 6827111"/>
              <a:gd name="connsiteY112" fmla="*/ 922420 h 1895186"/>
              <a:gd name="connsiteX113" fmla="*/ 3730557 w 6827111"/>
              <a:gd name="connsiteY113" fmla="*/ 917556 h 1895186"/>
              <a:gd name="connsiteX114" fmla="*/ 3813243 w 6827111"/>
              <a:gd name="connsiteY114" fmla="*/ 907828 h 1895186"/>
              <a:gd name="connsiteX115" fmla="*/ 3852153 w 6827111"/>
              <a:gd name="connsiteY115" fmla="*/ 902965 h 1895186"/>
              <a:gd name="connsiteX116" fmla="*/ 3895928 w 6827111"/>
              <a:gd name="connsiteY116" fmla="*/ 888373 h 1895186"/>
              <a:gd name="connsiteX117" fmla="*/ 3925111 w 6827111"/>
              <a:gd name="connsiteY117" fmla="*/ 878645 h 1895186"/>
              <a:gd name="connsiteX118" fmla="*/ 3959157 w 6827111"/>
              <a:gd name="connsiteY118" fmla="*/ 873782 h 1895186"/>
              <a:gd name="connsiteX119" fmla="*/ 3983477 w 6827111"/>
              <a:gd name="connsiteY119" fmla="*/ 868918 h 1895186"/>
              <a:gd name="connsiteX120" fmla="*/ 4027251 w 6827111"/>
              <a:gd name="connsiteY120" fmla="*/ 864054 h 1895186"/>
              <a:gd name="connsiteX121" fmla="*/ 4061298 w 6827111"/>
              <a:gd name="connsiteY121" fmla="*/ 859190 h 1895186"/>
              <a:gd name="connsiteX122" fmla="*/ 4095345 w 6827111"/>
              <a:gd name="connsiteY122" fmla="*/ 849462 h 1895186"/>
              <a:gd name="connsiteX123" fmla="*/ 4114462 w 6827111"/>
              <a:gd name="connsiteY123" fmla="*/ 844599 h 1895186"/>
              <a:gd name="connsiteX124" fmla="*/ 4147377 w 6827111"/>
              <a:gd name="connsiteY124" fmla="*/ 827406 h 1895186"/>
              <a:gd name="connsiteX125" fmla="*/ 4217278 w 6827111"/>
              <a:gd name="connsiteY125" fmla="*/ 810552 h 1895186"/>
              <a:gd name="connsiteX126" fmla="*/ 4275306 w 6827111"/>
              <a:gd name="connsiteY126" fmla="*/ 805688 h 1895186"/>
              <a:gd name="connsiteX127" fmla="*/ 4304489 w 6827111"/>
              <a:gd name="connsiteY127" fmla="*/ 795960 h 1895186"/>
              <a:gd name="connsiteX128" fmla="*/ 4319081 w 6827111"/>
              <a:gd name="connsiteY128" fmla="*/ 791096 h 1895186"/>
              <a:gd name="connsiteX129" fmla="*/ 4353128 w 6827111"/>
              <a:gd name="connsiteY129" fmla="*/ 786233 h 1895186"/>
              <a:gd name="connsiteX130" fmla="*/ 4377447 w 6827111"/>
              <a:gd name="connsiteY130" fmla="*/ 781369 h 1895186"/>
              <a:gd name="connsiteX131" fmla="*/ 4411494 w 6827111"/>
              <a:gd name="connsiteY131" fmla="*/ 776505 h 1895186"/>
              <a:gd name="connsiteX132" fmla="*/ 4426085 w 6827111"/>
              <a:gd name="connsiteY132" fmla="*/ 771641 h 1895186"/>
              <a:gd name="connsiteX133" fmla="*/ 4508770 w 6827111"/>
              <a:gd name="connsiteY133" fmla="*/ 761913 h 1895186"/>
              <a:gd name="connsiteX134" fmla="*/ 4537953 w 6827111"/>
              <a:gd name="connsiteY134" fmla="*/ 752186 h 1895186"/>
              <a:gd name="connsiteX135" fmla="*/ 4552545 w 6827111"/>
              <a:gd name="connsiteY135" fmla="*/ 737594 h 1895186"/>
              <a:gd name="connsiteX136" fmla="*/ 4567136 w 6827111"/>
              <a:gd name="connsiteY136" fmla="*/ 732731 h 1895186"/>
              <a:gd name="connsiteX137" fmla="*/ 4581728 w 6827111"/>
              <a:gd name="connsiteY137" fmla="*/ 723003 h 1895186"/>
              <a:gd name="connsiteX138" fmla="*/ 4596319 w 6827111"/>
              <a:gd name="connsiteY138" fmla="*/ 718139 h 1895186"/>
              <a:gd name="connsiteX139" fmla="*/ 4610911 w 6827111"/>
              <a:gd name="connsiteY139" fmla="*/ 708411 h 1895186"/>
              <a:gd name="connsiteX140" fmla="*/ 4630366 w 6827111"/>
              <a:gd name="connsiteY140" fmla="*/ 692351 h 1895186"/>
              <a:gd name="connsiteX141" fmla="*/ 4659549 w 6827111"/>
              <a:gd name="connsiteY141" fmla="*/ 693820 h 1895186"/>
              <a:gd name="connsiteX142" fmla="*/ 4674140 w 6827111"/>
              <a:gd name="connsiteY142" fmla="*/ 688956 h 1895186"/>
              <a:gd name="connsiteX143" fmla="*/ 4732506 w 6827111"/>
              <a:gd name="connsiteY143" fmla="*/ 679228 h 1895186"/>
              <a:gd name="connsiteX144" fmla="*/ 4781145 w 6827111"/>
              <a:gd name="connsiteY144" fmla="*/ 664637 h 1895186"/>
              <a:gd name="connsiteX145" fmla="*/ 4810328 w 6827111"/>
              <a:gd name="connsiteY145" fmla="*/ 659773 h 1895186"/>
              <a:gd name="connsiteX146" fmla="*/ 4824919 w 6827111"/>
              <a:gd name="connsiteY146" fmla="*/ 654909 h 1895186"/>
              <a:gd name="connsiteX147" fmla="*/ 4849238 w 6827111"/>
              <a:gd name="connsiteY147" fmla="*/ 650045 h 1895186"/>
              <a:gd name="connsiteX148" fmla="*/ 4883285 w 6827111"/>
              <a:gd name="connsiteY148" fmla="*/ 635454 h 1895186"/>
              <a:gd name="connsiteX149" fmla="*/ 5000017 w 6827111"/>
              <a:gd name="connsiteY149" fmla="*/ 625726 h 1895186"/>
              <a:gd name="connsiteX150" fmla="*/ 5014609 w 6827111"/>
              <a:gd name="connsiteY150" fmla="*/ 611135 h 1895186"/>
              <a:gd name="connsiteX151" fmla="*/ 5029200 w 6827111"/>
              <a:gd name="connsiteY151" fmla="*/ 606271 h 1895186"/>
              <a:gd name="connsiteX152" fmla="*/ 5102157 w 6827111"/>
              <a:gd name="connsiteY152" fmla="*/ 596543 h 1895186"/>
              <a:gd name="connsiteX153" fmla="*/ 5136204 w 6827111"/>
              <a:gd name="connsiteY153" fmla="*/ 581952 h 1895186"/>
              <a:gd name="connsiteX154" fmla="*/ 5170251 w 6827111"/>
              <a:gd name="connsiteY154" fmla="*/ 572224 h 1895186"/>
              <a:gd name="connsiteX155" fmla="*/ 5184843 w 6827111"/>
              <a:gd name="connsiteY155" fmla="*/ 567360 h 1895186"/>
              <a:gd name="connsiteX156" fmla="*/ 5214026 w 6827111"/>
              <a:gd name="connsiteY156" fmla="*/ 547905 h 1895186"/>
              <a:gd name="connsiteX157" fmla="*/ 5228617 w 6827111"/>
              <a:gd name="connsiteY157" fmla="*/ 543041 h 1895186"/>
              <a:gd name="connsiteX158" fmla="*/ 5257800 w 6827111"/>
              <a:gd name="connsiteY158" fmla="*/ 528450 h 1895186"/>
              <a:gd name="connsiteX159" fmla="*/ 5335621 w 6827111"/>
              <a:gd name="connsiteY159" fmla="*/ 523586 h 1895186"/>
              <a:gd name="connsiteX160" fmla="*/ 5398851 w 6827111"/>
              <a:gd name="connsiteY160" fmla="*/ 518722 h 1895186"/>
              <a:gd name="connsiteX161" fmla="*/ 5447489 w 6827111"/>
              <a:gd name="connsiteY161" fmla="*/ 508994 h 1895186"/>
              <a:gd name="connsiteX162" fmla="*/ 5481536 w 6827111"/>
              <a:gd name="connsiteY162" fmla="*/ 499267 h 1895186"/>
              <a:gd name="connsiteX163" fmla="*/ 5496128 w 6827111"/>
              <a:gd name="connsiteY163" fmla="*/ 494403 h 1895186"/>
              <a:gd name="connsiteX164" fmla="*/ 5535038 w 6827111"/>
              <a:gd name="connsiteY164" fmla="*/ 489539 h 1895186"/>
              <a:gd name="connsiteX165" fmla="*/ 5622587 w 6827111"/>
              <a:gd name="connsiteY165" fmla="*/ 479811 h 1895186"/>
              <a:gd name="connsiteX166" fmla="*/ 5651770 w 6827111"/>
              <a:gd name="connsiteY166" fmla="*/ 470084 h 1895186"/>
              <a:gd name="connsiteX167" fmla="*/ 5666362 w 6827111"/>
              <a:gd name="connsiteY167" fmla="*/ 465220 h 1895186"/>
              <a:gd name="connsiteX168" fmla="*/ 5700409 w 6827111"/>
              <a:gd name="connsiteY168" fmla="*/ 455492 h 1895186"/>
              <a:gd name="connsiteX169" fmla="*/ 5719864 w 6827111"/>
              <a:gd name="connsiteY169" fmla="*/ 440901 h 1895186"/>
              <a:gd name="connsiteX170" fmla="*/ 5749047 w 6827111"/>
              <a:gd name="connsiteY170" fmla="*/ 431173 h 1895186"/>
              <a:gd name="connsiteX171" fmla="*/ 5802549 w 6827111"/>
              <a:gd name="connsiteY171" fmla="*/ 421445 h 1895186"/>
              <a:gd name="connsiteX172" fmla="*/ 5890098 w 6827111"/>
              <a:gd name="connsiteY172" fmla="*/ 416582 h 1895186"/>
              <a:gd name="connsiteX173" fmla="*/ 5933872 w 6827111"/>
              <a:gd name="connsiteY173" fmla="*/ 406854 h 1895186"/>
              <a:gd name="connsiteX174" fmla="*/ 5963055 w 6827111"/>
              <a:gd name="connsiteY174" fmla="*/ 397126 h 1895186"/>
              <a:gd name="connsiteX175" fmla="*/ 5977647 w 6827111"/>
              <a:gd name="connsiteY175" fmla="*/ 392262 h 1895186"/>
              <a:gd name="connsiteX176" fmla="*/ 6006830 w 6827111"/>
              <a:gd name="connsiteY176" fmla="*/ 387399 h 1895186"/>
              <a:gd name="connsiteX177" fmla="*/ 6055468 w 6827111"/>
              <a:gd name="connsiteY177" fmla="*/ 377671 h 1895186"/>
              <a:gd name="connsiteX178" fmla="*/ 6254885 w 6827111"/>
              <a:gd name="connsiteY178" fmla="*/ 372807 h 1895186"/>
              <a:gd name="connsiteX179" fmla="*/ 6269477 w 6827111"/>
              <a:gd name="connsiteY179" fmla="*/ 367943 h 1895186"/>
              <a:gd name="connsiteX180" fmla="*/ 6303523 w 6827111"/>
              <a:gd name="connsiteY180" fmla="*/ 324169 h 1895186"/>
              <a:gd name="connsiteX181" fmla="*/ 6322979 w 6827111"/>
              <a:gd name="connsiteY181" fmla="*/ 314441 h 1895186"/>
              <a:gd name="connsiteX182" fmla="*/ 6391072 w 6827111"/>
              <a:gd name="connsiteY182" fmla="*/ 299850 h 1895186"/>
              <a:gd name="connsiteX183" fmla="*/ 6405664 w 6827111"/>
              <a:gd name="connsiteY183" fmla="*/ 294986 h 1895186"/>
              <a:gd name="connsiteX184" fmla="*/ 6434847 w 6827111"/>
              <a:gd name="connsiteY184" fmla="*/ 290122 h 1895186"/>
              <a:gd name="connsiteX185" fmla="*/ 6449438 w 6827111"/>
              <a:gd name="connsiteY185" fmla="*/ 280394 h 1895186"/>
              <a:gd name="connsiteX186" fmla="*/ 6473757 w 6827111"/>
              <a:gd name="connsiteY186" fmla="*/ 275531 h 1895186"/>
              <a:gd name="connsiteX187" fmla="*/ 6478621 w 6827111"/>
              <a:gd name="connsiteY187" fmla="*/ 260939 h 1895186"/>
              <a:gd name="connsiteX188" fmla="*/ 6561306 w 6827111"/>
              <a:gd name="connsiteY188" fmla="*/ 246348 h 1895186"/>
              <a:gd name="connsiteX189" fmla="*/ 6566170 w 6827111"/>
              <a:gd name="connsiteY189" fmla="*/ 231756 h 1895186"/>
              <a:gd name="connsiteX190" fmla="*/ 6580762 w 6827111"/>
              <a:gd name="connsiteY190" fmla="*/ 222028 h 1895186"/>
              <a:gd name="connsiteX191" fmla="*/ 6731540 w 6827111"/>
              <a:gd name="connsiteY191" fmla="*/ 217165 h 1895186"/>
              <a:gd name="connsiteX192" fmla="*/ 6750996 w 6827111"/>
              <a:gd name="connsiteY192" fmla="*/ 212301 h 1895186"/>
              <a:gd name="connsiteX193" fmla="*/ 6760723 w 6827111"/>
              <a:gd name="connsiteY193" fmla="*/ 183118 h 1895186"/>
              <a:gd name="connsiteX194" fmla="*/ 6765587 w 6827111"/>
              <a:gd name="connsiteY194" fmla="*/ 144207 h 1895186"/>
              <a:gd name="connsiteX195" fmla="*/ 6809362 w 6827111"/>
              <a:gd name="connsiteY195" fmla="*/ 129616 h 1895186"/>
              <a:gd name="connsiteX196" fmla="*/ 6814226 w 6827111"/>
              <a:gd name="connsiteY196" fmla="*/ 115024 h 1895186"/>
              <a:gd name="connsiteX197" fmla="*/ 6819089 w 6827111"/>
              <a:gd name="connsiteY197" fmla="*/ 51794 h 1895186"/>
              <a:gd name="connsiteX198" fmla="*/ 6822246 w 6827111"/>
              <a:gd name="connsiteY198" fmla="*/ 51794 h 1895186"/>
              <a:gd name="connsiteX199" fmla="*/ 6827111 w 6827111"/>
              <a:gd name="connsiteY199" fmla="*/ 0 h 1895186"/>
              <a:gd name="connsiteX0" fmla="*/ 0 w 6827111"/>
              <a:gd name="connsiteY0" fmla="*/ 1895186 h 1895186"/>
              <a:gd name="connsiteX1" fmla="*/ 38911 w 6827111"/>
              <a:gd name="connsiteY1" fmla="*/ 1880594 h 1895186"/>
              <a:gd name="connsiteX2" fmla="*/ 72957 w 6827111"/>
              <a:gd name="connsiteY2" fmla="*/ 1870867 h 1895186"/>
              <a:gd name="connsiteX3" fmla="*/ 102140 w 6827111"/>
              <a:gd name="connsiteY3" fmla="*/ 1851411 h 1895186"/>
              <a:gd name="connsiteX4" fmla="*/ 141051 w 6827111"/>
              <a:gd name="connsiteY4" fmla="*/ 1841684 h 1895186"/>
              <a:gd name="connsiteX5" fmla="*/ 160506 w 6827111"/>
              <a:gd name="connsiteY5" fmla="*/ 1836820 h 1895186"/>
              <a:gd name="connsiteX6" fmla="*/ 189689 w 6827111"/>
              <a:gd name="connsiteY6" fmla="*/ 1822228 h 1895186"/>
              <a:gd name="connsiteX7" fmla="*/ 209145 w 6827111"/>
              <a:gd name="connsiteY7" fmla="*/ 1812501 h 1895186"/>
              <a:gd name="connsiteX8" fmla="*/ 223736 w 6827111"/>
              <a:gd name="connsiteY8" fmla="*/ 1807637 h 1895186"/>
              <a:gd name="connsiteX9" fmla="*/ 245792 w 6827111"/>
              <a:gd name="connsiteY9" fmla="*/ 1797909 h 1895186"/>
              <a:gd name="connsiteX10" fmla="*/ 296694 w 6827111"/>
              <a:gd name="connsiteY10" fmla="*/ 1783318 h 1895186"/>
              <a:gd name="connsiteX11" fmla="*/ 330740 w 6827111"/>
              <a:gd name="connsiteY11" fmla="*/ 1778454 h 1895186"/>
              <a:gd name="connsiteX12" fmla="*/ 379379 w 6827111"/>
              <a:gd name="connsiteY12" fmla="*/ 1763862 h 1895186"/>
              <a:gd name="connsiteX13" fmla="*/ 408562 w 6827111"/>
              <a:gd name="connsiteY13" fmla="*/ 1758999 h 1895186"/>
              <a:gd name="connsiteX14" fmla="*/ 428017 w 6827111"/>
              <a:gd name="connsiteY14" fmla="*/ 1749271 h 1895186"/>
              <a:gd name="connsiteX15" fmla="*/ 457200 w 6827111"/>
              <a:gd name="connsiteY15" fmla="*/ 1739543 h 1895186"/>
              <a:gd name="connsiteX16" fmla="*/ 486383 w 6827111"/>
              <a:gd name="connsiteY16" fmla="*/ 1729816 h 1895186"/>
              <a:gd name="connsiteX17" fmla="*/ 530157 w 6827111"/>
              <a:gd name="connsiteY17" fmla="*/ 1715224 h 1895186"/>
              <a:gd name="connsiteX18" fmla="*/ 544749 w 6827111"/>
              <a:gd name="connsiteY18" fmla="*/ 1710360 h 1895186"/>
              <a:gd name="connsiteX19" fmla="*/ 559340 w 6827111"/>
              <a:gd name="connsiteY19" fmla="*/ 1705496 h 1895186"/>
              <a:gd name="connsiteX20" fmla="*/ 578796 w 6827111"/>
              <a:gd name="connsiteY20" fmla="*/ 1700633 h 1895186"/>
              <a:gd name="connsiteX21" fmla="*/ 607959 w 6827111"/>
              <a:gd name="connsiteY21" fmla="*/ 1698191 h 1895186"/>
              <a:gd name="connsiteX22" fmla="*/ 661481 w 6827111"/>
              <a:gd name="connsiteY22" fmla="*/ 1676313 h 1895186"/>
              <a:gd name="connsiteX23" fmla="*/ 685800 w 6827111"/>
              <a:gd name="connsiteY23" fmla="*/ 1671450 h 1895186"/>
              <a:gd name="connsiteX24" fmla="*/ 753894 w 6827111"/>
              <a:gd name="connsiteY24" fmla="*/ 1666586 h 1895186"/>
              <a:gd name="connsiteX25" fmla="*/ 851170 w 6827111"/>
              <a:gd name="connsiteY25" fmla="*/ 1651994 h 1895186"/>
              <a:gd name="connsiteX26" fmla="*/ 880353 w 6827111"/>
              <a:gd name="connsiteY26" fmla="*/ 1642267 h 1895186"/>
              <a:gd name="connsiteX27" fmla="*/ 894945 w 6827111"/>
              <a:gd name="connsiteY27" fmla="*/ 1637403 h 1895186"/>
              <a:gd name="connsiteX28" fmla="*/ 943583 w 6827111"/>
              <a:gd name="connsiteY28" fmla="*/ 1632539 h 1895186"/>
              <a:gd name="connsiteX29" fmla="*/ 972766 w 6827111"/>
              <a:gd name="connsiteY29" fmla="*/ 1622811 h 1895186"/>
              <a:gd name="connsiteX30" fmla="*/ 1011677 w 6827111"/>
              <a:gd name="connsiteY30" fmla="*/ 1588765 h 1895186"/>
              <a:gd name="connsiteX31" fmla="*/ 1045723 w 6827111"/>
              <a:gd name="connsiteY31" fmla="*/ 1579037 h 1895186"/>
              <a:gd name="connsiteX32" fmla="*/ 1079770 w 6827111"/>
              <a:gd name="connsiteY32" fmla="*/ 1574173 h 1895186"/>
              <a:gd name="connsiteX33" fmla="*/ 1123545 w 6827111"/>
              <a:gd name="connsiteY33" fmla="*/ 1559582 h 1895186"/>
              <a:gd name="connsiteX34" fmla="*/ 1157591 w 6827111"/>
              <a:gd name="connsiteY34" fmla="*/ 1549854 h 1895186"/>
              <a:gd name="connsiteX35" fmla="*/ 1282792 w 6827111"/>
              <a:gd name="connsiteY35" fmla="*/ 1527976 h 1895186"/>
              <a:gd name="connsiteX36" fmla="*/ 1254888 w 6827111"/>
              <a:gd name="connsiteY36" fmla="*/ 1530399 h 1895186"/>
              <a:gd name="connsiteX37" fmla="*/ 1318098 w 6827111"/>
              <a:gd name="connsiteY37" fmla="*/ 1515807 h 1895186"/>
              <a:gd name="connsiteX38" fmla="*/ 1347281 w 6827111"/>
              <a:gd name="connsiteY38" fmla="*/ 1510943 h 1895186"/>
              <a:gd name="connsiteX39" fmla="*/ 1371600 w 6827111"/>
              <a:gd name="connsiteY39" fmla="*/ 1506079 h 1895186"/>
              <a:gd name="connsiteX40" fmla="*/ 1391055 w 6827111"/>
              <a:gd name="connsiteY40" fmla="*/ 1501216 h 1895186"/>
              <a:gd name="connsiteX41" fmla="*/ 1420238 w 6827111"/>
              <a:gd name="connsiteY41" fmla="*/ 1496352 h 1895186"/>
              <a:gd name="connsiteX42" fmla="*/ 1449421 w 6827111"/>
              <a:gd name="connsiteY42" fmla="*/ 1486624 h 1895186"/>
              <a:gd name="connsiteX43" fmla="*/ 1464013 w 6827111"/>
              <a:gd name="connsiteY43" fmla="*/ 1481760 h 1895186"/>
              <a:gd name="connsiteX44" fmla="*/ 1478604 w 6827111"/>
              <a:gd name="connsiteY44" fmla="*/ 1476896 h 1895186"/>
              <a:gd name="connsiteX45" fmla="*/ 1502923 w 6827111"/>
              <a:gd name="connsiteY45" fmla="*/ 1472033 h 1895186"/>
              <a:gd name="connsiteX46" fmla="*/ 1532106 w 6827111"/>
              <a:gd name="connsiteY46" fmla="*/ 1462305 h 1895186"/>
              <a:gd name="connsiteX47" fmla="*/ 1566153 w 6827111"/>
              <a:gd name="connsiteY47" fmla="*/ 1457441 h 1895186"/>
              <a:gd name="connsiteX48" fmla="*/ 1580745 w 6827111"/>
              <a:gd name="connsiteY48" fmla="*/ 1452577 h 1895186"/>
              <a:gd name="connsiteX49" fmla="*/ 1600200 w 6827111"/>
              <a:gd name="connsiteY49" fmla="*/ 1442850 h 1895186"/>
              <a:gd name="connsiteX50" fmla="*/ 1639111 w 6827111"/>
              <a:gd name="connsiteY50" fmla="*/ 1437986 h 1895186"/>
              <a:gd name="connsiteX51" fmla="*/ 1663430 w 6827111"/>
              <a:gd name="connsiteY51" fmla="*/ 1433122 h 1895186"/>
              <a:gd name="connsiteX52" fmla="*/ 1678021 w 6827111"/>
              <a:gd name="connsiteY52" fmla="*/ 1428258 h 1895186"/>
              <a:gd name="connsiteX53" fmla="*/ 1692613 w 6827111"/>
              <a:gd name="connsiteY53" fmla="*/ 1418531 h 1895186"/>
              <a:gd name="connsiteX54" fmla="*/ 1707204 w 6827111"/>
              <a:gd name="connsiteY54" fmla="*/ 1413667 h 1895186"/>
              <a:gd name="connsiteX55" fmla="*/ 1721796 w 6827111"/>
              <a:gd name="connsiteY55" fmla="*/ 1403939 h 1895186"/>
              <a:gd name="connsiteX56" fmla="*/ 1746115 w 6827111"/>
              <a:gd name="connsiteY56" fmla="*/ 1399075 h 1895186"/>
              <a:gd name="connsiteX57" fmla="*/ 1760706 w 6827111"/>
              <a:gd name="connsiteY57" fmla="*/ 1389348 h 1895186"/>
              <a:gd name="connsiteX58" fmla="*/ 1833664 w 6827111"/>
              <a:gd name="connsiteY58" fmla="*/ 1374756 h 1895186"/>
              <a:gd name="connsiteX59" fmla="*/ 1853119 w 6827111"/>
              <a:gd name="connsiteY59" fmla="*/ 1369892 h 1895186"/>
              <a:gd name="connsiteX60" fmla="*/ 1882302 w 6827111"/>
              <a:gd name="connsiteY60" fmla="*/ 1365028 h 1895186"/>
              <a:gd name="connsiteX61" fmla="*/ 1911485 w 6827111"/>
              <a:gd name="connsiteY61" fmla="*/ 1345573 h 1895186"/>
              <a:gd name="connsiteX62" fmla="*/ 1964987 w 6827111"/>
              <a:gd name="connsiteY62" fmla="*/ 1335845 h 1895186"/>
              <a:gd name="connsiteX63" fmla="*/ 1994170 w 6827111"/>
              <a:gd name="connsiteY63" fmla="*/ 1326118 h 1895186"/>
              <a:gd name="connsiteX64" fmla="*/ 2042809 w 6827111"/>
              <a:gd name="connsiteY64" fmla="*/ 1306662 h 1895186"/>
              <a:gd name="connsiteX65" fmla="*/ 2057400 w 6827111"/>
              <a:gd name="connsiteY65" fmla="*/ 1301799 h 1895186"/>
              <a:gd name="connsiteX66" fmla="*/ 2110902 w 6827111"/>
              <a:gd name="connsiteY66" fmla="*/ 1296935 h 1895186"/>
              <a:gd name="connsiteX67" fmla="*/ 2135221 w 6827111"/>
              <a:gd name="connsiteY67" fmla="*/ 1292071 h 1895186"/>
              <a:gd name="connsiteX68" fmla="*/ 2178996 w 6827111"/>
              <a:gd name="connsiteY68" fmla="*/ 1287207 h 1895186"/>
              <a:gd name="connsiteX69" fmla="*/ 2193587 w 6827111"/>
              <a:gd name="connsiteY69" fmla="*/ 1282343 h 1895186"/>
              <a:gd name="connsiteX70" fmla="*/ 2213043 w 6827111"/>
              <a:gd name="connsiteY70" fmla="*/ 1277479 h 1895186"/>
              <a:gd name="connsiteX71" fmla="*/ 2242226 w 6827111"/>
              <a:gd name="connsiteY71" fmla="*/ 1267752 h 1895186"/>
              <a:gd name="connsiteX72" fmla="*/ 2256817 w 6827111"/>
              <a:gd name="connsiteY72" fmla="*/ 1262888 h 1895186"/>
              <a:gd name="connsiteX73" fmla="*/ 2286000 w 6827111"/>
              <a:gd name="connsiteY73" fmla="*/ 1243433 h 1895186"/>
              <a:gd name="connsiteX74" fmla="*/ 2300591 w 6827111"/>
              <a:gd name="connsiteY74" fmla="*/ 1238569 h 1895186"/>
              <a:gd name="connsiteX75" fmla="*/ 2315183 w 6827111"/>
              <a:gd name="connsiteY75" fmla="*/ 1228841 h 1895186"/>
              <a:gd name="connsiteX76" fmla="*/ 2344366 w 6827111"/>
              <a:gd name="connsiteY76" fmla="*/ 1219113 h 1895186"/>
              <a:gd name="connsiteX77" fmla="*/ 2358957 w 6827111"/>
              <a:gd name="connsiteY77" fmla="*/ 1214250 h 1895186"/>
              <a:gd name="connsiteX78" fmla="*/ 2373549 w 6827111"/>
              <a:gd name="connsiteY78" fmla="*/ 1209386 h 1895186"/>
              <a:gd name="connsiteX79" fmla="*/ 2393004 w 6827111"/>
              <a:gd name="connsiteY79" fmla="*/ 1204522 h 1895186"/>
              <a:gd name="connsiteX80" fmla="*/ 2417323 w 6827111"/>
              <a:gd name="connsiteY80" fmla="*/ 1199658 h 1895186"/>
              <a:gd name="connsiteX81" fmla="*/ 2451370 w 6827111"/>
              <a:gd name="connsiteY81" fmla="*/ 1189931 h 1895186"/>
              <a:gd name="connsiteX82" fmla="*/ 2490281 w 6827111"/>
              <a:gd name="connsiteY82" fmla="*/ 1185067 h 1895186"/>
              <a:gd name="connsiteX83" fmla="*/ 2504872 w 6827111"/>
              <a:gd name="connsiteY83" fmla="*/ 1180203 h 1895186"/>
              <a:gd name="connsiteX84" fmla="*/ 2553511 w 6827111"/>
              <a:gd name="connsiteY84" fmla="*/ 1170475 h 1895186"/>
              <a:gd name="connsiteX85" fmla="*/ 2582694 w 6827111"/>
              <a:gd name="connsiteY85" fmla="*/ 1160748 h 1895186"/>
              <a:gd name="connsiteX86" fmla="*/ 2597285 w 6827111"/>
              <a:gd name="connsiteY86" fmla="*/ 1155884 h 1895186"/>
              <a:gd name="connsiteX87" fmla="*/ 2636196 w 6827111"/>
              <a:gd name="connsiteY87" fmla="*/ 1146156 h 1895186"/>
              <a:gd name="connsiteX88" fmla="*/ 2660515 w 6827111"/>
              <a:gd name="connsiteY88" fmla="*/ 1141292 h 1895186"/>
              <a:gd name="connsiteX89" fmla="*/ 2699426 w 6827111"/>
              <a:gd name="connsiteY89" fmla="*/ 1136428 h 1895186"/>
              <a:gd name="connsiteX90" fmla="*/ 2728609 w 6827111"/>
              <a:gd name="connsiteY90" fmla="*/ 1118184 h 1895186"/>
              <a:gd name="connsiteX91" fmla="*/ 2821021 w 6827111"/>
              <a:gd name="connsiteY91" fmla="*/ 1107245 h 1895186"/>
              <a:gd name="connsiteX92" fmla="*/ 2884251 w 6827111"/>
              <a:gd name="connsiteY92" fmla="*/ 1097518 h 1895186"/>
              <a:gd name="connsiteX93" fmla="*/ 2898843 w 6827111"/>
              <a:gd name="connsiteY93" fmla="*/ 1092654 h 1895186"/>
              <a:gd name="connsiteX94" fmla="*/ 2928026 w 6827111"/>
              <a:gd name="connsiteY94" fmla="*/ 1087790 h 1895186"/>
              <a:gd name="connsiteX95" fmla="*/ 2971800 w 6827111"/>
              <a:gd name="connsiteY95" fmla="*/ 1073199 h 1895186"/>
              <a:gd name="connsiteX96" fmla="*/ 2986391 w 6827111"/>
              <a:gd name="connsiteY96" fmla="*/ 1068335 h 1895186"/>
              <a:gd name="connsiteX97" fmla="*/ 3000983 w 6827111"/>
              <a:gd name="connsiteY97" fmla="*/ 1063471 h 1895186"/>
              <a:gd name="connsiteX98" fmla="*/ 3093396 w 6827111"/>
              <a:gd name="connsiteY98" fmla="*/ 1048879 h 1895186"/>
              <a:gd name="connsiteX99" fmla="*/ 3107987 w 6827111"/>
              <a:gd name="connsiteY99" fmla="*/ 1039152 h 1895186"/>
              <a:gd name="connsiteX100" fmla="*/ 3170542 w 6827111"/>
              <a:gd name="connsiteY100" fmla="*/ 1038021 h 1895186"/>
              <a:gd name="connsiteX101" fmla="*/ 3292813 w 6827111"/>
              <a:gd name="connsiteY101" fmla="*/ 1014833 h 1895186"/>
              <a:gd name="connsiteX102" fmla="*/ 3360906 w 6827111"/>
              <a:gd name="connsiteY102" fmla="*/ 1000241 h 1895186"/>
              <a:gd name="connsiteX103" fmla="*/ 3390089 w 6827111"/>
              <a:gd name="connsiteY103" fmla="*/ 995377 h 1895186"/>
              <a:gd name="connsiteX104" fmla="*/ 3404681 w 6827111"/>
              <a:gd name="connsiteY104" fmla="*/ 990513 h 1895186"/>
              <a:gd name="connsiteX105" fmla="*/ 3443591 w 6827111"/>
              <a:gd name="connsiteY105" fmla="*/ 980786 h 1895186"/>
              <a:gd name="connsiteX106" fmla="*/ 3458183 w 6827111"/>
              <a:gd name="connsiteY106" fmla="*/ 975922 h 1895186"/>
              <a:gd name="connsiteX107" fmla="*/ 3525940 w 6827111"/>
              <a:gd name="connsiteY107" fmla="*/ 978523 h 1895186"/>
              <a:gd name="connsiteX108" fmla="*/ 3562925 w 6827111"/>
              <a:gd name="connsiteY108" fmla="*/ 950134 h 1895186"/>
              <a:gd name="connsiteX109" fmla="*/ 3589506 w 6827111"/>
              <a:gd name="connsiteY109" fmla="*/ 951603 h 1895186"/>
              <a:gd name="connsiteX110" fmla="*/ 3638145 w 6827111"/>
              <a:gd name="connsiteY110" fmla="*/ 941875 h 1895186"/>
              <a:gd name="connsiteX111" fmla="*/ 3686783 w 6827111"/>
              <a:gd name="connsiteY111" fmla="*/ 927284 h 1895186"/>
              <a:gd name="connsiteX112" fmla="*/ 3701374 w 6827111"/>
              <a:gd name="connsiteY112" fmla="*/ 922420 h 1895186"/>
              <a:gd name="connsiteX113" fmla="*/ 3730557 w 6827111"/>
              <a:gd name="connsiteY113" fmla="*/ 917556 h 1895186"/>
              <a:gd name="connsiteX114" fmla="*/ 3813243 w 6827111"/>
              <a:gd name="connsiteY114" fmla="*/ 907828 h 1895186"/>
              <a:gd name="connsiteX115" fmla="*/ 3852153 w 6827111"/>
              <a:gd name="connsiteY115" fmla="*/ 902965 h 1895186"/>
              <a:gd name="connsiteX116" fmla="*/ 3895928 w 6827111"/>
              <a:gd name="connsiteY116" fmla="*/ 888373 h 1895186"/>
              <a:gd name="connsiteX117" fmla="*/ 3925111 w 6827111"/>
              <a:gd name="connsiteY117" fmla="*/ 878645 h 1895186"/>
              <a:gd name="connsiteX118" fmla="*/ 3959157 w 6827111"/>
              <a:gd name="connsiteY118" fmla="*/ 873782 h 1895186"/>
              <a:gd name="connsiteX119" fmla="*/ 3983477 w 6827111"/>
              <a:gd name="connsiteY119" fmla="*/ 868918 h 1895186"/>
              <a:gd name="connsiteX120" fmla="*/ 4027251 w 6827111"/>
              <a:gd name="connsiteY120" fmla="*/ 864054 h 1895186"/>
              <a:gd name="connsiteX121" fmla="*/ 4061298 w 6827111"/>
              <a:gd name="connsiteY121" fmla="*/ 859190 h 1895186"/>
              <a:gd name="connsiteX122" fmla="*/ 4095345 w 6827111"/>
              <a:gd name="connsiteY122" fmla="*/ 849462 h 1895186"/>
              <a:gd name="connsiteX123" fmla="*/ 4114462 w 6827111"/>
              <a:gd name="connsiteY123" fmla="*/ 844599 h 1895186"/>
              <a:gd name="connsiteX124" fmla="*/ 4147377 w 6827111"/>
              <a:gd name="connsiteY124" fmla="*/ 827406 h 1895186"/>
              <a:gd name="connsiteX125" fmla="*/ 4217278 w 6827111"/>
              <a:gd name="connsiteY125" fmla="*/ 810552 h 1895186"/>
              <a:gd name="connsiteX126" fmla="*/ 4275306 w 6827111"/>
              <a:gd name="connsiteY126" fmla="*/ 805688 h 1895186"/>
              <a:gd name="connsiteX127" fmla="*/ 4304489 w 6827111"/>
              <a:gd name="connsiteY127" fmla="*/ 795960 h 1895186"/>
              <a:gd name="connsiteX128" fmla="*/ 4319081 w 6827111"/>
              <a:gd name="connsiteY128" fmla="*/ 791096 h 1895186"/>
              <a:gd name="connsiteX129" fmla="*/ 4353128 w 6827111"/>
              <a:gd name="connsiteY129" fmla="*/ 786233 h 1895186"/>
              <a:gd name="connsiteX130" fmla="*/ 4377447 w 6827111"/>
              <a:gd name="connsiteY130" fmla="*/ 781369 h 1895186"/>
              <a:gd name="connsiteX131" fmla="*/ 4411494 w 6827111"/>
              <a:gd name="connsiteY131" fmla="*/ 776505 h 1895186"/>
              <a:gd name="connsiteX132" fmla="*/ 4426085 w 6827111"/>
              <a:gd name="connsiteY132" fmla="*/ 771641 h 1895186"/>
              <a:gd name="connsiteX133" fmla="*/ 4508770 w 6827111"/>
              <a:gd name="connsiteY133" fmla="*/ 761913 h 1895186"/>
              <a:gd name="connsiteX134" fmla="*/ 4537953 w 6827111"/>
              <a:gd name="connsiteY134" fmla="*/ 752186 h 1895186"/>
              <a:gd name="connsiteX135" fmla="*/ 4552545 w 6827111"/>
              <a:gd name="connsiteY135" fmla="*/ 737594 h 1895186"/>
              <a:gd name="connsiteX136" fmla="*/ 4567136 w 6827111"/>
              <a:gd name="connsiteY136" fmla="*/ 732731 h 1895186"/>
              <a:gd name="connsiteX137" fmla="*/ 4581728 w 6827111"/>
              <a:gd name="connsiteY137" fmla="*/ 723003 h 1895186"/>
              <a:gd name="connsiteX138" fmla="*/ 4596319 w 6827111"/>
              <a:gd name="connsiteY138" fmla="*/ 718139 h 1895186"/>
              <a:gd name="connsiteX139" fmla="*/ 4610911 w 6827111"/>
              <a:gd name="connsiteY139" fmla="*/ 708411 h 1895186"/>
              <a:gd name="connsiteX140" fmla="*/ 4630366 w 6827111"/>
              <a:gd name="connsiteY140" fmla="*/ 692351 h 1895186"/>
              <a:gd name="connsiteX141" fmla="*/ 4659549 w 6827111"/>
              <a:gd name="connsiteY141" fmla="*/ 693820 h 1895186"/>
              <a:gd name="connsiteX142" fmla="*/ 4674140 w 6827111"/>
              <a:gd name="connsiteY142" fmla="*/ 688956 h 1895186"/>
              <a:gd name="connsiteX143" fmla="*/ 4732506 w 6827111"/>
              <a:gd name="connsiteY143" fmla="*/ 679228 h 1895186"/>
              <a:gd name="connsiteX144" fmla="*/ 4781145 w 6827111"/>
              <a:gd name="connsiteY144" fmla="*/ 664637 h 1895186"/>
              <a:gd name="connsiteX145" fmla="*/ 4810328 w 6827111"/>
              <a:gd name="connsiteY145" fmla="*/ 659773 h 1895186"/>
              <a:gd name="connsiteX146" fmla="*/ 4824919 w 6827111"/>
              <a:gd name="connsiteY146" fmla="*/ 654909 h 1895186"/>
              <a:gd name="connsiteX147" fmla="*/ 4849238 w 6827111"/>
              <a:gd name="connsiteY147" fmla="*/ 650045 h 1895186"/>
              <a:gd name="connsiteX148" fmla="*/ 4883285 w 6827111"/>
              <a:gd name="connsiteY148" fmla="*/ 635454 h 1895186"/>
              <a:gd name="connsiteX149" fmla="*/ 5000017 w 6827111"/>
              <a:gd name="connsiteY149" fmla="*/ 625726 h 1895186"/>
              <a:gd name="connsiteX150" fmla="*/ 5014609 w 6827111"/>
              <a:gd name="connsiteY150" fmla="*/ 611135 h 1895186"/>
              <a:gd name="connsiteX151" fmla="*/ 5029200 w 6827111"/>
              <a:gd name="connsiteY151" fmla="*/ 606271 h 1895186"/>
              <a:gd name="connsiteX152" fmla="*/ 5102157 w 6827111"/>
              <a:gd name="connsiteY152" fmla="*/ 596543 h 1895186"/>
              <a:gd name="connsiteX153" fmla="*/ 5136204 w 6827111"/>
              <a:gd name="connsiteY153" fmla="*/ 581952 h 1895186"/>
              <a:gd name="connsiteX154" fmla="*/ 5170251 w 6827111"/>
              <a:gd name="connsiteY154" fmla="*/ 572224 h 1895186"/>
              <a:gd name="connsiteX155" fmla="*/ 5184843 w 6827111"/>
              <a:gd name="connsiteY155" fmla="*/ 567360 h 1895186"/>
              <a:gd name="connsiteX156" fmla="*/ 5214026 w 6827111"/>
              <a:gd name="connsiteY156" fmla="*/ 547905 h 1895186"/>
              <a:gd name="connsiteX157" fmla="*/ 5228617 w 6827111"/>
              <a:gd name="connsiteY157" fmla="*/ 543041 h 1895186"/>
              <a:gd name="connsiteX158" fmla="*/ 5257800 w 6827111"/>
              <a:gd name="connsiteY158" fmla="*/ 528450 h 1895186"/>
              <a:gd name="connsiteX159" fmla="*/ 5335621 w 6827111"/>
              <a:gd name="connsiteY159" fmla="*/ 523586 h 1895186"/>
              <a:gd name="connsiteX160" fmla="*/ 5398851 w 6827111"/>
              <a:gd name="connsiteY160" fmla="*/ 518722 h 1895186"/>
              <a:gd name="connsiteX161" fmla="*/ 5447489 w 6827111"/>
              <a:gd name="connsiteY161" fmla="*/ 508994 h 1895186"/>
              <a:gd name="connsiteX162" fmla="*/ 5481536 w 6827111"/>
              <a:gd name="connsiteY162" fmla="*/ 499267 h 1895186"/>
              <a:gd name="connsiteX163" fmla="*/ 5496128 w 6827111"/>
              <a:gd name="connsiteY163" fmla="*/ 494403 h 1895186"/>
              <a:gd name="connsiteX164" fmla="*/ 5535038 w 6827111"/>
              <a:gd name="connsiteY164" fmla="*/ 489539 h 1895186"/>
              <a:gd name="connsiteX165" fmla="*/ 5622587 w 6827111"/>
              <a:gd name="connsiteY165" fmla="*/ 479811 h 1895186"/>
              <a:gd name="connsiteX166" fmla="*/ 5651770 w 6827111"/>
              <a:gd name="connsiteY166" fmla="*/ 470084 h 1895186"/>
              <a:gd name="connsiteX167" fmla="*/ 5666362 w 6827111"/>
              <a:gd name="connsiteY167" fmla="*/ 465220 h 1895186"/>
              <a:gd name="connsiteX168" fmla="*/ 5700409 w 6827111"/>
              <a:gd name="connsiteY168" fmla="*/ 455492 h 1895186"/>
              <a:gd name="connsiteX169" fmla="*/ 5719864 w 6827111"/>
              <a:gd name="connsiteY169" fmla="*/ 440901 h 1895186"/>
              <a:gd name="connsiteX170" fmla="*/ 5749047 w 6827111"/>
              <a:gd name="connsiteY170" fmla="*/ 431173 h 1895186"/>
              <a:gd name="connsiteX171" fmla="*/ 5802549 w 6827111"/>
              <a:gd name="connsiteY171" fmla="*/ 421445 h 1895186"/>
              <a:gd name="connsiteX172" fmla="*/ 5890098 w 6827111"/>
              <a:gd name="connsiteY172" fmla="*/ 416582 h 1895186"/>
              <a:gd name="connsiteX173" fmla="*/ 5933872 w 6827111"/>
              <a:gd name="connsiteY173" fmla="*/ 406854 h 1895186"/>
              <a:gd name="connsiteX174" fmla="*/ 5963055 w 6827111"/>
              <a:gd name="connsiteY174" fmla="*/ 397126 h 1895186"/>
              <a:gd name="connsiteX175" fmla="*/ 5977647 w 6827111"/>
              <a:gd name="connsiteY175" fmla="*/ 392262 h 1895186"/>
              <a:gd name="connsiteX176" fmla="*/ 6006830 w 6827111"/>
              <a:gd name="connsiteY176" fmla="*/ 387399 h 1895186"/>
              <a:gd name="connsiteX177" fmla="*/ 6055468 w 6827111"/>
              <a:gd name="connsiteY177" fmla="*/ 377671 h 1895186"/>
              <a:gd name="connsiteX178" fmla="*/ 6254885 w 6827111"/>
              <a:gd name="connsiteY178" fmla="*/ 372807 h 1895186"/>
              <a:gd name="connsiteX179" fmla="*/ 6269477 w 6827111"/>
              <a:gd name="connsiteY179" fmla="*/ 367943 h 1895186"/>
              <a:gd name="connsiteX180" fmla="*/ 6303523 w 6827111"/>
              <a:gd name="connsiteY180" fmla="*/ 324169 h 1895186"/>
              <a:gd name="connsiteX181" fmla="*/ 6322979 w 6827111"/>
              <a:gd name="connsiteY181" fmla="*/ 314441 h 1895186"/>
              <a:gd name="connsiteX182" fmla="*/ 6391072 w 6827111"/>
              <a:gd name="connsiteY182" fmla="*/ 299850 h 1895186"/>
              <a:gd name="connsiteX183" fmla="*/ 6405664 w 6827111"/>
              <a:gd name="connsiteY183" fmla="*/ 294986 h 1895186"/>
              <a:gd name="connsiteX184" fmla="*/ 6434847 w 6827111"/>
              <a:gd name="connsiteY184" fmla="*/ 290122 h 1895186"/>
              <a:gd name="connsiteX185" fmla="*/ 6449438 w 6827111"/>
              <a:gd name="connsiteY185" fmla="*/ 280394 h 1895186"/>
              <a:gd name="connsiteX186" fmla="*/ 6473757 w 6827111"/>
              <a:gd name="connsiteY186" fmla="*/ 275531 h 1895186"/>
              <a:gd name="connsiteX187" fmla="*/ 6478621 w 6827111"/>
              <a:gd name="connsiteY187" fmla="*/ 260939 h 1895186"/>
              <a:gd name="connsiteX188" fmla="*/ 6561306 w 6827111"/>
              <a:gd name="connsiteY188" fmla="*/ 246348 h 1895186"/>
              <a:gd name="connsiteX189" fmla="*/ 6566170 w 6827111"/>
              <a:gd name="connsiteY189" fmla="*/ 231756 h 1895186"/>
              <a:gd name="connsiteX190" fmla="*/ 6580762 w 6827111"/>
              <a:gd name="connsiteY190" fmla="*/ 222028 h 1895186"/>
              <a:gd name="connsiteX191" fmla="*/ 6731540 w 6827111"/>
              <a:gd name="connsiteY191" fmla="*/ 217165 h 1895186"/>
              <a:gd name="connsiteX192" fmla="*/ 6750996 w 6827111"/>
              <a:gd name="connsiteY192" fmla="*/ 212301 h 1895186"/>
              <a:gd name="connsiteX193" fmla="*/ 6760723 w 6827111"/>
              <a:gd name="connsiteY193" fmla="*/ 183118 h 1895186"/>
              <a:gd name="connsiteX194" fmla="*/ 6765587 w 6827111"/>
              <a:gd name="connsiteY194" fmla="*/ 144207 h 1895186"/>
              <a:gd name="connsiteX195" fmla="*/ 6809362 w 6827111"/>
              <a:gd name="connsiteY195" fmla="*/ 129616 h 1895186"/>
              <a:gd name="connsiteX196" fmla="*/ 6814226 w 6827111"/>
              <a:gd name="connsiteY196" fmla="*/ 115024 h 1895186"/>
              <a:gd name="connsiteX197" fmla="*/ 6819089 w 6827111"/>
              <a:gd name="connsiteY197" fmla="*/ 51794 h 1895186"/>
              <a:gd name="connsiteX198" fmla="*/ 6822246 w 6827111"/>
              <a:gd name="connsiteY198" fmla="*/ 51794 h 1895186"/>
              <a:gd name="connsiteX199" fmla="*/ 6827111 w 6827111"/>
              <a:gd name="connsiteY199" fmla="*/ 0 h 1895186"/>
              <a:gd name="connsiteX0" fmla="*/ 0 w 6827111"/>
              <a:gd name="connsiteY0" fmla="*/ 1895186 h 1895186"/>
              <a:gd name="connsiteX1" fmla="*/ 38911 w 6827111"/>
              <a:gd name="connsiteY1" fmla="*/ 1880594 h 1895186"/>
              <a:gd name="connsiteX2" fmla="*/ 72957 w 6827111"/>
              <a:gd name="connsiteY2" fmla="*/ 1870867 h 1895186"/>
              <a:gd name="connsiteX3" fmla="*/ 102140 w 6827111"/>
              <a:gd name="connsiteY3" fmla="*/ 1851411 h 1895186"/>
              <a:gd name="connsiteX4" fmla="*/ 141051 w 6827111"/>
              <a:gd name="connsiteY4" fmla="*/ 1841684 h 1895186"/>
              <a:gd name="connsiteX5" fmla="*/ 160506 w 6827111"/>
              <a:gd name="connsiteY5" fmla="*/ 1836820 h 1895186"/>
              <a:gd name="connsiteX6" fmla="*/ 189689 w 6827111"/>
              <a:gd name="connsiteY6" fmla="*/ 1822228 h 1895186"/>
              <a:gd name="connsiteX7" fmla="*/ 209145 w 6827111"/>
              <a:gd name="connsiteY7" fmla="*/ 1812501 h 1895186"/>
              <a:gd name="connsiteX8" fmla="*/ 223736 w 6827111"/>
              <a:gd name="connsiteY8" fmla="*/ 1807637 h 1895186"/>
              <a:gd name="connsiteX9" fmla="*/ 245792 w 6827111"/>
              <a:gd name="connsiteY9" fmla="*/ 1797909 h 1895186"/>
              <a:gd name="connsiteX10" fmla="*/ 296694 w 6827111"/>
              <a:gd name="connsiteY10" fmla="*/ 1783318 h 1895186"/>
              <a:gd name="connsiteX11" fmla="*/ 330740 w 6827111"/>
              <a:gd name="connsiteY11" fmla="*/ 1778454 h 1895186"/>
              <a:gd name="connsiteX12" fmla="*/ 379379 w 6827111"/>
              <a:gd name="connsiteY12" fmla="*/ 1763862 h 1895186"/>
              <a:gd name="connsiteX13" fmla="*/ 408562 w 6827111"/>
              <a:gd name="connsiteY13" fmla="*/ 1758999 h 1895186"/>
              <a:gd name="connsiteX14" fmla="*/ 428017 w 6827111"/>
              <a:gd name="connsiteY14" fmla="*/ 1749271 h 1895186"/>
              <a:gd name="connsiteX15" fmla="*/ 457200 w 6827111"/>
              <a:gd name="connsiteY15" fmla="*/ 1739543 h 1895186"/>
              <a:gd name="connsiteX16" fmla="*/ 486383 w 6827111"/>
              <a:gd name="connsiteY16" fmla="*/ 1729816 h 1895186"/>
              <a:gd name="connsiteX17" fmla="*/ 530157 w 6827111"/>
              <a:gd name="connsiteY17" fmla="*/ 1715224 h 1895186"/>
              <a:gd name="connsiteX18" fmla="*/ 544749 w 6827111"/>
              <a:gd name="connsiteY18" fmla="*/ 1710360 h 1895186"/>
              <a:gd name="connsiteX19" fmla="*/ 559340 w 6827111"/>
              <a:gd name="connsiteY19" fmla="*/ 1705496 h 1895186"/>
              <a:gd name="connsiteX20" fmla="*/ 578796 w 6827111"/>
              <a:gd name="connsiteY20" fmla="*/ 1700633 h 1895186"/>
              <a:gd name="connsiteX21" fmla="*/ 607959 w 6827111"/>
              <a:gd name="connsiteY21" fmla="*/ 1698191 h 1895186"/>
              <a:gd name="connsiteX22" fmla="*/ 661481 w 6827111"/>
              <a:gd name="connsiteY22" fmla="*/ 1676313 h 1895186"/>
              <a:gd name="connsiteX23" fmla="*/ 685800 w 6827111"/>
              <a:gd name="connsiteY23" fmla="*/ 1671450 h 1895186"/>
              <a:gd name="connsiteX24" fmla="*/ 753894 w 6827111"/>
              <a:gd name="connsiteY24" fmla="*/ 1666586 h 1895186"/>
              <a:gd name="connsiteX25" fmla="*/ 851170 w 6827111"/>
              <a:gd name="connsiteY25" fmla="*/ 1651994 h 1895186"/>
              <a:gd name="connsiteX26" fmla="*/ 880353 w 6827111"/>
              <a:gd name="connsiteY26" fmla="*/ 1642267 h 1895186"/>
              <a:gd name="connsiteX27" fmla="*/ 894945 w 6827111"/>
              <a:gd name="connsiteY27" fmla="*/ 1637403 h 1895186"/>
              <a:gd name="connsiteX28" fmla="*/ 943583 w 6827111"/>
              <a:gd name="connsiteY28" fmla="*/ 1632539 h 1895186"/>
              <a:gd name="connsiteX29" fmla="*/ 972766 w 6827111"/>
              <a:gd name="connsiteY29" fmla="*/ 1622811 h 1895186"/>
              <a:gd name="connsiteX30" fmla="*/ 1011677 w 6827111"/>
              <a:gd name="connsiteY30" fmla="*/ 1588765 h 1895186"/>
              <a:gd name="connsiteX31" fmla="*/ 1045723 w 6827111"/>
              <a:gd name="connsiteY31" fmla="*/ 1579037 h 1895186"/>
              <a:gd name="connsiteX32" fmla="*/ 1079770 w 6827111"/>
              <a:gd name="connsiteY32" fmla="*/ 1574173 h 1895186"/>
              <a:gd name="connsiteX33" fmla="*/ 1123545 w 6827111"/>
              <a:gd name="connsiteY33" fmla="*/ 1559582 h 1895186"/>
              <a:gd name="connsiteX34" fmla="*/ 1157591 w 6827111"/>
              <a:gd name="connsiteY34" fmla="*/ 1549854 h 1895186"/>
              <a:gd name="connsiteX35" fmla="*/ 1282792 w 6827111"/>
              <a:gd name="connsiteY35" fmla="*/ 1527976 h 1895186"/>
              <a:gd name="connsiteX36" fmla="*/ 1254888 w 6827111"/>
              <a:gd name="connsiteY36" fmla="*/ 1530399 h 1895186"/>
              <a:gd name="connsiteX37" fmla="*/ 1318098 w 6827111"/>
              <a:gd name="connsiteY37" fmla="*/ 1515807 h 1895186"/>
              <a:gd name="connsiteX38" fmla="*/ 1347281 w 6827111"/>
              <a:gd name="connsiteY38" fmla="*/ 1510943 h 1895186"/>
              <a:gd name="connsiteX39" fmla="*/ 1371600 w 6827111"/>
              <a:gd name="connsiteY39" fmla="*/ 1506079 h 1895186"/>
              <a:gd name="connsiteX40" fmla="*/ 1391055 w 6827111"/>
              <a:gd name="connsiteY40" fmla="*/ 1501216 h 1895186"/>
              <a:gd name="connsiteX41" fmla="*/ 1420238 w 6827111"/>
              <a:gd name="connsiteY41" fmla="*/ 1496352 h 1895186"/>
              <a:gd name="connsiteX42" fmla="*/ 1449421 w 6827111"/>
              <a:gd name="connsiteY42" fmla="*/ 1486624 h 1895186"/>
              <a:gd name="connsiteX43" fmla="*/ 1464013 w 6827111"/>
              <a:gd name="connsiteY43" fmla="*/ 1481760 h 1895186"/>
              <a:gd name="connsiteX44" fmla="*/ 1478604 w 6827111"/>
              <a:gd name="connsiteY44" fmla="*/ 1476896 h 1895186"/>
              <a:gd name="connsiteX45" fmla="*/ 1502923 w 6827111"/>
              <a:gd name="connsiteY45" fmla="*/ 1472033 h 1895186"/>
              <a:gd name="connsiteX46" fmla="*/ 1532106 w 6827111"/>
              <a:gd name="connsiteY46" fmla="*/ 1462305 h 1895186"/>
              <a:gd name="connsiteX47" fmla="*/ 1566153 w 6827111"/>
              <a:gd name="connsiteY47" fmla="*/ 1457441 h 1895186"/>
              <a:gd name="connsiteX48" fmla="*/ 1580745 w 6827111"/>
              <a:gd name="connsiteY48" fmla="*/ 1452577 h 1895186"/>
              <a:gd name="connsiteX49" fmla="*/ 1600200 w 6827111"/>
              <a:gd name="connsiteY49" fmla="*/ 1442850 h 1895186"/>
              <a:gd name="connsiteX50" fmla="*/ 1639111 w 6827111"/>
              <a:gd name="connsiteY50" fmla="*/ 1437986 h 1895186"/>
              <a:gd name="connsiteX51" fmla="*/ 1663430 w 6827111"/>
              <a:gd name="connsiteY51" fmla="*/ 1433122 h 1895186"/>
              <a:gd name="connsiteX52" fmla="*/ 1678021 w 6827111"/>
              <a:gd name="connsiteY52" fmla="*/ 1428258 h 1895186"/>
              <a:gd name="connsiteX53" fmla="*/ 1692613 w 6827111"/>
              <a:gd name="connsiteY53" fmla="*/ 1418531 h 1895186"/>
              <a:gd name="connsiteX54" fmla="*/ 1707204 w 6827111"/>
              <a:gd name="connsiteY54" fmla="*/ 1413667 h 1895186"/>
              <a:gd name="connsiteX55" fmla="*/ 1721796 w 6827111"/>
              <a:gd name="connsiteY55" fmla="*/ 1403939 h 1895186"/>
              <a:gd name="connsiteX56" fmla="*/ 1746115 w 6827111"/>
              <a:gd name="connsiteY56" fmla="*/ 1399075 h 1895186"/>
              <a:gd name="connsiteX57" fmla="*/ 1760706 w 6827111"/>
              <a:gd name="connsiteY57" fmla="*/ 1389348 h 1895186"/>
              <a:gd name="connsiteX58" fmla="*/ 1833664 w 6827111"/>
              <a:gd name="connsiteY58" fmla="*/ 1374756 h 1895186"/>
              <a:gd name="connsiteX59" fmla="*/ 1853119 w 6827111"/>
              <a:gd name="connsiteY59" fmla="*/ 1369892 h 1895186"/>
              <a:gd name="connsiteX60" fmla="*/ 1882302 w 6827111"/>
              <a:gd name="connsiteY60" fmla="*/ 1365028 h 1895186"/>
              <a:gd name="connsiteX61" fmla="*/ 1911485 w 6827111"/>
              <a:gd name="connsiteY61" fmla="*/ 1345573 h 1895186"/>
              <a:gd name="connsiteX62" fmla="*/ 1964987 w 6827111"/>
              <a:gd name="connsiteY62" fmla="*/ 1335845 h 1895186"/>
              <a:gd name="connsiteX63" fmla="*/ 1994170 w 6827111"/>
              <a:gd name="connsiteY63" fmla="*/ 1326118 h 1895186"/>
              <a:gd name="connsiteX64" fmla="*/ 2042809 w 6827111"/>
              <a:gd name="connsiteY64" fmla="*/ 1306662 h 1895186"/>
              <a:gd name="connsiteX65" fmla="*/ 2057400 w 6827111"/>
              <a:gd name="connsiteY65" fmla="*/ 1301799 h 1895186"/>
              <a:gd name="connsiteX66" fmla="*/ 2110902 w 6827111"/>
              <a:gd name="connsiteY66" fmla="*/ 1296935 h 1895186"/>
              <a:gd name="connsiteX67" fmla="*/ 2135221 w 6827111"/>
              <a:gd name="connsiteY67" fmla="*/ 1292071 h 1895186"/>
              <a:gd name="connsiteX68" fmla="*/ 2178996 w 6827111"/>
              <a:gd name="connsiteY68" fmla="*/ 1287207 h 1895186"/>
              <a:gd name="connsiteX69" fmla="*/ 2193587 w 6827111"/>
              <a:gd name="connsiteY69" fmla="*/ 1282343 h 1895186"/>
              <a:gd name="connsiteX70" fmla="*/ 2213043 w 6827111"/>
              <a:gd name="connsiteY70" fmla="*/ 1277479 h 1895186"/>
              <a:gd name="connsiteX71" fmla="*/ 2242226 w 6827111"/>
              <a:gd name="connsiteY71" fmla="*/ 1267752 h 1895186"/>
              <a:gd name="connsiteX72" fmla="*/ 2256817 w 6827111"/>
              <a:gd name="connsiteY72" fmla="*/ 1262888 h 1895186"/>
              <a:gd name="connsiteX73" fmla="*/ 2286000 w 6827111"/>
              <a:gd name="connsiteY73" fmla="*/ 1243433 h 1895186"/>
              <a:gd name="connsiteX74" fmla="*/ 2300591 w 6827111"/>
              <a:gd name="connsiteY74" fmla="*/ 1238569 h 1895186"/>
              <a:gd name="connsiteX75" fmla="*/ 2315183 w 6827111"/>
              <a:gd name="connsiteY75" fmla="*/ 1228841 h 1895186"/>
              <a:gd name="connsiteX76" fmla="*/ 2344366 w 6827111"/>
              <a:gd name="connsiteY76" fmla="*/ 1219113 h 1895186"/>
              <a:gd name="connsiteX77" fmla="*/ 2358957 w 6827111"/>
              <a:gd name="connsiteY77" fmla="*/ 1214250 h 1895186"/>
              <a:gd name="connsiteX78" fmla="*/ 2373549 w 6827111"/>
              <a:gd name="connsiteY78" fmla="*/ 1209386 h 1895186"/>
              <a:gd name="connsiteX79" fmla="*/ 2393004 w 6827111"/>
              <a:gd name="connsiteY79" fmla="*/ 1204522 h 1895186"/>
              <a:gd name="connsiteX80" fmla="*/ 2417323 w 6827111"/>
              <a:gd name="connsiteY80" fmla="*/ 1199658 h 1895186"/>
              <a:gd name="connsiteX81" fmla="*/ 2451370 w 6827111"/>
              <a:gd name="connsiteY81" fmla="*/ 1189931 h 1895186"/>
              <a:gd name="connsiteX82" fmla="*/ 2490281 w 6827111"/>
              <a:gd name="connsiteY82" fmla="*/ 1185067 h 1895186"/>
              <a:gd name="connsiteX83" fmla="*/ 2504872 w 6827111"/>
              <a:gd name="connsiteY83" fmla="*/ 1180203 h 1895186"/>
              <a:gd name="connsiteX84" fmla="*/ 2553511 w 6827111"/>
              <a:gd name="connsiteY84" fmla="*/ 1170475 h 1895186"/>
              <a:gd name="connsiteX85" fmla="*/ 2582694 w 6827111"/>
              <a:gd name="connsiteY85" fmla="*/ 1160748 h 1895186"/>
              <a:gd name="connsiteX86" fmla="*/ 2597285 w 6827111"/>
              <a:gd name="connsiteY86" fmla="*/ 1155884 h 1895186"/>
              <a:gd name="connsiteX87" fmla="*/ 2636196 w 6827111"/>
              <a:gd name="connsiteY87" fmla="*/ 1146156 h 1895186"/>
              <a:gd name="connsiteX88" fmla="*/ 2660515 w 6827111"/>
              <a:gd name="connsiteY88" fmla="*/ 1141292 h 1895186"/>
              <a:gd name="connsiteX89" fmla="*/ 2699426 w 6827111"/>
              <a:gd name="connsiteY89" fmla="*/ 1136428 h 1895186"/>
              <a:gd name="connsiteX90" fmla="*/ 2728609 w 6827111"/>
              <a:gd name="connsiteY90" fmla="*/ 1118184 h 1895186"/>
              <a:gd name="connsiteX91" fmla="*/ 2821021 w 6827111"/>
              <a:gd name="connsiteY91" fmla="*/ 1107245 h 1895186"/>
              <a:gd name="connsiteX92" fmla="*/ 2884251 w 6827111"/>
              <a:gd name="connsiteY92" fmla="*/ 1097518 h 1895186"/>
              <a:gd name="connsiteX93" fmla="*/ 2898843 w 6827111"/>
              <a:gd name="connsiteY93" fmla="*/ 1092654 h 1895186"/>
              <a:gd name="connsiteX94" fmla="*/ 2928026 w 6827111"/>
              <a:gd name="connsiteY94" fmla="*/ 1087790 h 1895186"/>
              <a:gd name="connsiteX95" fmla="*/ 2971800 w 6827111"/>
              <a:gd name="connsiteY95" fmla="*/ 1073199 h 1895186"/>
              <a:gd name="connsiteX96" fmla="*/ 2986391 w 6827111"/>
              <a:gd name="connsiteY96" fmla="*/ 1068335 h 1895186"/>
              <a:gd name="connsiteX97" fmla="*/ 3000983 w 6827111"/>
              <a:gd name="connsiteY97" fmla="*/ 1063471 h 1895186"/>
              <a:gd name="connsiteX98" fmla="*/ 3093396 w 6827111"/>
              <a:gd name="connsiteY98" fmla="*/ 1048879 h 1895186"/>
              <a:gd name="connsiteX99" fmla="*/ 3107987 w 6827111"/>
              <a:gd name="connsiteY99" fmla="*/ 1039152 h 1895186"/>
              <a:gd name="connsiteX100" fmla="*/ 3170542 w 6827111"/>
              <a:gd name="connsiteY100" fmla="*/ 1038021 h 1895186"/>
              <a:gd name="connsiteX101" fmla="*/ 3292813 w 6827111"/>
              <a:gd name="connsiteY101" fmla="*/ 1014833 h 1895186"/>
              <a:gd name="connsiteX102" fmla="*/ 3360906 w 6827111"/>
              <a:gd name="connsiteY102" fmla="*/ 1000241 h 1895186"/>
              <a:gd name="connsiteX103" fmla="*/ 3390089 w 6827111"/>
              <a:gd name="connsiteY103" fmla="*/ 995377 h 1895186"/>
              <a:gd name="connsiteX104" fmla="*/ 3404681 w 6827111"/>
              <a:gd name="connsiteY104" fmla="*/ 990513 h 1895186"/>
              <a:gd name="connsiteX105" fmla="*/ 3443591 w 6827111"/>
              <a:gd name="connsiteY105" fmla="*/ 980786 h 1895186"/>
              <a:gd name="connsiteX106" fmla="*/ 3458183 w 6827111"/>
              <a:gd name="connsiteY106" fmla="*/ 975922 h 1895186"/>
              <a:gd name="connsiteX107" fmla="*/ 3525940 w 6827111"/>
              <a:gd name="connsiteY107" fmla="*/ 978523 h 1895186"/>
              <a:gd name="connsiteX108" fmla="*/ 3562925 w 6827111"/>
              <a:gd name="connsiteY108" fmla="*/ 950134 h 1895186"/>
              <a:gd name="connsiteX109" fmla="*/ 3589506 w 6827111"/>
              <a:gd name="connsiteY109" fmla="*/ 951603 h 1895186"/>
              <a:gd name="connsiteX110" fmla="*/ 3638145 w 6827111"/>
              <a:gd name="connsiteY110" fmla="*/ 941875 h 1895186"/>
              <a:gd name="connsiteX111" fmla="*/ 3686783 w 6827111"/>
              <a:gd name="connsiteY111" fmla="*/ 927284 h 1895186"/>
              <a:gd name="connsiteX112" fmla="*/ 3701374 w 6827111"/>
              <a:gd name="connsiteY112" fmla="*/ 922420 h 1895186"/>
              <a:gd name="connsiteX113" fmla="*/ 3730557 w 6827111"/>
              <a:gd name="connsiteY113" fmla="*/ 917556 h 1895186"/>
              <a:gd name="connsiteX114" fmla="*/ 3813243 w 6827111"/>
              <a:gd name="connsiteY114" fmla="*/ 907828 h 1895186"/>
              <a:gd name="connsiteX115" fmla="*/ 3852153 w 6827111"/>
              <a:gd name="connsiteY115" fmla="*/ 902965 h 1895186"/>
              <a:gd name="connsiteX116" fmla="*/ 3895928 w 6827111"/>
              <a:gd name="connsiteY116" fmla="*/ 888373 h 1895186"/>
              <a:gd name="connsiteX117" fmla="*/ 3925111 w 6827111"/>
              <a:gd name="connsiteY117" fmla="*/ 878645 h 1895186"/>
              <a:gd name="connsiteX118" fmla="*/ 3959157 w 6827111"/>
              <a:gd name="connsiteY118" fmla="*/ 873782 h 1895186"/>
              <a:gd name="connsiteX119" fmla="*/ 3983477 w 6827111"/>
              <a:gd name="connsiteY119" fmla="*/ 868918 h 1895186"/>
              <a:gd name="connsiteX120" fmla="*/ 4027251 w 6827111"/>
              <a:gd name="connsiteY120" fmla="*/ 864054 h 1895186"/>
              <a:gd name="connsiteX121" fmla="*/ 4061298 w 6827111"/>
              <a:gd name="connsiteY121" fmla="*/ 859190 h 1895186"/>
              <a:gd name="connsiteX122" fmla="*/ 4095345 w 6827111"/>
              <a:gd name="connsiteY122" fmla="*/ 849462 h 1895186"/>
              <a:gd name="connsiteX123" fmla="*/ 4114462 w 6827111"/>
              <a:gd name="connsiteY123" fmla="*/ 844599 h 1895186"/>
              <a:gd name="connsiteX124" fmla="*/ 4147377 w 6827111"/>
              <a:gd name="connsiteY124" fmla="*/ 827406 h 1895186"/>
              <a:gd name="connsiteX125" fmla="*/ 4217278 w 6827111"/>
              <a:gd name="connsiteY125" fmla="*/ 810552 h 1895186"/>
              <a:gd name="connsiteX126" fmla="*/ 4275306 w 6827111"/>
              <a:gd name="connsiteY126" fmla="*/ 805688 h 1895186"/>
              <a:gd name="connsiteX127" fmla="*/ 4304489 w 6827111"/>
              <a:gd name="connsiteY127" fmla="*/ 795960 h 1895186"/>
              <a:gd name="connsiteX128" fmla="*/ 4319081 w 6827111"/>
              <a:gd name="connsiteY128" fmla="*/ 791096 h 1895186"/>
              <a:gd name="connsiteX129" fmla="*/ 4353128 w 6827111"/>
              <a:gd name="connsiteY129" fmla="*/ 786233 h 1895186"/>
              <a:gd name="connsiteX130" fmla="*/ 4377447 w 6827111"/>
              <a:gd name="connsiteY130" fmla="*/ 781369 h 1895186"/>
              <a:gd name="connsiteX131" fmla="*/ 4411494 w 6827111"/>
              <a:gd name="connsiteY131" fmla="*/ 776505 h 1895186"/>
              <a:gd name="connsiteX132" fmla="*/ 4426085 w 6827111"/>
              <a:gd name="connsiteY132" fmla="*/ 771641 h 1895186"/>
              <a:gd name="connsiteX133" fmla="*/ 4508770 w 6827111"/>
              <a:gd name="connsiteY133" fmla="*/ 761913 h 1895186"/>
              <a:gd name="connsiteX134" fmla="*/ 4537953 w 6827111"/>
              <a:gd name="connsiteY134" fmla="*/ 752186 h 1895186"/>
              <a:gd name="connsiteX135" fmla="*/ 4552545 w 6827111"/>
              <a:gd name="connsiteY135" fmla="*/ 737594 h 1895186"/>
              <a:gd name="connsiteX136" fmla="*/ 4567136 w 6827111"/>
              <a:gd name="connsiteY136" fmla="*/ 732731 h 1895186"/>
              <a:gd name="connsiteX137" fmla="*/ 4581728 w 6827111"/>
              <a:gd name="connsiteY137" fmla="*/ 723003 h 1895186"/>
              <a:gd name="connsiteX138" fmla="*/ 4596319 w 6827111"/>
              <a:gd name="connsiteY138" fmla="*/ 718139 h 1895186"/>
              <a:gd name="connsiteX139" fmla="*/ 4610911 w 6827111"/>
              <a:gd name="connsiteY139" fmla="*/ 708411 h 1895186"/>
              <a:gd name="connsiteX140" fmla="*/ 4630366 w 6827111"/>
              <a:gd name="connsiteY140" fmla="*/ 692351 h 1895186"/>
              <a:gd name="connsiteX141" fmla="*/ 4659549 w 6827111"/>
              <a:gd name="connsiteY141" fmla="*/ 693820 h 1895186"/>
              <a:gd name="connsiteX142" fmla="*/ 4674140 w 6827111"/>
              <a:gd name="connsiteY142" fmla="*/ 688956 h 1895186"/>
              <a:gd name="connsiteX143" fmla="*/ 4732506 w 6827111"/>
              <a:gd name="connsiteY143" fmla="*/ 679228 h 1895186"/>
              <a:gd name="connsiteX144" fmla="*/ 4781145 w 6827111"/>
              <a:gd name="connsiteY144" fmla="*/ 664637 h 1895186"/>
              <a:gd name="connsiteX145" fmla="*/ 4810328 w 6827111"/>
              <a:gd name="connsiteY145" fmla="*/ 659773 h 1895186"/>
              <a:gd name="connsiteX146" fmla="*/ 4824919 w 6827111"/>
              <a:gd name="connsiteY146" fmla="*/ 654909 h 1895186"/>
              <a:gd name="connsiteX147" fmla="*/ 4849238 w 6827111"/>
              <a:gd name="connsiteY147" fmla="*/ 650045 h 1895186"/>
              <a:gd name="connsiteX148" fmla="*/ 4883285 w 6827111"/>
              <a:gd name="connsiteY148" fmla="*/ 635454 h 1895186"/>
              <a:gd name="connsiteX149" fmla="*/ 5000017 w 6827111"/>
              <a:gd name="connsiteY149" fmla="*/ 625726 h 1895186"/>
              <a:gd name="connsiteX150" fmla="*/ 5014609 w 6827111"/>
              <a:gd name="connsiteY150" fmla="*/ 611135 h 1895186"/>
              <a:gd name="connsiteX151" fmla="*/ 5029200 w 6827111"/>
              <a:gd name="connsiteY151" fmla="*/ 606271 h 1895186"/>
              <a:gd name="connsiteX152" fmla="*/ 5102157 w 6827111"/>
              <a:gd name="connsiteY152" fmla="*/ 596543 h 1895186"/>
              <a:gd name="connsiteX153" fmla="*/ 5136204 w 6827111"/>
              <a:gd name="connsiteY153" fmla="*/ 581952 h 1895186"/>
              <a:gd name="connsiteX154" fmla="*/ 5170251 w 6827111"/>
              <a:gd name="connsiteY154" fmla="*/ 572224 h 1895186"/>
              <a:gd name="connsiteX155" fmla="*/ 5184843 w 6827111"/>
              <a:gd name="connsiteY155" fmla="*/ 567360 h 1895186"/>
              <a:gd name="connsiteX156" fmla="*/ 5214026 w 6827111"/>
              <a:gd name="connsiteY156" fmla="*/ 547905 h 1895186"/>
              <a:gd name="connsiteX157" fmla="*/ 5228617 w 6827111"/>
              <a:gd name="connsiteY157" fmla="*/ 543041 h 1895186"/>
              <a:gd name="connsiteX158" fmla="*/ 5257800 w 6827111"/>
              <a:gd name="connsiteY158" fmla="*/ 528450 h 1895186"/>
              <a:gd name="connsiteX159" fmla="*/ 5335621 w 6827111"/>
              <a:gd name="connsiteY159" fmla="*/ 523586 h 1895186"/>
              <a:gd name="connsiteX160" fmla="*/ 5398851 w 6827111"/>
              <a:gd name="connsiteY160" fmla="*/ 518722 h 1895186"/>
              <a:gd name="connsiteX161" fmla="*/ 5447489 w 6827111"/>
              <a:gd name="connsiteY161" fmla="*/ 508994 h 1895186"/>
              <a:gd name="connsiteX162" fmla="*/ 5481536 w 6827111"/>
              <a:gd name="connsiteY162" fmla="*/ 499267 h 1895186"/>
              <a:gd name="connsiteX163" fmla="*/ 5496128 w 6827111"/>
              <a:gd name="connsiteY163" fmla="*/ 494403 h 1895186"/>
              <a:gd name="connsiteX164" fmla="*/ 5535038 w 6827111"/>
              <a:gd name="connsiteY164" fmla="*/ 489539 h 1895186"/>
              <a:gd name="connsiteX165" fmla="*/ 5622587 w 6827111"/>
              <a:gd name="connsiteY165" fmla="*/ 479811 h 1895186"/>
              <a:gd name="connsiteX166" fmla="*/ 5651770 w 6827111"/>
              <a:gd name="connsiteY166" fmla="*/ 470084 h 1895186"/>
              <a:gd name="connsiteX167" fmla="*/ 5666362 w 6827111"/>
              <a:gd name="connsiteY167" fmla="*/ 465220 h 1895186"/>
              <a:gd name="connsiteX168" fmla="*/ 5700409 w 6827111"/>
              <a:gd name="connsiteY168" fmla="*/ 455492 h 1895186"/>
              <a:gd name="connsiteX169" fmla="*/ 5719864 w 6827111"/>
              <a:gd name="connsiteY169" fmla="*/ 440901 h 1895186"/>
              <a:gd name="connsiteX170" fmla="*/ 5749047 w 6827111"/>
              <a:gd name="connsiteY170" fmla="*/ 431173 h 1895186"/>
              <a:gd name="connsiteX171" fmla="*/ 5802549 w 6827111"/>
              <a:gd name="connsiteY171" fmla="*/ 421445 h 1895186"/>
              <a:gd name="connsiteX172" fmla="*/ 5890098 w 6827111"/>
              <a:gd name="connsiteY172" fmla="*/ 416582 h 1895186"/>
              <a:gd name="connsiteX173" fmla="*/ 5933872 w 6827111"/>
              <a:gd name="connsiteY173" fmla="*/ 406854 h 1895186"/>
              <a:gd name="connsiteX174" fmla="*/ 5963055 w 6827111"/>
              <a:gd name="connsiteY174" fmla="*/ 397126 h 1895186"/>
              <a:gd name="connsiteX175" fmla="*/ 5977647 w 6827111"/>
              <a:gd name="connsiteY175" fmla="*/ 392262 h 1895186"/>
              <a:gd name="connsiteX176" fmla="*/ 6006830 w 6827111"/>
              <a:gd name="connsiteY176" fmla="*/ 387399 h 1895186"/>
              <a:gd name="connsiteX177" fmla="*/ 6055468 w 6827111"/>
              <a:gd name="connsiteY177" fmla="*/ 377671 h 1895186"/>
              <a:gd name="connsiteX178" fmla="*/ 6254885 w 6827111"/>
              <a:gd name="connsiteY178" fmla="*/ 372807 h 1895186"/>
              <a:gd name="connsiteX179" fmla="*/ 6269477 w 6827111"/>
              <a:gd name="connsiteY179" fmla="*/ 367943 h 1895186"/>
              <a:gd name="connsiteX180" fmla="*/ 6303523 w 6827111"/>
              <a:gd name="connsiteY180" fmla="*/ 324169 h 1895186"/>
              <a:gd name="connsiteX181" fmla="*/ 6322979 w 6827111"/>
              <a:gd name="connsiteY181" fmla="*/ 314441 h 1895186"/>
              <a:gd name="connsiteX182" fmla="*/ 6391072 w 6827111"/>
              <a:gd name="connsiteY182" fmla="*/ 299850 h 1895186"/>
              <a:gd name="connsiteX183" fmla="*/ 6405664 w 6827111"/>
              <a:gd name="connsiteY183" fmla="*/ 294986 h 1895186"/>
              <a:gd name="connsiteX184" fmla="*/ 6434847 w 6827111"/>
              <a:gd name="connsiteY184" fmla="*/ 290122 h 1895186"/>
              <a:gd name="connsiteX185" fmla="*/ 6449438 w 6827111"/>
              <a:gd name="connsiteY185" fmla="*/ 280394 h 1895186"/>
              <a:gd name="connsiteX186" fmla="*/ 6473757 w 6827111"/>
              <a:gd name="connsiteY186" fmla="*/ 275531 h 1895186"/>
              <a:gd name="connsiteX187" fmla="*/ 6478621 w 6827111"/>
              <a:gd name="connsiteY187" fmla="*/ 260939 h 1895186"/>
              <a:gd name="connsiteX188" fmla="*/ 6561306 w 6827111"/>
              <a:gd name="connsiteY188" fmla="*/ 246348 h 1895186"/>
              <a:gd name="connsiteX189" fmla="*/ 6566170 w 6827111"/>
              <a:gd name="connsiteY189" fmla="*/ 231756 h 1895186"/>
              <a:gd name="connsiteX190" fmla="*/ 6580762 w 6827111"/>
              <a:gd name="connsiteY190" fmla="*/ 222028 h 1895186"/>
              <a:gd name="connsiteX191" fmla="*/ 6731540 w 6827111"/>
              <a:gd name="connsiteY191" fmla="*/ 217165 h 1895186"/>
              <a:gd name="connsiteX192" fmla="*/ 6750996 w 6827111"/>
              <a:gd name="connsiteY192" fmla="*/ 212301 h 1895186"/>
              <a:gd name="connsiteX193" fmla="*/ 6760723 w 6827111"/>
              <a:gd name="connsiteY193" fmla="*/ 183118 h 1895186"/>
              <a:gd name="connsiteX194" fmla="*/ 6765587 w 6827111"/>
              <a:gd name="connsiteY194" fmla="*/ 144207 h 1895186"/>
              <a:gd name="connsiteX195" fmla="*/ 6809362 w 6827111"/>
              <a:gd name="connsiteY195" fmla="*/ 129616 h 1895186"/>
              <a:gd name="connsiteX196" fmla="*/ 6814226 w 6827111"/>
              <a:gd name="connsiteY196" fmla="*/ 115024 h 1895186"/>
              <a:gd name="connsiteX197" fmla="*/ 6819089 w 6827111"/>
              <a:gd name="connsiteY197" fmla="*/ 51794 h 1895186"/>
              <a:gd name="connsiteX198" fmla="*/ 6818236 w 6827111"/>
              <a:gd name="connsiteY198" fmla="*/ 67836 h 1895186"/>
              <a:gd name="connsiteX199" fmla="*/ 6827111 w 6827111"/>
              <a:gd name="connsiteY199" fmla="*/ 0 h 1895186"/>
              <a:gd name="connsiteX0" fmla="*/ 0 w 6823101"/>
              <a:gd name="connsiteY0" fmla="*/ 1879144 h 1879144"/>
              <a:gd name="connsiteX1" fmla="*/ 38911 w 6823101"/>
              <a:gd name="connsiteY1" fmla="*/ 1864552 h 1879144"/>
              <a:gd name="connsiteX2" fmla="*/ 72957 w 6823101"/>
              <a:gd name="connsiteY2" fmla="*/ 1854825 h 1879144"/>
              <a:gd name="connsiteX3" fmla="*/ 102140 w 6823101"/>
              <a:gd name="connsiteY3" fmla="*/ 1835369 h 1879144"/>
              <a:gd name="connsiteX4" fmla="*/ 141051 w 6823101"/>
              <a:gd name="connsiteY4" fmla="*/ 1825642 h 1879144"/>
              <a:gd name="connsiteX5" fmla="*/ 160506 w 6823101"/>
              <a:gd name="connsiteY5" fmla="*/ 1820778 h 1879144"/>
              <a:gd name="connsiteX6" fmla="*/ 189689 w 6823101"/>
              <a:gd name="connsiteY6" fmla="*/ 1806186 h 1879144"/>
              <a:gd name="connsiteX7" fmla="*/ 209145 w 6823101"/>
              <a:gd name="connsiteY7" fmla="*/ 1796459 h 1879144"/>
              <a:gd name="connsiteX8" fmla="*/ 223736 w 6823101"/>
              <a:gd name="connsiteY8" fmla="*/ 1791595 h 1879144"/>
              <a:gd name="connsiteX9" fmla="*/ 245792 w 6823101"/>
              <a:gd name="connsiteY9" fmla="*/ 1781867 h 1879144"/>
              <a:gd name="connsiteX10" fmla="*/ 296694 w 6823101"/>
              <a:gd name="connsiteY10" fmla="*/ 1767276 h 1879144"/>
              <a:gd name="connsiteX11" fmla="*/ 330740 w 6823101"/>
              <a:gd name="connsiteY11" fmla="*/ 1762412 h 1879144"/>
              <a:gd name="connsiteX12" fmla="*/ 379379 w 6823101"/>
              <a:gd name="connsiteY12" fmla="*/ 1747820 h 1879144"/>
              <a:gd name="connsiteX13" fmla="*/ 408562 w 6823101"/>
              <a:gd name="connsiteY13" fmla="*/ 1742957 h 1879144"/>
              <a:gd name="connsiteX14" fmla="*/ 428017 w 6823101"/>
              <a:gd name="connsiteY14" fmla="*/ 1733229 h 1879144"/>
              <a:gd name="connsiteX15" fmla="*/ 457200 w 6823101"/>
              <a:gd name="connsiteY15" fmla="*/ 1723501 h 1879144"/>
              <a:gd name="connsiteX16" fmla="*/ 486383 w 6823101"/>
              <a:gd name="connsiteY16" fmla="*/ 1713774 h 1879144"/>
              <a:gd name="connsiteX17" fmla="*/ 530157 w 6823101"/>
              <a:gd name="connsiteY17" fmla="*/ 1699182 h 1879144"/>
              <a:gd name="connsiteX18" fmla="*/ 544749 w 6823101"/>
              <a:gd name="connsiteY18" fmla="*/ 1694318 h 1879144"/>
              <a:gd name="connsiteX19" fmla="*/ 559340 w 6823101"/>
              <a:gd name="connsiteY19" fmla="*/ 1689454 h 1879144"/>
              <a:gd name="connsiteX20" fmla="*/ 578796 w 6823101"/>
              <a:gd name="connsiteY20" fmla="*/ 1684591 h 1879144"/>
              <a:gd name="connsiteX21" fmla="*/ 607959 w 6823101"/>
              <a:gd name="connsiteY21" fmla="*/ 1682149 h 1879144"/>
              <a:gd name="connsiteX22" fmla="*/ 661481 w 6823101"/>
              <a:gd name="connsiteY22" fmla="*/ 1660271 h 1879144"/>
              <a:gd name="connsiteX23" fmla="*/ 685800 w 6823101"/>
              <a:gd name="connsiteY23" fmla="*/ 1655408 h 1879144"/>
              <a:gd name="connsiteX24" fmla="*/ 753894 w 6823101"/>
              <a:gd name="connsiteY24" fmla="*/ 1650544 h 1879144"/>
              <a:gd name="connsiteX25" fmla="*/ 851170 w 6823101"/>
              <a:gd name="connsiteY25" fmla="*/ 1635952 h 1879144"/>
              <a:gd name="connsiteX26" fmla="*/ 880353 w 6823101"/>
              <a:gd name="connsiteY26" fmla="*/ 1626225 h 1879144"/>
              <a:gd name="connsiteX27" fmla="*/ 894945 w 6823101"/>
              <a:gd name="connsiteY27" fmla="*/ 1621361 h 1879144"/>
              <a:gd name="connsiteX28" fmla="*/ 943583 w 6823101"/>
              <a:gd name="connsiteY28" fmla="*/ 1616497 h 1879144"/>
              <a:gd name="connsiteX29" fmla="*/ 972766 w 6823101"/>
              <a:gd name="connsiteY29" fmla="*/ 1606769 h 1879144"/>
              <a:gd name="connsiteX30" fmla="*/ 1011677 w 6823101"/>
              <a:gd name="connsiteY30" fmla="*/ 1572723 h 1879144"/>
              <a:gd name="connsiteX31" fmla="*/ 1045723 w 6823101"/>
              <a:gd name="connsiteY31" fmla="*/ 1562995 h 1879144"/>
              <a:gd name="connsiteX32" fmla="*/ 1079770 w 6823101"/>
              <a:gd name="connsiteY32" fmla="*/ 1558131 h 1879144"/>
              <a:gd name="connsiteX33" fmla="*/ 1123545 w 6823101"/>
              <a:gd name="connsiteY33" fmla="*/ 1543540 h 1879144"/>
              <a:gd name="connsiteX34" fmla="*/ 1157591 w 6823101"/>
              <a:gd name="connsiteY34" fmla="*/ 1533812 h 1879144"/>
              <a:gd name="connsiteX35" fmla="*/ 1282792 w 6823101"/>
              <a:gd name="connsiteY35" fmla="*/ 1511934 h 1879144"/>
              <a:gd name="connsiteX36" fmla="*/ 1254888 w 6823101"/>
              <a:gd name="connsiteY36" fmla="*/ 1514357 h 1879144"/>
              <a:gd name="connsiteX37" fmla="*/ 1318098 w 6823101"/>
              <a:gd name="connsiteY37" fmla="*/ 1499765 h 1879144"/>
              <a:gd name="connsiteX38" fmla="*/ 1347281 w 6823101"/>
              <a:gd name="connsiteY38" fmla="*/ 1494901 h 1879144"/>
              <a:gd name="connsiteX39" fmla="*/ 1371600 w 6823101"/>
              <a:gd name="connsiteY39" fmla="*/ 1490037 h 1879144"/>
              <a:gd name="connsiteX40" fmla="*/ 1391055 w 6823101"/>
              <a:gd name="connsiteY40" fmla="*/ 1485174 h 1879144"/>
              <a:gd name="connsiteX41" fmla="*/ 1420238 w 6823101"/>
              <a:gd name="connsiteY41" fmla="*/ 1480310 h 1879144"/>
              <a:gd name="connsiteX42" fmla="*/ 1449421 w 6823101"/>
              <a:gd name="connsiteY42" fmla="*/ 1470582 h 1879144"/>
              <a:gd name="connsiteX43" fmla="*/ 1464013 w 6823101"/>
              <a:gd name="connsiteY43" fmla="*/ 1465718 h 1879144"/>
              <a:gd name="connsiteX44" fmla="*/ 1478604 w 6823101"/>
              <a:gd name="connsiteY44" fmla="*/ 1460854 h 1879144"/>
              <a:gd name="connsiteX45" fmla="*/ 1502923 w 6823101"/>
              <a:gd name="connsiteY45" fmla="*/ 1455991 h 1879144"/>
              <a:gd name="connsiteX46" fmla="*/ 1532106 w 6823101"/>
              <a:gd name="connsiteY46" fmla="*/ 1446263 h 1879144"/>
              <a:gd name="connsiteX47" fmla="*/ 1566153 w 6823101"/>
              <a:gd name="connsiteY47" fmla="*/ 1441399 h 1879144"/>
              <a:gd name="connsiteX48" fmla="*/ 1580745 w 6823101"/>
              <a:gd name="connsiteY48" fmla="*/ 1436535 h 1879144"/>
              <a:gd name="connsiteX49" fmla="*/ 1600200 w 6823101"/>
              <a:gd name="connsiteY49" fmla="*/ 1426808 h 1879144"/>
              <a:gd name="connsiteX50" fmla="*/ 1639111 w 6823101"/>
              <a:gd name="connsiteY50" fmla="*/ 1421944 h 1879144"/>
              <a:gd name="connsiteX51" fmla="*/ 1663430 w 6823101"/>
              <a:gd name="connsiteY51" fmla="*/ 1417080 h 1879144"/>
              <a:gd name="connsiteX52" fmla="*/ 1678021 w 6823101"/>
              <a:gd name="connsiteY52" fmla="*/ 1412216 h 1879144"/>
              <a:gd name="connsiteX53" fmla="*/ 1692613 w 6823101"/>
              <a:gd name="connsiteY53" fmla="*/ 1402489 h 1879144"/>
              <a:gd name="connsiteX54" fmla="*/ 1707204 w 6823101"/>
              <a:gd name="connsiteY54" fmla="*/ 1397625 h 1879144"/>
              <a:gd name="connsiteX55" fmla="*/ 1721796 w 6823101"/>
              <a:gd name="connsiteY55" fmla="*/ 1387897 h 1879144"/>
              <a:gd name="connsiteX56" fmla="*/ 1746115 w 6823101"/>
              <a:gd name="connsiteY56" fmla="*/ 1383033 h 1879144"/>
              <a:gd name="connsiteX57" fmla="*/ 1760706 w 6823101"/>
              <a:gd name="connsiteY57" fmla="*/ 1373306 h 1879144"/>
              <a:gd name="connsiteX58" fmla="*/ 1833664 w 6823101"/>
              <a:gd name="connsiteY58" fmla="*/ 1358714 h 1879144"/>
              <a:gd name="connsiteX59" fmla="*/ 1853119 w 6823101"/>
              <a:gd name="connsiteY59" fmla="*/ 1353850 h 1879144"/>
              <a:gd name="connsiteX60" fmla="*/ 1882302 w 6823101"/>
              <a:gd name="connsiteY60" fmla="*/ 1348986 h 1879144"/>
              <a:gd name="connsiteX61" fmla="*/ 1911485 w 6823101"/>
              <a:gd name="connsiteY61" fmla="*/ 1329531 h 1879144"/>
              <a:gd name="connsiteX62" fmla="*/ 1964987 w 6823101"/>
              <a:gd name="connsiteY62" fmla="*/ 1319803 h 1879144"/>
              <a:gd name="connsiteX63" fmla="*/ 1994170 w 6823101"/>
              <a:gd name="connsiteY63" fmla="*/ 1310076 h 1879144"/>
              <a:gd name="connsiteX64" fmla="*/ 2042809 w 6823101"/>
              <a:gd name="connsiteY64" fmla="*/ 1290620 h 1879144"/>
              <a:gd name="connsiteX65" fmla="*/ 2057400 w 6823101"/>
              <a:gd name="connsiteY65" fmla="*/ 1285757 h 1879144"/>
              <a:gd name="connsiteX66" fmla="*/ 2110902 w 6823101"/>
              <a:gd name="connsiteY66" fmla="*/ 1280893 h 1879144"/>
              <a:gd name="connsiteX67" fmla="*/ 2135221 w 6823101"/>
              <a:gd name="connsiteY67" fmla="*/ 1276029 h 1879144"/>
              <a:gd name="connsiteX68" fmla="*/ 2178996 w 6823101"/>
              <a:gd name="connsiteY68" fmla="*/ 1271165 h 1879144"/>
              <a:gd name="connsiteX69" fmla="*/ 2193587 w 6823101"/>
              <a:gd name="connsiteY69" fmla="*/ 1266301 h 1879144"/>
              <a:gd name="connsiteX70" fmla="*/ 2213043 w 6823101"/>
              <a:gd name="connsiteY70" fmla="*/ 1261437 h 1879144"/>
              <a:gd name="connsiteX71" fmla="*/ 2242226 w 6823101"/>
              <a:gd name="connsiteY71" fmla="*/ 1251710 h 1879144"/>
              <a:gd name="connsiteX72" fmla="*/ 2256817 w 6823101"/>
              <a:gd name="connsiteY72" fmla="*/ 1246846 h 1879144"/>
              <a:gd name="connsiteX73" fmla="*/ 2286000 w 6823101"/>
              <a:gd name="connsiteY73" fmla="*/ 1227391 h 1879144"/>
              <a:gd name="connsiteX74" fmla="*/ 2300591 w 6823101"/>
              <a:gd name="connsiteY74" fmla="*/ 1222527 h 1879144"/>
              <a:gd name="connsiteX75" fmla="*/ 2315183 w 6823101"/>
              <a:gd name="connsiteY75" fmla="*/ 1212799 h 1879144"/>
              <a:gd name="connsiteX76" fmla="*/ 2344366 w 6823101"/>
              <a:gd name="connsiteY76" fmla="*/ 1203071 h 1879144"/>
              <a:gd name="connsiteX77" fmla="*/ 2358957 w 6823101"/>
              <a:gd name="connsiteY77" fmla="*/ 1198208 h 1879144"/>
              <a:gd name="connsiteX78" fmla="*/ 2373549 w 6823101"/>
              <a:gd name="connsiteY78" fmla="*/ 1193344 h 1879144"/>
              <a:gd name="connsiteX79" fmla="*/ 2393004 w 6823101"/>
              <a:gd name="connsiteY79" fmla="*/ 1188480 h 1879144"/>
              <a:gd name="connsiteX80" fmla="*/ 2417323 w 6823101"/>
              <a:gd name="connsiteY80" fmla="*/ 1183616 h 1879144"/>
              <a:gd name="connsiteX81" fmla="*/ 2451370 w 6823101"/>
              <a:gd name="connsiteY81" fmla="*/ 1173889 h 1879144"/>
              <a:gd name="connsiteX82" fmla="*/ 2490281 w 6823101"/>
              <a:gd name="connsiteY82" fmla="*/ 1169025 h 1879144"/>
              <a:gd name="connsiteX83" fmla="*/ 2504872 w 6823101"/>
              <a:gd name="connsiteY83" fmla="*/ 1164161 h 1879144"/>
              <a:gd name="connsiteX84" fmla="*/ 2553511 w 6823101"/>
              <a:gd name="connsiteY84" fmla="*/ 1154433 h 1879144"/>
              <a:gd name="connsiteX85" fmla="*/ 2582694 w 6823101"/>
              <a:gd name="connsiteY85" fmla="*/ 1144706 h 1879144"/>
              <a:gd name="connsiteX86" fmla="*/ 2597285 w 6823101"/>
              <a:gd name="connsiteY86" fmla="*/ 1139842 h 1879144"/>
              <a:gd name="connsiteX87" fmla="*/ 2636196 w 6823101"/>
              <a:gd name="connsiteY87" fmla="*/ 1130114 h 1879144"/>
              <a:gd name="connsiteX88" fmla="*/ 2660515 w 6823101"/>
              <a:gd name="connsiteY88" fmla="*/ 1125250 h 1879144"/>
              <a:gd name="connsiteX89" fmla="*/ 2699426 w 6823101"/>
              <a:gd name="connsiteY89" fmla="*/ 1120386 h 1879144"/>
              <a:gd name="connsiteX90" fmla="*/ 2728609 w 6823101"/>
              <a:gd name="connsiteY90" fmla="*/ 1102142 h 1879144"/>
              <a:gd name="connsiteX91" fmla="*/ 2821021 w 6823101"/>
              <a:gd name="connsiteY91" fmla="*/ 1091203 h 1879144"/>
              <a:gd name="connsiteX92" fmla="*/ 2884251 w 6823101"/>
              <a:gd name="connsiteY92" fmla="*/ 1081476 h 1879144"/>
              <a:gd name="connsiteX93" fmla="*/ 2898843 w 6823101"/>
              <a:gd name="connsiteY93" fmla="*/ 1076612 h 1879144"/>
              <a:gd name="connsiteX94" fmla="*/ 2928026 w 6823101"/>
              <a:gd name="connsiteY94" fmla="*/ 1071748 h 1879144"/>
              <a:gd name="connsiteX95" fmla="*/ 2971800 w 6823101"/>
              <a:gd name="connsiteY95" fmla="*/ 1057157 h 1879144"/>
              <a:gd name="connsiteX96" fmla="*/ 2986391 w 6823101"/>
              <a:gd name="connsiteY96" fmla="*/ 1052293 h 1879144"/>
              <a:gd name="connsiteX97" fmla="*/ 3000983 w 6823101"/>
              <a:gd name="connsiteY97" fmla="*/ 1047429 h 1879144"/>
              <a:gd name="connsiteX98" fmla="*/ 3093396 w 6823101"/>
              <a:gd name="connsiteY98" fmla="*/ 1032837 h 1879144"/>
              <a:gd name="connsiteX99" fmla="*/ 3107987 w 6823101"/>
              <a:gd name="connsiteY99" fmla="*/ 1023110 h 1879144"/>
              <a:gd name="connsiteX100" fmla="*/ 3170542 w 6823101"/>
              <a:gd name="connsiteY100" fmla="*/ 1021979 h 1879144"/>
              <a:gd name="connsiteX101" fmla="*/ 3292813 w 6823101"/>
              <a:gd name="connsiteY101" fmla="*/ 998791 h 1879144"/>
              <a:gd name="connsiteX102" fmla="*/ 3360906 w 6823101"/>
              <a:gd name="connsiteY102" fmla="*/ 984199 h 1879144"/>
              <a:gd name="connsiteX103" fmla="*/ 3390089 w 6823101"/>
              <a:gd name="connsiteY103" fmla="*/ 979335 h 1879144"/>
              <a:gd name="connsiteX104" fmla="*/ 3404681 w 6823101"/>
              <a:gd name="connsiteY104" fmla="*/ 974471 h 1879144"/>
              <a:gd name="connsiteX105" fmla="*/ 3443591 w 6823101"/>
              <a:gd name="connsiteY105" fmla="*/ 964744 h 1879144"/>
              <a:gd name="connsiteX106" fmla="*/ 3458183 w 6823101"/>
              <a:gd name="connsiteY106" fmla="*/ 959880 h 1879144"/>
              <a:gd name="connsiteX107" fmla="*/ 3525940 w 6823101"/>
              <a:gd name="connsiteY107" fmla="*/ 962481 h 1879144"/>
              <a:gd name="connsiteX108" fmla="*/ 3562925 w 6823101"/>
              <a:gd name="connsiteY108" fmla="*/ 934092 h 1879144"/>
              <a:gd name="connsiteX109" fmla="*/ 3589506 w 6823101"/>
              <a:gd name="connsiteY109" fmla="*/ 935561 h 1879144"/>
              <a:gd name="connsiteX110" fmla="*/ 3638145 w 6823101"/>
              <a:gd name="connsiteY110" fmla="*/ 925833 h 1879144"/>
              <a:gd name="connsiteX111" fmla="*/ 3686783 w 6823101"/>
              <a:gd name="connsiteY111" fmla="*/ 911242 h 1879144"/>
              <a:gd name="connsiteX112" fmla="*/ 3701374 w 6823101"/>
              <a:gd name="connsiteY112" fmla="*/ 906378 h 1879144"/>
              <a:gd name="connsiteX113" fmla="*/ 3730557 w 6823101"/>
              <a:gd name="connsiteY113" fmla="*/ 901514 h 1879144"/>
              <a:gd name="connsiteX114" fmla="*/ 3813243 w 6823101"/>
              <a:gd name="connsiteY114" fmla="*/ 891786 h 1879144"/>
              <a:gd name="connsiteX115" fmla="*/ 3852153 w 6823101"/>
              <a:gd name="connsiteY115" fmla="*/ 886923 h 1879144"/>
              <a:gd name="connsiteX116" fmla="*/ 3895928 w 6823101"/>
              <a:gd name="connsiteY116" fmla="*/ 872331 h 1879144"/>
              <a:gd name="connsiteX117" fmla="*/ 3925111 w 6823101"/>
              <a:gd name="connsiteY117" fmla="*/ 862603 h 1879144"/>
              <a:gd name="connsiteX118" fmla="*/ 3959157 w 6823101"/>
              <a:gd name="connsiteY118" fmla="*/ 857740 h 1879144"/>
              <a:gd name="connsiteX119" fmla="*/ 3983477 w 6823101"/>
              <a:gd name="connsiteY119" fmla="*/ 852876 h 1879144"/>
              <a:gd name="connsiteX120" fmla="*/ 4027251 w 6823101"/>
              <a:gd name="connsiteY120" fmla="*/ 848012 h 1879144"/>
              <a:gd name="connsiteX121" fmla="*/ 4061298 w 6823101"/>
              <a:gd name="connsiteY121" fmla="*/ 843148 h 1879144"/>
              <a:gd name="connsiteX122" fmla="*/ 4095345 w 6823101"/>
              <a:gd name="connsiteY122" fmla="*/ 833420 h 1879144"/>
              <a:gd name="connsiteX123" fmla="*/ 4114462 w 6823101"/>
              <a:gd name="connsiteY123" fmla="*/ 828557 h 1879144"/>
              <a:gd name="connsiteX124" fmla="*/ 4147377 w 6823101"/>
              <a:gd name="connsiteY124" fmla="*/ 811364 h 1879144"/>
              <a:gd name="connsiteX125" fmla="*/ 4217278 w 6823101"/>
              <a:gd name="connsiteY125" fmla="*/ 794510 h 1879144"/>
              <a:gd name="connsiteX126" fmla="*/ 4275306 w 6823101"/>
              <a:gd name="connsiteY126" fmla="*/ 789646 h 1879144"/>
              <a:gd name="connsiteX127" fmla="*/ 4304489 w 6823101"/>
              <a:gd name="connsiteY127" fmla="*/ 779918 h 1879144"/>
              <a:gd name="connsiteX128" fmla="*/ 4319081 w 6823101"/>
              <a:gd name="connsiteY128" fmla="*/ 775054 h 1879144"/>
              <a:gd name="connsiteX129" fmla="*/ 4353128 w 6823101"/>
              <a:gd name="connsiteY129" fmla="*/ 770191 h 1879144"/>
              <a:gd name="connsiteX130" fmla="*/ 4377447 w 6823101"/>
              <a:gd name="connsiteY130" fmla="*/ 765327 h 1879144"/>
              <a:gd name="connsiteX131" fmla="*/ 4411494 w 6823101"/>
              <a:gd name="connsiteY131" fmla="*/ 760463 h 1879144"/>
              <a:gd name="connsiteX132" fmla="*/ 4426085 w 6823101"/>
              <a:gd name="connsiteY132" fmla="*/ 755599 h 1879144"/>
              <a:gd name="connsiteX133" fmla="*/ 4508770 w 6823101"/>
              <a:gd name="connsiteY133" fmla="*/ 745871 h 1879144"/>
              <a:gd name="connsiteX134" fmla="*/ 4537953 w 6823101"/>
              <a:gd name="connsiteY134" fmla="*/ 736144 h 1879144"/>
              <a:gd name="connsiteX135" fmla="*/ 4552545 w 6823101"/>
              <a:gd name="connsiteY135" fmla="*/ 721552 h 1879144"/>
              <a:gd name="connsiteX136" fmla="*/ 4567136 w 6823101"/>
              <a:gd name="connsiteY136" fmla="*/ 716689 h 1879144"/>
              <a:gd name="connsiteX137" fmla="*/ 4581728 w 6823101"/>
              <a:gd name="connsiteY137" fmla="*/ 706961 h 1879144"/>
              <a:gd name="connsiteX138" fmla="*/ 4596319 w 6823101"/>
              <a:gd name="connsiteY138" fmla="*/ 702097 h 1879144"/>
              <a:gd name="connsiteX139" fmla="*/ 4610911 w 6823101"/>
              <a:gd name="connsiteY139" fmla="*/ 692369 h 1879144"/>
              <a:gd name="connsiteX140" fmla="*/ 4630366 w 6823101"/>
              <a:gd name="connsiteY140" fmla="*/ 676309 h 1879144"/>
              <a:gd name="connsiteX141" fmla="*/ 4659549 w 6823101"/>
              <a:gd name="connsiteY141" fmla="*/ 677778 h 1879144"/>
              <a:gd name="connsiteX142" fmla="*/ 4674140 w 6823101"/>
              <a:gd name="connsiteY142" fmla="*/ 672914 h 1879144"/>
              <a:gd name="connsiteX143" fmla="*/ 4732506 w 6823101"/>
              <a:gd name="connsiteY143" fmla="*/ 663186 h 1879144"/>
              <a:gd name="connsiteX144" fmla="*/ 4781145 w 6823101"/>
              <a:gd name="connsiteY144" fmla="*/ 648595 h 1879144"/>
              <a:gd name="connsiteX145" fmla="*/ 4810328 w 6823101"/>
              <a:gd name="connsiteY145" fmla="*/ 643731 h 1879144"/>
              <a:gd name="connsiteX146" fmla="*/ 4824919 w 6823101"/>
              <a:gd name="connsiteY146" fmla="*/ 638867 h 1879144"/>
              <a:gd name="connsiteX147" fmla="*/ 4849238 w 6823101"/>
              <a:gd name="connsiteY147" fmla="*/ 634003 h 1879144"/>
              <a:gd name="connsiteX148" fmla="*/ 4883285 w 6823101"/>
              <a:gd name="connsiteY148" fmla="*/ 619412 h 1879144"/>
              <a:gd name="connsiteX149" fmla="*/ 5000017 w 6823101"/>
              <a:gd name="connsiteY149" fmla="*/ 609684 h 1879144"/>
              <a:gd name="connsiteX150" fmla="*/ 5014609 w 6823101"/>
              <a:gd name="connsiteY150" fmla="*/ 595093 h 1879144"/>
              <a:gd name="connsiteX151" fmla="*/ 5029200 w 6823101"/>
              <a:gd name="connsiteY151" fmla="*/ 590229 h 1879144"/>
              <a:gd name="connsiteX152" fmla="*/ 5102157 w 6823101"/>
              <a:gd name="connsiteY152" fmla="*/ 580501 h 1879144"/>
              <a:gd name="connsiteX153" fmla="*/ 5136204 w 6823101"/>
              <a:gd name="connsiteY153" fmla="*/ 565910 h 1879144"/>
              <a:gd name="connsiteX154" fmla="*/ 5170251 w 6823101"/>
              <a:gd name="connsiteY154" fmla="*/ 556182 h 1879144"/>
              <a:gd name="connsiteX155" fmla="*/ 5184843 w 6823101"/>
              <a:gd name="connsiteY155" fmla="*/ 551318 h 1879144"/>
              <a:gd name="connsiteX156" fmla="*/ 5214026 w 6823101"/>
              <a:gd name="connsiteY156" fmla="*/ 531863 h 1879144"/>
              <a:gd name="connsiteX157" fmla="*/ 5228617 w 6823101"/>
              <a:gd name="connsiteY157" fmla="*/ 526999 h 1879144"/>
              <a:gd name="connsiteX158" fmla="*/ 5257800 w 6823101"/>
              <a:gd name="connsiteY158" fmla="*/ 512408 h 1879144"/>
              <a:gd name="connsiteX159" fmla="*/ 5335621 w 6823101"/>
              <a:gd name="connsiteY159" fmla="*/ 507544 h 1879144"/>
              <a:gd name="connsiteX160" fmla="*/ 5398851 w 6823101"/>
              <a:gd name="connsiteY160" fmla="*/ 502680 h 1879144"/>
              <a:gd name="connsiteX161" fmla="*/ 5447489 w 6823101"/>
              <a:gd name="connsiteY161" fmla="*/ 492952 h 1879144"/>
              <a:gd name="connsiteX162" fmla="*/ 5481536 w 6823101"/>
              <a:gd name="connsiteY162" fmla="*/ 483225 h 1879144"/>
              <a:gd name="connsiteX163" fmla="*/ 5496128 w 6823101"/>
              <a:gd name="connsiteY163" fmla="*/ 478361 h 1879144"/>
              <a:gd name="connsiteX164" fmla="*/ 5535038 w 6823101"/>
              <a:gd name="connsiteY164" fmla="*/ 473497 h 1879144"/>
              <a:gd name="connsiteX165" fmla="*/ 5622587 w 6823101"/>
              <a:gd name="connsiteY165" fmla="*/ 463769 h 1879144"/>
              <a:gd name="connsiteX166" fmla="*/ 5651770 w 6823101"/>
              <a:gd name="connsiteY166" fmla="*/ 454042 h 1879144"/>
              <a:gd name="connsiteX167" fmla="*/ 5666362 w 6823101"/>
              <a:gd name="connsiteY167" fmla="*/ 449178 h 1879144"/>
              <a:gd name="connsiteX168" fmla="*/ 5700409 w 6823101"/>
              <a:gd name="connsiteY168" fmla="*/ 439450 h 1879144"/>
              <a:gd name="connsiteX169" fmla="*/ 5719864 w 6823101"/>
              <a:gd name="connsiteY169" fmla="*/ 424859 h 1879144"/>
              <a:gd name="connsiteX170" fmla="*/ 5749047 w 6823101"/>
              <a:gd name="connsiteY170" fmla="*/ 415131 h 1879144"/>
              <a:gd name="connsiteX171" fmla="*/ 5802549 w 6823101"/>
              <a:gd name="connsiteY171" fmla="*/ 405403 h 1879144"/>
              <a:gd name="connsiteX172" fmla="*/ 5890098 w 6823101"/>
              <a:gd name="connsiteY172" fmla="*/ 400540 h 1879144"/>
              <a:gd name="connsiteX173" fmla="*/ 5933872 w 6823101"/>
              <a:gd name="connsiteY173" fmla="*/ 390812 h 1879144"/>
              <a:gd name="connsiteX174" fmla="*/ 5963055 w 6823101"/>
              <a:gd name="connsiteY174" fmla="*/ 381084 h 1879144"/>
              <a:gd name="connsiteX175" fmla="*/ 5977647 w 6823101"/>
              <a:gd name="connsiteY175" fmla="*/ 376220 h 1879144"/>
              <a:gd name="connsiteX176" fmla="*/ 6006830 w 6823101"/>
              <a:gd name="connsiteY176" fmla="*/ 371357 h 1879144"/>
              <a:gd name="connsiteX177" fmla="*/ 6055468 w 6823101"/>
              <a:gd name="connsiteY177" fmla="*/ 361629 h 1879144"/>
              <a:gd name="connsiteX178" fmla="*/ 6254885 w 6823101"/>
              <a:gd name="connsiteY178" fmla="*/ 356765 h 1879144"/>
              <a:gd name="connsiteX179" fmla="*/ 6269477 w 6823101"/>
              <a:gd name="connsiteY179" fmla="*/ 351901 h 1879144"/>
              <a:gd name="connsiteX180" fmla="*/ 6303523 w 6823101"/>
              <a:gd name="connsiteY180" fmla="*/ 308127 h 1879144"/>
              <a:gd name="connsiteX181" fmla="*/ 6322979 w 6823101"/>
              <a:gd name="connsiteY181" fmla="*/ 298399 h 1879144"/>
              <a:gd name="connsiteX182" fmla="*/ 6391072 w 6823101"/>
              <a:gd name="connsiteY182" fmla="*/ 283808 h 1879144"/>
              <a:gd name="connsiteX183" fmla="*/ 6405664 w 6823101"/>
              <a:gd name="connsiteY183" fmla="*/ 278944 h 1879144"/>
              <a:gd name="connsiteX184" fmla="*/ 6434847 w 6823101"/>
              <a:gd name="connsiteY184" fmla="*/ 274080 h 1879144"/>
              <a:gd name="connsiteX185" fmla="*/ 6449438 w 6823101"/>
              <a:gd name="connsiteY185" fmla="*/ 264352 h 1879144"/>
              <a:gd name="connsiteX186" fmla="*/ 6473757 w 6823101"/>
              <a:gd name="connsiteY186" fmla="*/ 259489 h 1879144"/>
              <a:gd name="connsiteX187" fmla="*/ 6478621 w 6823101"/>
              <a:gd name="connsiteY187" fmla="*/ 244897 h 1879144"/>
              <a:gd name="connsiteX188" fmla="*/ 6561306 w 6823101"/>
              <a:gd name="connsiteY188" fmla="*/ 230306 h 1879144"/>
              <a:gd name="connsiteX189" fmla="*/ 6566170 w 6823101"/>
              <a:gd name="connsiteY189" fmla="*/ 215714 h 1879144"/>
              <a:gd name="connsiteX190" fmla="*/ 6580762 w 6823101"/>
              <a:gd name="connsiteY190" fmla="*/ 205986 h 1879144"/>
              <a:gd name="connsiteX191" fmla="*/ 6731540 w 6823101"/>
              <a:gd name="connsiteY191" fmla="*/ 201123 h 1879144"/>
              <a:gd name="connsiteX192" fmla="*/ 6750996 w 6823101"/>
              <a:gd name="connsiteY192" fmla="*/ 196259 h 1879144"/>
              <a:gd name="connsiteX193" fmla="*/ 6760723 w 6823101"/>
              <a:gd name="connsiteY193" fmla="*/ 167076 h 1879144"/>
              <a:gd name="connsiteX194" fmla="*/ 6765587 w 6823101"/>
              <a:gd name="connsiteY194" fmla="*/ 128165 h 1879144"/>
              <a:gd name="connsiteX195" fmla="*/ 6809362 w 6823101"/>
              <a:gd name="connsiteY195" fmla="*/ 113574 h 1879144"/>
              <a:gd name="connsiteX196" fmla="*/ 6814226 w 6823101"/>
              <a:gd name="connsiteY196" fmla="*/ 98982 h 1879144"/>
              <a:gd name="connsiteX197" fmla="*/ 6819089 w 6823101"/>
              <a:gd name="connsiteY197" fmla="*/ 35752 h 1879144"/>
              <a:gd name="connsiteX198" fmla="*/ 6818236 w 6823101"/>
              <a:gd name="connsiteY198" fmla="*/ 51794 h 1879144"/>
              <a:gd name="connsiteX199" fmla="*/ 6823101 w 6823101"/>
              <a:gd name="connsiteY199" fmla="*/ 0 h 1879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</a:cxnLst>
            <a:rect l="l" t="t" r="r" b="b"/>
            <a:pathLst>
              <a:path w="6823101" h="1879144">
                <a:moveTo>
                  <a:pt x="0" y="1879144"/>
                </a:moveTo>
                <a:cubicBezTo>
                  <a:pt x="12847" y="1874005"/>
                  <a:pt x="25568" y="1868364"/>
                  <a:pt x="38911" y="1864552"/>
                </a:cubicBezTo>
                <a:cubicBezTo>
                  <a:pt x="44101" y="1863069"/>
                  <a:pt x="66780" y="1858257"/>
                  <a:pt x="72957" y="1854825"/>
                </a:cubicBezTo>
                <a:cubicBezTo>
                  <a:pt x="83177" y="1849147"/>
                  <a:pt x="90798" y="1838204"/>
                  <a:pt x="102140" y="1835369"/>
                </a:cubicBezTo>
                <a:lnTo>
                  <a:pt x="141051" y="1825642"/>
                </a:lnTo>
                <a:lnTo>
                  <a:pt x="160506" y="1820778"/>
                </a:lnTo>
                <a:cubicBezTo>
                  <a:pt x="188544" y="1802086"/>
                  <a:pt x="161501" y="1818266"/>
                  <a:pt x="189689" y="1806186"/>
                </a:cubicBezTo>
                <a:cubicBezTo>
                  <a:pt x="196353" y="1803330"/>
                  <a:pt x="202481" y="1799315"/>
                  <a:pt x="209145" y="1796459"/>
                </a:cubicBezTo>
                <a:cubicBezTo>
                  <a:pt x="213857" y="1794440"/>
                  <a:pt x="217628" y="1794027"/>
                  <a:pt x="223736" y="1791595"/>
                </a:cubicBezTo>
                <a:cubicBezTo>
                  <a:pt x="229844" y="1789163"/>
                  <a:pt x="240450" y="1784241"/>
                  <a:pt x="245792" y="1781867"/>
                </a:cubicBezTo>
                <a:cubicBezTo>
                  <a:pt x="267791" y="1772090"/>
                  <a:pt x="282536" y="1770519"/>
                  <a:pt x="296694" y="1767276"/>
                </a:cubicBezTo>
                <a:cubicBezTo>
                  <a:pt x="310852" y="1764034"/>
                  <a:pt x="319391" y="1764033"/>
                  <a:pt x="330740" y="1762412"/>
                </a:cubicBezTo>
                <a:cubicBezTo>
                  <a:pt x="349350" y="1756209"/>
                  <a:pt x="361003" y="1751495"/>
                  <a:pt x="379379" y="1747820"/>
                </a:cubicBezTo>
                <a:cubicBezTo>
                  <a:pt x="389049" y="1745886"/>
                  <a:pt x="398834" y="1744578"/>
                  <a:pt x="408562" y="1742957"/>
                </a:cubicBezTo>
                <a:cubicBezTo>
                  <a:pt x="415047" y="1739714"/>
                  <a:pt x="421285" y="1735922"/>
                  <a:pt x="428017" y="1733229"/>
                </a:cubicBezTo>
                <a:cubicBezTo>
                  <a:pt x="437537" y="1729421"/>
                  <a:pt x="447472" y="1726744"/>
                  <a:pt x="457200" y="1723501"/>
                </a:cubicBezTo>
                <a:lnTo>
                  <a:pt x="486383" y="1713774"/>
                </a:lnTo>
                <a:lnTo>
                  <a:pt x="530157" y="1699182"/>
                </a:lnTo>
                <a:lnTo>
                  <a:pt x="544749" y="1694318"/>
                </a:lnTo>
                <a:cubicBezTo>
                  <a:pt x="549613" y="1692697"/>
                  <a:pt x="554366" y="1690697"/>
                  <a:pt x="559340" y="1689454"/>
                </a:cubicBezTo>
                <a:lnTo>
                  <a:pt x="578796" y="1684591"/>
                </a:lnTo>
                <a:cubicBezTo>
                  <a:pt x="583660" y="1681348"/>
                  <a:pt x="602617" y="1684523"/>
                  <a:pt x="607959" y="1682149"/>
                </a:cubicBezTo>
                <a:cubicBezTo>
                  <a:pt x="637463" y="1669035"/>
                  <a:pt x="648508" y="1664728"/>
                  <a:pt x="661481" y="1660271"/>
                </a:cubicBezTo>
                <a:cubicBezTo>
                  <a:pt x="674454" y="1655814"/>
                  <a:pt x="677579" y="1656273"/>
                  <a:pt x="685800" y="1655408"/>
                </a:cubicBezTo>
                <a:cubicBezTo>
                  <a:pt x="708431" y="1653026"/>
                  <a:pt x="731217" y="1652434"/>
                  <a:pt x="753894" y="1650544"/>
                </a:cubicBezTo>
                <a:cubicBezTo>
                  <a:pt x="780687" y="1648311"/>
                  <a:pt x="825416" y="1644536"/>
                  <a:pt x="851170" y="1635952"/>
                </a:cubicBezTo>
                <a:lnTo>
                  <a:pt x="880353" y="1626225"/>
                </a:lnTo>
                <a:cubicBezTo>
                  <a:pt x="885217" y="1624604"/>
                  <a:pt x="889843" y="1621871"/>
                  <a:pt x="894945" y="1621361"/>
                </a:cubicBezTo>
                <a:lnTo>
                  <a:pt x="943583" y="1616497"/>
                </a:lnTo>
                <a:cubicBezTo>
                  <a:pt x="953311" y="1613254"/>
                  <a:pt x="967078" y="1615301"/>
                  <a:pt x="972766" y="1606769"/>
                </a:cubicBezTo>
                <a:cubicBezTo>
                  <a:pt x="984116" y="1589746"/>
                  <a:pt x="987358" y="1580830"/>
                  <a:pt x="1011677" y="1572723"/>
                </a:cubicBezTo>
                <a:cubicBezTo>
                  <a:pt x="1024179" y="1568556"/>
                  <a:pt x="1032287" y="1565438"/>
                  <a:pt x="1045723" y="1562995"/>
                </a:cubicBezTo>
                <a:cubicBezTo>
                  <a:pt x="1057002" y="1560944"/>
                  <a:pt x="1068421" y="1559752"/>
                  <a:pt x="1079770" y="1558131"/>
                </a:cubicBezTo>
                <a:lnTo>
                  <a:pt x="1123545" y="1543540"/>
                </a:lnTo>
                <a:cubicBezTo>
                  <a:pt x="1137457" y="1538903"/>
                  <a:pt x="1131050" y="1539080"/>
                  <a:pt x="1157591" y="1533812"/>
                </a:cubicBezTo>
                <a:cubicBezTo>
                  <a:pt x="1184132" y="1528544"/>
                  <a:pt x="1266576" y="1515176"/>
                  <a:pt x="1282792" y="1511934"/>
                </a:cubicBezTo>
                <a:cubicBezTo>
                  <a:pt x="1299008" y="1508692"/>
                  <a:pt x="1267219" y="1509099"/>
                  <a:pt x="1254888" y="1514357"/>
                </a:cubicBezTo>
                <a:cubicBezTo>
                  <a:pt x="1249164" y="1516798"/>
                  <a:pt x="1302699" y="1503008"/>
                  <a:pt x="1318098" y="1499765"/>
                </a:cubicBezTo>
                <a:cubicBezTo>
                  <a:pt x="1333497" y="1496522"/>
                  <a:pt x="1337553" y="1496522"/>
                  <a:pt x="1347281" y="1494901"/>
                </a:cubicBezTo>
                <a:cubicBezTo>
                  <a:pt x="1355415" y="1493422"/>
                  <a:pt x="1363530" y="1491830"/>
                  <a:pt x="1371600" y="1490037"/>
                </a:cubicBezTo>
                <a:cubicBezTo>
                  <a:pt x="1378125" y="1488587"/>
                  <a:pt x="1384500" y="1486485"/>
                  <a:pt x="1391055" y="1485174"/>
                </a:cubicBezTo>
                <a:cubicBezTo>
                  <a:pt x="1400725" y="1483240"/>
                  <a:pt x="1410671" y="1482702"/>
                  <a:pt x="1420238" y="1480310"/>
                </a:cubicBezTo>
                <a:cubicBezTo>
                  <a:pt x="1430186" y="1477823"/>
                  <a:pt x="1439693" y="1473825"/>
                  <a:pt x="1449421" y="1470582"/>
                </a:cubicBezTo>
                <a:lnTo>
                  <a:pt x="1464013" y="1465718"/>
                </a:lnTo>
                <a:cubicBezTo>
                  <a:pt x="1468877" y="1464097"/>
                  <a:pt x="1473577" y="1461859"/>
                  <a:pt x="1478604" y="1460854"/>
                </a:cubicBezTo>
                <a:cubicBezTo>
                  <a:pt x="1486710" y="1459233"/>
                  <a:pt x="1494947" y="1458166"/>
                  <a:pt x="1502923" y="1455991"/>
                </a:cubicBezTo>
                <a:cubicBezTo>
                  <a:pt x="1512816" y="1453293"/>
                  <a:pt x="1521955" y="1447713"/>
                  <a:pt x="1532106" y="1446263"/>
                </a:cubicBezTo>
                <a:lnTo>
                  <a:pt x="1566153" y="1441399"/>
                </a:lnTo>
                <a:cubicBezTo>
                  <a:pt x="1571017" y="1439778"/>
                  <a:pt x="1576032" y="1438555"/>
                  <a:pt x="1580745" y="1436535"/>
                </a:cubicBezTo>
                <a:cubicBezTo>
                  <a:pt x="1587409" y="1433679"/>
                  <a:pt x="1593166" y="1428566"/>
                  <a:pt x="1600200" y="1426808"/>
                </a:cubicBezTo>
                <a:cubicBezTo>
                  <a:pt x="1612881" y="1423638"/>
                  <a:pt x="1626192" y="1423932"/>
                  <a:pt x="1639111" y="1421944"/>
                </a:cubicBezTo>
                <a:cubicBezTo>
                  <a:pt x="1647282" y="1420687"/>
                  <a:pt x="1655410" y="1419085"/>
                  <a:pt x="1663430" y="1417080"/>
                </a:cubicBezTo>
                <a:cubicBezTo>
                  <a:pt x="1668404" y="1415837"/>
                  <a:pt x="1673435" y="1414509"/>
                  <a:pt x="1678021" y="1412216"/>
                </a:cubicBezTo>
                <a:cubicBezTo>
                  <a:pt x="1683250" y="1409602"/>
                  <a:pt x="1687384" y="1405103"/>
                  <a:pt x="1692613" y="1402489"/>
                </a:cubicBezTo>
                <a:cubicBezTo>
                  <a:pt x="1697199" y="1400196"/>
                  <a:pt x="1702618" y="1399918"/>
                  <a:pt x="1707204" y="1397625"/>
                </a:cubicBezTo>
                <a:cubicBezTo>
                  <a:pt x="1712433" y="1395011"/>
                  <a:pt x="1716322" y="1389950"/>
                  <a:pt x="1721796" y="1387897"/>
                </a:cubicBezTo>
                <a:cubicBezTo>
                  <a:pt x="1729536" y="1384994"/>
                  <a:pt x="1738009" y="1384654"/>
                  <a:pt x="1746115" y="1383033"/>
                </a:cubicBezTo>
                <a:cubicBezTo>
                  <a:pt x="1750979" y="1379791"/>
                  <a:pt x="1755364" y="1375680"/>
                  <a:pt x="1760706" y="1373306"/>
                </a:cubicBezTo>
                <a:cubicBezTo>
                  <a:pt x="1789448" y="1360532"/>
                  <a:pt x="1800271" y="1362424"/>
                  <a:pt x="1833664" y="1358714"/>
                </a:cubicBezTo>
                <a:cubicBezTo>
                  <a:pt x="1840149" y="1357093"/>
                  <a:pt x="1846564" y="1355161"/>
                  <a:pt x="1853119" y="1353850"/>
                </a:cubicBezTo>
                <a:cubicBezTo>
                  <a:pt x="1862789" y="1351916"/>
                  <a:pt x="1873199" y="1352779"/>
                  <a:pt x="1882302" y="1348986"/>
                </a:cubicBezTo>
                <a:cubicBezTo>
                  <a:pt x="1893094" y="1344489"/>
                  <a:pt x="1899911" y="1331184"/>
                  <a:pt x="1911485" y="1329531"/>
                </a:cubicBezTo>
                <a:cubicBezTo>
                  <a:pt x="1935470" y="1326105"/>
                  <a:pt x="1944136" y="1326058"/>
                  <a:pt x="1964987" y="1319803"/>
                </a:cubicBezTo>
                <a:cubicBezTo>
                  <a:pt x="1974808" y="1316857"/>
                  <a:pt x="1984999" y="1314662"/>
                  <a:pt x="1994170" y="1310076"/>
                </a:cubicBezTo>
                <a:cubicBezTo>
                  <a:pt x="2022794" y="1295764"/>
                  <a:pt x="2006751" y="1302639"/>
                  <a:pt x="2042809" y="1290620"/>
                </a:cubicBezTo>
                <a:cubicBezTo>
                  <a:pt x="2047673" y="1288999"/>
                  <a:pt x="2052294" y="1286221"/>
                  <a:pt x="2057400" y="1285757"/>
                </a:cubicBezTo>
                <a:lnTo>
                  <a:pt x="2110902" y="1280893"/>
                </a:lnTo>
                <a:cubicBezTo>
                  <a:pt x="2119008" y="1279272"/>
                  <a:pt x="2127037" y="1277198"/>
                  <a:pt x="2135221" y="1276029"/>
                </a:cubicBezTo>
                <a:cubicBezTo>
                  <a:pt x="2149755" y="1273953"/>
                  <a:pt x="2164514" y="1273579"/>
                  <a:pt x="2178996" y="1271165"/>
                </a:cubicBezTo>
                <a:cubicBezTo>
                  <a:pt x="2184053" y="1270322"/>
                  <a:pt x="2188657" y="1267709"/>
                  <a:pt x="2193587" y="1266301"/>
                </a:cubicBezTo>
                <a:cubicBezTo>
                  <a:pt x="2200015" y="1264464"/>
                  <a:pt x="2206640" y="1263358"/>
                  <a:pt x="2213043" y="1261437"/>
                </a:cubicBezTo>
                <a:cubicBezTo>
                  <a:pt x="2222864" y="1258491"/>
                  <a:pt x="2232498" y="1254952"/>
                  <a:pt x="2242226" y="1251710"/>
                </a:cubicBezTo>
                <a:cubicBezTo>
                  <a:pt x="2247090" y="1250089"/>
                  <a:pt x="2252551" y="1249690"/>
                  <a:pt x="2256817" y="1246846"/>
                </a:cubicBezTo>
                <a:cubicBezTo>
                  <a:pt x="2266545" y="1240361"/>
                  <a:pt x="2274909" y="1231088"/>
                  <a:pt x="2286000" y="1227391"/>
                </a:cubicBezTo>
                <a:cubicBezTo>
                  <a:pt x="2290864" y="1225770"/>
                  <a:pt x="2296005" y="1224820"/>
                  <a:pt x="2300591" y="1222527"/>
                </a:cubicBezTo>
                <a:cubicBezTo>
                  <a:pt x="2305820" y="1219913"/>
                  <a:pt x="2309841" y="1215173"/>
                  <a:pt x="2315183" y="1212799"/>
                </a:cubicBezTo>
                <a:cubicBezTo>
                  <a:pt x="2324553" y="1208634"/>
                  <a:pt x="2334638" y="1206313"/>
                  <a:pt x="2344366" y="1203071"/>
                </a:cubicBezTo>
                <a:lnTo>
                  <a:pt x="2358957" y="1198208"/>
                </a:lnTo>
                <a:cubicBezTo>
                  <a:pt x="2363821" y="1196587"/>
                  <a:pt x="2368575" y="1194588"/>
                  <a:pt x="2373549" y="1193344"/>
                </a:cubicBezTo>
                <a:cubicBezTo>
                  <a:pt x="2380034" y="1191723"/>
                  <a:pt x="2386479" y="1189930"/>
                  <a:pt x="2393004" y="1188480"/>
                </a:cubicBezTo>
                <a:cubicBezTo>
                  <a:pt x="2401074" y="1186687"/>
                  <a:pt x="2409303" y="1185621"/>
                  <a:pt x="2417323" y="1183616"/>
                </a:cubicBezTo>
                <a:cubicBezTo>
                  <a:pt x="2440457" y="1177832"/>
                  <a:pt x="2424072" y="1178438"/>
                  <a:pt x="2451370" y="1173889"/>
                </a:cubicBezTo>
                <a:cubicBezTo>
                  <a:pt x="2464263" y="1171740"/>
                  <a:pt x="2477311" y="1170646"/>
                  <a:pt x="2490281" y="1169025"/>
                </a:cubicBezTo>
                <a:cubicBezTo>
                  <a:pt x="2495145" y="1167404"/>
                  <a:pt x="2499867" y="1165273"/>
                  <a:pt x="2504872" y="1164161"/>
                </a:cubicBezTo>
                <a:cubicBezTo>
                  <a:pt x="2538688" y="1156646"/>
                  <a:pt x="2525817" y="1162741"/>
                  <a:pt x="2553511" y="1154433"/>
                </a:cubicBezTo>
                <a:cubicBezTo>
                  <a:pt x="2563332" y="1151487"/>
                  <a:pt x="2572966" y="1147948"/>
                  <a:pt x="2582694" y="1144706"/>
                </a:cubicBezTo>
                <a:cubicBezTo>
                  <a:pt x="2587558" y="1143085"/>
                  <a:pt x="2592311" y="1141085"/>
                  <a:pt x="2597285" y="1139842"/>
                </a:cubicBezTo>
                <a:cubicBezTo>
                  <a:pt x="2610255" y="1136599"/>
                  <a:pt x="2623086" y="1132736"/>
                  <a:pt x="2636196" y="1130114"/>
                </a:cubicBezTo>
                <a:cubicBezTo>
                  <a:pt x="2644302" y="1128493"/>
                  <a:pt x="2652344" y="1126507"/>
                  <a:pt x="2660515" y="1125250"/>
                </a:cubicBezTo>
                <a:cubicBezTo>
                  <a:pt x="2673434" y="1123262"/>
                  <a:pt x="2688077" y="1124237"/>
                  <a:pt x="2699426" y="1120386"/>
                </a:cubicBezTo>
                <a:cubicBezTo>
                  <a:pt x="2710775" y="1116535"/>
                  <a:pt x="2718881" y="1103763"/>
                  <a:pt x="2728609" y="1102142"/>
                </a:cubicBezTo>
                <a:cubicBezTo>
                  <a:pt x="2777065" y="1083217"/>
                  <a:pt x="2795081" y="1094647"/>
                  <a:pt x="2821021" y="1091203"/>
                </a:cubicBezTo>
                <a:cubicBezTo>
                  <a:pt x="2846961" y="1087759"/>
                  <a:pt x="2875371" y="1083449"/>
                  <a:pt x="2884251" y="1081476"/>
                </a:cubicBezTo>
                <a:cubicBezTo>
                  <a:pt x="2889256" y="1080364"/>
                  <a:pt x="2893838" y="1077724"/>
                  <a:pt x="2898843" y="1076612"/>
                </a:cubicBezTo>
                <a:cubicBezTo>
                  <a:pt x="2908470" y="1074473"/>
                  <a:pt x="2918298" y="1073369"/>
                  <a:pt x="2928026" y="1071748"/>
                </a:cubicBezTo>
                <a:lnTo>
                  <a:pt x="2971800" y="1057157"/>
                </a:lnTo>
                <a:lnTo>
                  <a:pt x="2986391" y="1052293"/>
                </a:lnTo>
                <a:lnTo>
                  <a:pt x="3000983" y="1047429"/>
                </a:lnTo>
                <a:cubicBezTo>
                  <a:pt x="3040727" y="1020931"/>
                  <a:pt x="2994057" y="1048522"/>
                  <a:pt x="3093396" y="1032837"/>
                </a:cubicBezTo>
                <a:cubicBezTo>
                  <a:pt x="3099170" y="1031925"/>
                  <a:pt x="3095129" y="1024920"/>
                  <a:pt x="3107987" y="1023110"/>
                </a:cubicBezTo>
                <a:cubicBezTo>
                  <a:pt x="3120845" y="1021300"/>
                  <a:pt x="3139738" y="1023600"/>
                  <a:pt x="3170542" y="1021979"/>
                </a:cubicBezTo>
                <a:cubicBezTo>
                  <a:pt x="3211065" y="1001183"/>
                  <a:pt x="3261086" y="1005088"/>
                  <a:pt x="3292813" y="998791"/>
                </a:cubicBezTo>
                <a:cubicBezTo>
                  <a:pt x="3324540" y="992494"/>
                  <a:pt x="3328613" y="990658"/>
                  <a:pt x="3360906" y="984199"/>
                </a:cubicBezTo>
                <a:cubicBezTo>
                  <a:pt x="3370576" y="982265"/>
                  <a:pt x="3380462" y="981474"/>
                  <a:pt x="3390089" y="979335"/>
                </a:cubicBezTo>
                <a:cubicBezTo>
                  <a:pt x="3395094" y="978223"/>
                  <a:pt x="3399735" y="975820"/>
                  <a:pt x="3404681" y="974471"/>
                </a:cubicBezTo>
                <a:cubicBezTo>
                  <a:pt x="3417579" y="970953"/>
                  <a:pt x="3430908" y="968972"/>
                  <a:pt x="3443591" y="964744"/>
                </a:cubicBezTo>
                <a:cubicBezTo>
                  <a:pt x="3448455" y="963123"/>
                  <a:pt x="3444458" y="960257"/>
                  <a:pt x="3458183" y="959880"/>
                </a:cubicBezTo>
                <a:cubicBezTo>
                  <a:pt x="3471908" y="959503"/>
                  <a:pt x="3498378" y="964102"/>
                  <a:pt x="3525940" y="962481"/>
                </a:cubicBezTo>
                <a:cubicBezTo>
                  <a:pt x="3549465" y="940578"/>
                  <a:pt x="3552331" y="938579"/>
                  <a:pt x="3562925" y="934092"/>
                </a:cubicBezTo>
                <a:cubicBezTo>
                  <a:pt x="3573519" y="929605"/>
                  <a:pt x="3576969" y="936937"/>
                  <a:pt x="3589506" y="935561"/>
                </a:cubicBezTo>
                <a:cubicBezTo>
                  <a:pt x="3602043" y="934185"/>
                  <a:pt x="3558255" y="940359"/>
                  <a:pt x="3638145" y="925833"/>
                </a:cubicBezTo>
                <a:cubicBezTo>
                  <a:pt x="3654312" y="922893"/>
                  <a:pt x="3671562" y="916316"/>
                  <a:pt x="3686783" y="911242"/>
                </a:cubicBezTo>
                <a:cubicBezTo>
                  <a:pt x="3691647" y="909621"/>
                  <a:pt x="3696317" y="907221"/>
                  <a:pt x="3701374" y="906378"/>
                </a:cubicBezTo>
                <a:cubicBezTo>
                  <a:pt x="3711102" y="904757"/>
                  <a:pt x="3720794" y="902909"/>
                  <a:pt x="3730557" y="901514"/>
                </a:cubicBezTo>
                <a:cubicBezTo>
                  <a:pt x="3759247" y="897415"/>
                  <a:pt x="3784319" y="895189"/>
                  <a:pt x="3813243" y="891786"/>
                </a:cubicBezTo>
                <a:lnTo>
                  <a:pt x="3852153" y="886923"/>
                </a:lnTo>
                <a:lnTo>
                  <a:pt x="3895928" y="872331"/>
                </a:lnTo>
                <a:lnTo>
                  <a:pt x="3925111" y="862603"/>
                </a:lnTo>
                <a:cubicBezTo>
                  <a:pt x="3936460" y="860982"/>
                  <a:pt x="3947849" y="859625"/>
                  <a:pt x="3959157" y="857740"/>
                </a:cubicBezTo>
                <a:cubicBezTo>
                  <a:pt x="3967312" y="856381"/>
                  <a:pt x="3975293" y="854045"/>
                  <a:pt x="3983477" y="852876"/>
                </a:cubicBezTo>
                <a:cubicBezTo>
                  <a:pt x="3998011" y="850800"/>
                  <a:pt x="4012683" y="849833"/>
                  <a:pt x="4027251" y="848012"/>
                </a:cubicBezTo>
                <a:cubicBezTo>
                  <a:pt x="4038627" y="846590"/>
                  <a:pt x="4049949" y="844769"/>
                  <a:pt x="4061298" y="843148"/>
                </a:cubicBezTo>
                <a:cubicBezTo>
                  <a:pt x="4073800" y="838980"/>
                  <a:pt x="4086484" y="835852"/>
                  <a:pt x="4095345" y="833420"/>
                </a:cubicBezTo>
                <a:cubicBezTo>
                  <a:pt x="4104206" y="830988"/>
                  <a:pt x="4103113" y="830178"/>
                  <a:pt x="4114462" y="828557"/>
                </a:cubicBezTo>
                <a:cubicBezTo>
                  <a:pt x="4124190" y="825314"/>
                  <a:pt x="4130241" y="817038"/>
                  <a:pt x="4147377" y="811364"/>
                </a:cubicBezTo>
                <a:cubicBezTo>
                  <a:pt x="4164513" y="805690"/>
                  <a:pt x="4195957" y="798130"/>
                  <a:pt x="4217278" y="794510"/>
                </a:cubicBezTo>
                <a:cubicBezTo>
                  <a:pt x="4238599" y="790890"/>
                  <a:pt x="4250987" y="791267"/>
                  <a:pt x="4275306" y="789646"/>
                </a:cubicBezTo>
                <a:lnTo>
                  <a:pt x="4304489" y="779918"/>
                </a:lnTo>
                <a:cubicBezTo>
                  <a:pt x="4309353" y="778297"/>
                  <a:pt x="4314005" y="775779"/>
                  <a:pt x="4319081" y="775054"/>
                </a:cubicBezTo>
                <a:cubicBezTo>
                  <a:pt x="4330430" y="773433"/>
                  <a:pt x="4341820" y="772076"/>
                  <a:pt x="4353128" y="770191"/>
                </a:cubicBezTo>
                <a:cubicBezTo>
                  <a:pt x="4361282" y="768832"/>
                  <a:pt x="4369293" y="766686"/>
                  <a:pt x="4377447" y="765327"/>
                </a:cubicBezTo>
                <a:cubicBezTo>
                  <a:pt x="4388755" y="763442"/>
                  <a:pt x="4400145" y="762084"/>
                  <a:pt x="4411494" y="760463"/>
                </a:cubicBezTo>
                <a:cubicBezTo>
                  <a:pt x="4416358" y="758842"/>
                  <a:pt x="4421010" y="756324"/>
                  <a:pt x="4426085" y="755599"/>
                </a:cubicBezTo>
                <a:cubicBezTo>
                  <a:pt x="4453956" y="751617"/>
                  <a:pt x="4481447" y="752701"/>
                  <a:pt x="4508770" y="745871"/>
                </a:cubicBezTo>
                <a:cubicBezTo>
                  <a:pt x="4518718" y="743384"/>
                  <a:pt x="4537953" y="736144"/>
                  <a:pt x="4537953" y="736144"/>
                </a:cubicBezTo>
                <a:cubicBezTo>
                  <a:pt x="4542817" y="731280"/>
                  <a:pt x="4546822" y="725368"/>
                  <a:pt x="4552545" y="721552"/>
                </a:cubicBezTo>
                <a:cubicBezTo>
                  <a:pt x="4556811" y="718708"/>
                  <a:pt x="4562551" y="718982"/>
                  <a:pt x="4567136" y="716689"/>
                </a:cubicBezTo>
                <a:cubicBezTo>
                  <a:pt x="4572365" y="714075"/>
                  <a:pt x="4576499" y="709575"/>
                  <a:pt x="4581728" y="706961"/>
                </a:cubicBezTo>
                <a:cubicBezTo>
                  <a:pt x="4586314" y="704668"/>
                  <a:pt x="4591733" y="704390"/>
                  <a:pt x="4596319" y="702097"/>
                </a:cubicBezTo>
                <a:cubicBezTo>
                  <a:pt x="4601548" y="699483"/>
                  <a:pt x="4605237" y="696667"/>
                  <a:pt x="4610911" y="692369"/>
                </a:cubicBezTo>
                <a:cubicBezTo>
                  <a:pt x="4616585" y="688071"/>
                  <a:pt x="4623963" y="678230"/>
                  <a:pt x="4630366" y="676309"/>
                </a:cubicBezTo>
                <a:cubicBezTo>
                  <a:pt x="4640187" y="673363"/>
                  <a:pt x="4652253" y="678344"/>
                  <a:pt x="4659549" y="677778"/>
                </a:cubicBezTo>
                <a:cubicBezTo>
                  <a:pt x="4666845" y="677212"/>
                  <a:pt x="4669083" y="673757"/>
                  <a:pt x="4674140" y="672914"/>
                </a:cubicBezTo>
                <a:cubicBezTo>
                  <a:pt x="4693595" y="669671"/>
                  <a:pt x="4713794" y="669423"/>
                  <a:pt x="4732506" y="663186"/>
                </a:cubicBezTo>
                <a:cubicBezTo>
                  <a:pt x="4751116" y="656983"/>
                  <a:pt x="4762769" y="652270"/>
                  <a:pt x="4781145" y="648595"/>
                </a:cubicBezTo>
                <a:cubicBezTo>
                  <a:pt x="4790815" y="646661"/>
                  <a:pt x="4800600" y="645352"/>
                  <a:pt x="4810328" y="643731"/>
                </a:cubicBezTo>
                <a:cubicBezTo>
                  <a:pt x="4815192" y="642110"/>
                  <a:pt x="4819945" y="640110"/>
                  <a:pt x="4824919" y="638867"/>
                </a:cubicBezTo>
                <a:cubicBezTo>
                  <a:pt x="4832939" y="636862"/>
                  <a:pt x="4841497" y="636906"/>
                  <a:pt x="4849238" y="634003"/>
                </a:cubicBezTo>
                <a:cubicBezTo>
                  <a:pt x="4896702" y="616205"/>
                  <a:pt x="4826930" y="630683"/>
                  <a:pt x="4883285" y="619412"/>
                </a:cubicBezTo>
                <a:cubicBezTo>
                  <a:pt x="4927910" y="610487"/>
                  <a:pt x="4942300" y="612891"/>
                  <a:pt x="5000017" y="609684"/>
                </a:cubicBezTo>
                <a:cubicBezTo>
                  <a:pt x="5004881" y="604820"/>
                  <a:pt x="5008886" y="598908"/>
                  <a:pt x="5014609" y="595093"/>
                </a:cubicBezTo>
                <a:cubicBezTo>
                  <a:pt x="5018875" y="592249"/>
                  <a:pt x="5024133" y="591009"/>
                  <a:pt x="5029200" y="590229"/>
                </a:cubicBezTo>
                <a:cubicBezTo>
                  <a:pt x="5076612" y="582935"/>
                  <a:pt x="5066657" y="589376"/>
                  <a:pt x="5102157" y="580501"/>
                </a:cubicBezTo>
                <a:cubicBezTo>
                  <a:pt x="5120408" y="575938"/>
                  <a:pt x="5116716" y="574262"/>
                  <a:pt x="5136204" y="565910"/>
                </a:cubicBezTo>
                <a:cubicBezTo>
                  <a:pt x="5147866" y="560912"/>
                  <a:pt x="5157910" y="559708"/>
                  <a:pt x="5170251" y="556182"/>
                </a:cubicBezTo>
                <a:cubicBezTo>
                  <a:pt x="5175181" y="554773"/>
                  <a:pt x="5180361" y="553808"/>
                  <a:pt x="5184843" y="551318"/>
                </a:cubicBezTo>
                <a:cubicBezTo>
                  <a:pt x="5195063" y="545640"/>
                  <a:pt x="5202935" y="535560"/>
                  <a:pt x="5214026" y="531863"/>
                </a:cubicBezTo>
                <a:cubicBezTo>
                  <a:pt x="5218890" y="530242"/>
                  <a:pt x="5224031" y="529292"/>
                  <a:pt x="5228617" y="526999"/>
                </a:cubicBezTo>
                <a:cubicBezTo>
                  <a:pt x="5242172" y="520221"/>
                  <a:pt x="5242314" y="514038"/>
                  <a:pt x="5257800" y="512408"/>
                </a:cubicBezTo>
                <a:cubicBezTo>
                  <a:pt x="5283648" y="509687"/>
                  <a:pt x="5309692" y="509332"/>
                  <a:pt x="5335621" y="507544"/>
                </a:cubicBezTo>
                <a:lnTo>
                  <a:pt x="5398851" y="502680"/>
                </a:lnTo>
                <a:cubicBezTo>
                  <a:pt x="5415064" y="499437"/>
                  <a:pt x="5431803" y="498179"/>
                  <a:pt x="5447489" y="492952"/>
                </a:cubicBezTo>
                <a:cubicBezTo>
                  <a:pt x="5482496" y="481285"/>
                  <a:pt x="5438758" y="495448"/>
                  <a:pt x="5481536" y="483225"/>
                </a:cubicBezTo>
                <a:cubicBezTo>
                  <a:pt x="5486466" y="481816"/>
                  <a:pt x="5491084" y="479278"/>
                  <a:pt x="5496128" y="478361"/>
                </a:cubicBezTo>
                <a:cubicBezTo>
                  <a:pt x="5508988" y="476023"/>
                  <a:pt x="5522047" y="474940"/>
                  <a:pt x="5535038" y="473497"/>
                </a:cubicBezTo>
                <a:cubicBezTo>
                  <a:pt x="5645998" y="461168"/>
                  <a:pt x="5527949" y="475599"/>
                  <a:pt x="5622587" y="463769"/>
                </a:cubicBezTo>
                <a:lnTo>
                  <a:pt x="5651770" y="454042"/>
                </a:lnTo>
                <a:cubicBezTo>
                  <a:pt x="5656634" y="452421"/>
                  <a:pt x="5661388" y="450422"/>
                  <a:pt x="5666362" y="449178"/>
                </a:cubicBezTo>
                <a:cubicBezTo>
                  <a:pt x="5690791" y="443070"/>
                  <a:pt x="5679475" y="446428"/>
                  <a:pt x="5700409" y="439450"/>
                </a:cubicBezTo>
                <a:cubicBezTo>
                  <a:pt x="5706894" y="434586"/>
                  <a:pt x="5712614" y="428484"/>
                  <a:pt x="5719864" y="424859"/>
                </a:cubicBezTo>
                <a:cubicBezTo>
                  <a:pt x="5729035" y="420273"/>
                  <a:pt x="5739319" y="418374"/>
                  <a:pt x="5749047" y="415131"/>
                </a:cubicBezTo>
                <a:cubicBezTo>
                  <a:pt x="5772803" y="407212"/>
                  <a:pt x="5766799" y="408153"/>
                  <a:pt x="5802549" y="405403"/>
                </a:cubicBezTo>
                <a:cubicBezTo>
                  <a:pt x="5831691" y="403161"/>
                  <a:pt x="5860915" y="402161"/>
                  <a:pt x="5890098" y="400540"/>
                </a:cubicBezTo>
                <a:cubicBezTo>
                  <a:pt x="5931842" y="386624"/>
                  <a:pt x="5865397" y="407931"/>
                  <a:pt x="5933872" y="390812"/>
                </a:cubicBezTo>
                <a:cubicBezTo>
                  <a:pt x="5943820" y="388325"/>
                  <a:pt x="5953327" y="384327"/>
                  <a:pt x="5963055" y="381084"/>
                </a:cubicBezTo>
                <a:cubicBezTo>
                  <a:pt x="5967919" y="379463"/>
                  <a:pt x="5972590" y="377063"/>
                  <a:pt x="5977647" y="376220"/>
                </a:cubicBezTo>
                <a:cubicBezTo>
                  <a:pt x="5987375" y="374599"/>
                  <a:pt x="5997160" y="373291"/>
                  <a:pt x="6006830" y="371357"/>
                </a:cubicBezTo>
                <a:cubicBezTo>
                  <a:pt x="6025956" y="367532"/>
                  <a:pt x="6034292" y="362530"/>
                  <a:pt x="6055468" y="361629"/>
                </a:cubicBezTo>
                <a:cubicBezTo>
                  <a:pt x="6121900" y="358802"/>
                  <a:pt x="6188413" y="358386"/>
                  <a:pt x="6254885" y="356765"/>
                </a:cubicBezTo>
                <a:cubicBezTo>
                  <a:pt x="6259749" y="355144"/>
                  <a:pt x="6265852" y="355526"/>
                  <a:pt x="6269477" y="351901"/>
                </a:cubicBezTo>
                <a:cubicBezTo>
                  <a:pt x="6294619" y="326759"/>
                  <a:pt x="6279564" y="325241"/>
                  <a:pt x="6303523" y="308127"/>
                </a:cubicBezTo>
                <a:cubicBezTo>
                  <a:pt x="6309423" y="303913"/>
                  <a:pt x="6316314" y="301255"/>
                  <a:pt x="6322979" y="298399"/>
                </a:cubicBezTo>
                <a:cubicBezTo>
                  <a:pt x="6343150" y="289754"/>
                  <a:pt x="6373595" y="287553"/>
                  <a:pt x="6391072" y="283808"/>
                </a:cubicBezTo>
                <a:cubicBezTo>
                  <a:pt x="6396085" y="282734"/>
                  <a:pt x="6400659" y="280056"/>
                  <a:pt x="6405664" y="278944"/>
                </a:cubicBezTo>
                <a:cubicBezTo>
                  <a:pt x="6415291" y="276805"/>
                  <a:pt x="6425119" y="275701"/>
                  <a:pt x="6434847" y="274080"/>
                </a:cubicBezTo>
                <a:cubicBezTo>
                  <a:pt x="6439711" y="270837"/>
                  <a:pt x="6443965" y="266404"/>
                  <a:pt x="6449438" y="264352"/>
                </a:cubicBezTo>
                <a:cubicBezTo>
                  <a:pt x="6457178" y="261449"/>
                  <a:pt x="6466879" y="264075"/>
                  <a:pt x="6473757" y="259489"/>
                </a:cubicBezTo>
                <a:cubicBezTo>
                  <a:pt x="6478023" y="256645"/>
                  <a:pt x="6475418" y="248901"/>
                  <a:pt x="6478621" y="244897"/>
                </a:cubicBezTo>
                <a:cubicBezTo>
                  <a:pt x="6495553" y="223732"/>
                  <a:pt x="6551974" y="230972"/>
                  <a:pt x="6561306" y="230306"/>
                </a:cubicBezTo>
                <a:cubicBezTo>
                  <a:pt x="6562927" y="225442"/>
                  <a:pt x="6562967" y="219718"/>
                  <a:pt x="6566170" y="215714"/>
                </a:cubicBezTo>
                <a:cubicBezTo>
                  <a:pt x="6569822" y="211149"/>
                  <a:pt x="6574939" y="206500"/>
                  <a:pt x="6580762" y="205986"/>
                </a:cubicBezTo>
                <a:cubicBezTo>
                  <a:pt x="6630853" y="201566"/>
                  <a:pt x="6681281" y="202744"/>
                  <a:pt x="6731540" y="201123"/>
                </a:cubicBezTo>
                <a:cubicBezTo>
                  <a:pt x="6738025" y="199502"/>
                  <a:pt x="6746646" y="201335"/>
                  <a:pt x="6750996" y="196259"/>
                </a:cubicBezTo>
                <a:cubicBezTo>
                  <a:pt x="6757669" y="188474"/>
                  <a:pt x="6760723" y="167076"/>
                  <a:pt x="6760723" y="167076"/>
                </a:cubicBezTo>
                <a:cubicBezTo>
                  <a:pt x="6762344" y="154106"/>
                  <a:pt x="6760732" y="140301"/>
                  <a:pt x="6765587" y="128165"/>
                </a:cubicBezTo>
                <a:cubicBezTo>
                  <a:pt x="6770473" y="115951"/>
                  <a:pt x="6804630" y="114363"/>
                  <a:pt x="6809362" y="113574"/>
                </a:cubicBezTo>
                <a:cubicBezTo>
                  <a:pt x="6810983" y="108710"/>
                  <a:pt x="6813590" y="104070"/>
                  <a:pt x="6814226" y="98982"/>
                </a:cubicBezTo>
                <a:cubicBezTo>
                  <a:pt x="6816848" y="78006"/>
                  <a:pt x="6818421" y="43617"/>
                  <a:pt x="6819089" y="35752"/>
                </a:cubicBezTo>
                <a:cubicBezTo>
                  <a:pt x="6819757" y="27887"/>
                  <a:pt x="6817567" y="57753"/>
                  <a:pt x="6818236" y="51794"/>
                </a:cubicBezTo>
                <a:cubicBezTo>
                  <a:pt x="6818905" y="45835"/>
                  <a:pt x="6823101" y="0"/>
                  <a:pt x="6823101" y="0"/>
                </a:cubicBezTo>
              </a:path>
            </a:pathLst>
          </a:custGeom>
          <a:noFill/>
          <a:ln w="19050">
            <a:solidFill>
              <a:srgbClr val="8278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Freeform 79"/>
          <p:cNvSpPr/>
          <p:nvPr/>
        </p:nvSpPr>
        <p:spPr>
          <a:xfrm>
            <a:off x="1162456" y="1544050"/>
            <a:ext cx="6955277" cy="1656350"/>
          </a:xfrm>
          <a:custGeom>
            <a:avLst/>
            <a:gdLst>
              <a:gd name="connsiteX0" fmla="*/ 0 w 6955277"/>
              <a:gd name="connsiteY0" fmla="*/ 1645083 h 1645083"/>
              <a:gd name="connsiteX1" fmla="*/ 48639 w 6955277"/>
              <a:gd name="connsiteY1" fmla="*/ 1635355 h 1645083"/>
              <a:gd name="connsiteX2" fmla="*/ 77822 w 6955277"/>
              <a:gd name="connsiteY2" fmla="*/ 1620764 h 1645083"/>
              <a:gd name="connsiteX3" fmla="*/ 141051 w 6955277"/>
              <a:gd name="connsiteY3" fmla="*/ 1615900 h 1645083"/>
              <a:gd name="connsiteX4" fmla="*/ 170234 w 6955277"/>
              <a:gd name="connsiteY4" fmla="*/ 1591581 h 1645083"/>
              <a:gd name="connsiteX5" fmla="*/ 184826 w 6955277"/>
              <a:gd name="connsiteY5" fmla="*/ 1581853 h 1645083"/>
              <a:gd name="connsiteX6" fmla="*/ 238328 w 6955277"/>
              <a:gd name="connsiteY6" fmla="*/ 1581853 h 1645083"/>
              <a:gd name="connsiteX7" fmla="*/ 252919 w 6955277"/>
              <a:gd name="connsiteY7" fmla="*/ 1572126 h 1645083"/>
              <a:gd name="connsiteX8" fmla="*/ 301558 w 6955277"/>
              <a:gd name="connsiteY8" fmla="*/ 1567262 h 1645083"/>
              <a:gd name="connsiteX9" fmla="*/ 321013 w 6955277"/>
              <a:gd name="connsiteY9" fmla="*/ 1557534 h 1645083"/>
              <a:gd name="connsiteX10" fmla="*/ 369651 w 6955277"/>
              <a:gd name="connsiteY10" fmla="*/ 1538079 h 1645083"/>
              <a:gd name="connsiteX11" fmla="*/ 418290 w 6955277"/>
              <a:gd name="connsiteY11" fmla="*/ 1538079 h 1645083"/>
              <a:gd name="connsiteX12" fmla="*/ 432881 w 6955277"/>
              <a:gd name="connsiteY12" fmla="*/ 1523487 h 1645083"/>
              <a:gd name="connsiteX13" fmla="*/ 447473 w 6955277"/>
              <a:gd name="connsiteY13" fmla="*/ 1518623 h 1645083"/>
              <a:gd name="connsiteX14" fmla="*/ 515566 w 6955277"/>
              <a:gd name="connsiteY14" fmla="*/ 1518623 h 1645083"/>
              <a:gd name="connsiteX15" fmla="*/ 520430 w 6955277"/>
              <a:gd name="connsiteY15" fmla="*/ 1499168 h 1645083"/>
              <a:gd name="connsiteX16" fmla="*/ 612843 w 6955277"/>
              <a:gd name="connsiteY16" fmla="*/ 1499168 h 1645083"/>
              <a:gd name="connsiteX17" fmla="*/ 617707 w 6955277"/>
              <a:gd name="connsiteY17" fmla="*/ 1484577 h 1645083"/>
              <a:gd name="connsiteX18" fmla="*/ 666345 w 6955277"/>
              <a:gd name="connsiteY18" fmla="*/ 1479713 h 1645083"/>
              <a:gd name="connsiteX19" fmla="*/ 695528 w 6955277"/>
              <a:gd name="connsiteY19" fmla="*/ 1484577 h 1645083"/>
              <a:gd name="connsiteX20" fmla="*/ 753894 w 6955277"/>
              <a:gd name="connsiteY20" fmla="*/ 1474849 h 1645083"/>
              <a:gd name="connsiteX21" fmla="*/ 787941 w 6955277"/>
              <a:gd name="connsiteY21" fmla="*/ 1469985 h 1645083"/>
              <a:gd name="connsiteX22" fmla="*/ 792805 w 6955277"/>
              <a:gd name="connsiteY22" fmla="*/ 1455394 h 1645083"/>
              <a:gd name="connsiteX23" fmla="*/ 836579 w 6955277"/>
              <a:gd name="connsiteY23" fmla="*/ 1450530 h 1645083"/>
              <a:gd name="connsiteX24" fmla="*/ 851171 w 6955277"/>
              <a:gd name="connsiteY24" fmla="*/ 1445666 h 1645083"/>
              <a:gd name="connsiteX25" fmla="*/ 875490 w 6955277"/>
              <a:gd name="connsiteY25" fmla="*/ 1440802 h 1645083"/>
              <a:gd name="connsiteX26" fmla="*/ 894945 w 6955277"/>
              <a:gd name="connsiteY26" fmla="*/ 1435938 h 1645083"/>
              <a:gd name="connsiteX27" fmla="*/ 924128 w 6955277"/>
              <a:gd name="connsiteY27" fmla="*/ 1426211 h 1645083"/>
              <a:gd name="connsiteX28" fmla="*/ 933856 w 6955277"/>
              <a:gd name="connsiteY28" fmla="*/ 1411619 h 1645083"/>
              <a:gd name="connsiteX29" fmla="*/ 982494 w 6955277"/>
              <a:gd name="connsiteY29" fmla="*/ 1406755 h 1645083"/>
              <a:gd name="connsiteX30" fmla="*/ 997085 w 6955277"/>
              <a:gd name="connsiteY30" fmla="*/ 1401892 h 1645083"/>
              <a:gd name="connsiteX31" fmla="*/ 1011677 w 6955277"/>
              <a:gd name="connsiteY31" fmla="*/ 1392164 h 1645083"/>
              <a:gd name="connsiteX32" fmla="*/ 1118681 w 6955277"/>
              <a:gd name="connsiteY32" fmla="*/ 1387300 h 1645083"/>
              <a:gd name="connsiteX33" fmla="*/ 1147864 w 6955277"/>
              <a:gd name="connsiteY33" fmla="*/ 1377572 h 1645083"/>
              <a:gd name="connsiteX34" fmla="*/ 1240277 w 6955277"/>
              <a:gd name="connsiteY34" fmla="*/ 1362981 h 1645083"/>
              <a:gd name="connsiteX35" fmla="*/ 1269460 w 6955277"/>
              <a:gd name="connsiteY35" fmla="*/ 1353253 h 1645083"/>
              <a:gd name="connsiteX36" fmla="*/ 1303507 w 6955277"/>
              <a:gd name="connsiteY36" fmla="*/ 1343526 h 1645083"/>
              <a:gd name="connsiteX37" fmla="*/ 1332690 w 6955277"/>
              <a:gd name="connsiteY37" fmla="*/ 1328934 h 1645083"/>
              <a:gd name="connsiteX38" fmla="*/ 1400783 w 6955277"/>
              <a:gd name="connsiteY38" fmla="*/ 1319206 h 1645083"/>
              <a:gd name="connsiteX39" fmla="*/ 1429966 w 6955277"/>
              <a:gd name="connsiteY39" fmla="*/ 1309479 h 1645083"/>
              <a:gd name="connsiteX40" fmla="*/ 1444558 w 6955277"/>
              <a:gd name="connsiteY40" fmla="*/ 1304615 h 1645083"/>
              <a:gd name="connsiteX41" fmla="*/ 1532107 w 6955277"/>
              <a:gd name="connsiteY41" fmla="*/ 1290023 h 1645083"/>
              <a:gd name="connsiteX42" fmla="*/ 1561290 w 6955277"/>
              <a:gd name="connsiteY42" fmla="*/ 1280296 h 1645083"/>
              <a:gd name="connsiteX43" fmla="*/ 1600200 w 6955277"/>
              <a:gd name="connsiteY43" fmla="*/ 1275432 h 1645083"/>
              <a:gd name="connsiteX44" fmla="*/ 1634247 w 6955277"/>
              <a:gd name="connsiteY44" fmla="*/ 1270568 h 1645083"/>
              <a:gd name="connsiteX45" fmla="*/ 1697477 w 6955277"/>
              <a:gd name="connsiteY45" fmla="*/ 1260840 h 1645083"/>
              <a:gd name="connsiteX46" fmla="*/ 1712068 w 6955277"/>
              <a:gd name="connsiteY46" fmla="*/ 1251113 h 1645083"/>
              <a:gd name="connsiteX47" fmla="*/ 1736388 w 6955277"/>
              <a:gd name="connsiteY47" fmla="*/ 1246249 h 1645083"/>
              <a:gd name="connsiteX48" fmla="*/ 1823936 w 6955277"/>
              <a:gd name="connsiteY48" fmla="*/ 1241385 h 1645083"/>
              <a:gd name="connsiteX49" fmla="*/ 1828800 w 6955277"/>
              <a:gd name="connsiteY49" fmla="*/ 1217066 h 1645083"/>
              <a:gd name="connsiteX50" fmla="*/ 1843392 w 6955277"/>
              <a:gd name="connsiteY50" fmla="*/ 1212202 h 1645083"/>
              <a:gd name="connsiteX51" fmla="*/ 1867711 w 6955277"/>
              <a:gd name="connsiteY51" fmla="*/ 1207338 h 1645083"/>
              <a:gd name="connsiteX52" fmla="*/ 1945532 w 6955277"/>
              <a:gd name="connsiteY52" fmla="*/ 1202474 h 1645083"/>
              <a:gd name="connsiteX53" fmla="*/ 2033081 w 6955277"/>
              <a:gd name="connsiteY53" fmla="*/ 1197611 h 1645083"/>
              <a:gd name="connsiteX54" fmla="*/ 2091447 w 6955277"/>
              <a:gd name="connsiteY54" fmla="*/ 1178155 h 1645083"/>
              <a:gd name="connsiteX55" fmla="*/ 2106039 w 6955277"/>
              <a:gd name="connsiteY55" fmla="*/ 1168428 h 1645083"/>
              <a:gd name="connsiteX56" fmla="*/ 2140085 w 6955277"/>
              <a:gd name="connsiteY56" fmla="*/ 1163564 h 1645083"/>
              <a:gd name="connsiteX57" fmla="*/ 2188724 w 6955277"/>
              <a:gd name="connsiteY57" fmla="*/ 1148972 h 1645083"/>
              <a:gd name="connsiteX58" fmla="*/ 2222771 w 6955277"/>
              <a:gd name="connsiteY58" fmla="*/ 1144109 h 1645083"/>
              <a:gd name="connsiteX59" fmla="*/ 2237362 w 6955277"/>
              <a:gd name="connsiteY59" fmla="*/ 1139245 h 1645083"/>
              <a:gd name="connsiteX60" fmla="*/ 2305456 w 6955277"/>
              <a:gd name="connsiteY60" fmla="*/ 1129517 h 1645083"/>
              <a:gd name="connsiteX61" fmla="*/ 2349230 w 6955277"/>
              <a:gd name="connsiteY61" fmla="*/ 1119789 h 1645083"/>
              <a:gd name="connsiteX62" fmla="*/ 2363822 w 6955277"/>
              <a:gd name="connsiteY62" fmla="*/ 1114926 h 1645083"/>
              <a:gd name="connsiteX63" fmla="*/ 2431915 w 6955277"/>
              <a:gd name="connsiteY63" fmla="*/ 1105198 h 1645083"/>
              <a:gd name="connsiteX64" fmla="*/ 2436779 w 6955277"/>
              <a:gd name="connsiteY64" fmla="*/ 1090606 h 1645083"/>
              <a:gd name="connsiteX65" fmla="*/ 2465962 w 6955277"/>
              <a:gd name="connsiteY65" fmla="*/ 1080879 h 1645083"/>
              <a:gd name="connsiteX66" fmla="*/ 2572966 w 6955277"/>
              <a:gd name="connsiteY66" fmla="*/ 1080879 h 1645083"/>
              <a:gd name="connsiteX67" fmla="*/ 2587558 w 6955277"/>
              <a:gd name="connsiteY67" fmla="*/ 1071151 h 1645083"/>
              <a:gd name="connsiteX68" fmla="*/ 2602149 w 6955277"/>
              <a:gd name="connsiteY68" fmla="*/ 1066287 h 1645083"/>
              <a:gd name="connsiteX69" fmla="*/ 2616741 w 6955277"/>
              <a:gd name="connsiteY69" fmla="*/ 1056560 h 1645083"/>
              <a:gd name="connsiteX70" fmla="*/ 2645924 w 6955277"/>
              <a:gd name="connsiteY70" fmla="*/ 1051696 h 1645083"/>
              <a:gd name="connsiteX71" fmla="*/ 2704290 w 6955277"/>
              <a:gd name="connsiteY71" fmla="*/ 1032240 h 1645083"/>
              <a:gd name="connsiteX72" fmla="*/ 2718881 w 6955277"/>
              <a:gd name="connsiteY72" fmla="*/ 1027377 h 1645083"/>
              <a:gd name="connsiteX73" fmla="*/ 2733473 w 6955277"/>
              <a:gd name="connsiteY73" fmla="*/ 1022513 h 1645083"/>
              <a:gd name="connsiteX74" fmla="*/ 2752928 w 6955277"/>
              <a:gd name="connsiteY74" fmla="*/ 1017649 h 1645083"/>
              <a:gd name="connsiteX75" fmla="*/ 2777247 w 6955277"/>
              <a:gd name="connsiteY75" fmla="*/ 1012785 h 1645083"/>
              <a:gd name="connsiteX76" fmla="*/ 2830749 w 6955277"/>
              <a:gd name="connsiteY76" fmla="*/ 1007921 h 1645083"/>
              <a:gd name="connsiteX77" fmla="*/ 2864796 w 6955277"/>
              <a:gd name="connsiteY77" fmla="*/ 1003057 h 1645083"/>
              <a:gd name="connsiteX78" fmla="*/ 2879388 w 6955277"/>
              <a:gd name="connsiteY78" fmla="*/ 998194 h 1645083"/>
              <a:gd name="connsiteX79" fmla="*/ 2898843 w 6955277"/>
              <a:gd name="connsiteY79" fmla="*/ 993330 h 1645083"/>
              <a:gd name="connsiteX80" fmla="*/ 2913434 w 6955277"/>
              <a:gd name="connsiteY80" fmla="*/ 983602 h 1645083"/>
              <a:gd name="connsiteX81" fmla="*/ 2981528 w 6955277"/>
              <a:gd name="connsiteY81" fmla="*/ 973874 h 1645083"/>
              <a:gd name="connsiteX82" fmla="*/ 2986392 w 6955277"/>
              <a:gd name="connsiteY82" fmla="*/ 959283 h 1645083"/>
              <a:gd name="connsiteX83" fmla="*/ 3059349 w 6955277"/>
              <a:gd name="connsiteY83" fmla="*/ 954419 h 1645083"/>
              <a:gd name="connsiteX84" fmla="*/ 3107988 w 6955277"/>
              <a:gd name="connsiteY84" fmla="*/ 949555 h 1645083"/>
              <a:gd name="connsiteX85" fmla="*/ 3185809 w 6955277"/>
              <a:gd name="connsiteY85" fmla="*/ 939828 h 1645083"/>
              <a:gd name="connsiteX86" fmla="*/ 3229583 w 6955277"/>
              <a:gd name="connsiteY86" fmla="*/ 934964 h 1645083"/>
              <a:gd name="connsiteX87" fmla="*/ 3263630 w 6955277"/>
              <a:gd name="connsiteY87" fmla="*/ 925236 h 1645083"/>
              <a:gd name="connsiteX88" fmla="*/ 3302541 w 6955277"/>
              <a:gd name="connsiteY88" fmla="*/ 920372 h 1645083"/>
              <a:gd name="connsiteX89" fmla="*/ 3317132 w 6955277"/>
              <a:gd name="connsiteY89" fmla="*/ 915509 h 1645083"/>
              <a:gd name="connsiteX90" fmla="*/ 3321996 w 6955277"/>
              <a:gd name="connsiteY90" fmla="*/ 900917 h 1645083"/>
              <a:gd name="connsiteX91" fmla="*/ 3433864 w 6955277"/>
              <a:gd name="connsiteY91" fmla="*/ 896053 h 1645083"/>
              <a:gd name="connsiteX92" fmla="*/ 3438728 w 6955277"/>
              <a:gd name="connsiteY92" fmla="*/ 881462 h 1645083"/>
              <a:gd name="connsiteX93" fmla="*/ 3453319 w 6955277"/>
              <a:gd name="connsiteY93" fmla="*/ 871734 h 1645083"/>
              <a:gd name="connsiteX94" fmla="*/ 3540868 w 6955277"/>
              <a:gd name="connsiteY94" fmla="*/ 866870 h 1645083"/>
              <a:gd name="connsiteX95" fmla="*/ 3560324 w 6955277"/>
              <a:gd name="connsiteY95" fmla="*/ 862006 h 1645083"/>
              <a:gd name="connsiteX96" fmla="*/ 3589507 w 6955277"/>
              <a:gd name="connsiteY96" fmla="*/ 852279 h 1645083"/>
              <a:gd name="connsiteX97" fmla="*/ 3618690 w 6955277"/>
              <a:gd name="connsiteY97" fmla="*/ 847415 h 1645083"/>
              <a:gd name="connsiteX98" fmla="*/ 3715966 w 6955277"/>
              <a:gd name="connsiteY98" fmla="*/ 832823 h 1645083"/>
              <a:gd name="connsiteX99" fmla="*/ 3745149 w 6955277"/>
              <a:gd name="connsiteY99" fmla="*/ 823096 h 1645083"/>
              <a:gd name="connsiteX100" fmla="*/ 3750013 w 6955277"/>
              <a:gd name="connsiteY100" fmla="*/ 808504 h 1645083"/>
              <a:gd name="connsiteX101" fmla="*/ 3764605 w 6955277"/>
              <a:gd name="connsiteY101" fmla="*/ 803640 h 1645083"/>
              <a:gd name="connsiteX102" fmla="*/ 3798651 w 6955277"/>
              <a:gd name="connsiteY102" fmla="*/ 798777 h 1645083"/>
              <a:gd name="connsiteX103" fmla="*/ 3822971 w 6955277"/>
              <a:gd name="connsiteY103" fmla="*/ 793913 h 1645083"/>
              <a:gd name="connsiteX104" fmla="*/ 3852154 w 6955277"/>
              <a:gd name="connsiteY104" fmla="*/ 784185 h 1645083"/>
              <a:gd name="connsiteX105" fmla="*/ 3915383 w 6955277"/>
              <a:gd name="connsiteY105" fmla="*/ 779321 h 1645083"/>
              <a:gd name="connsiteX106" fmla="*/ 3959158 w 6955277"/>
              <a:gd name="connsiteY106" fmla="*/ 774457 h 1645083"/>
              <a:gd name="connsiteX107" fmla="*/ 3964022 w 6955277"/>
              <a:gd name="connsiteY107" fmla="*/ 759866 h 1645083"/>
              <a:gd name="connsiteX108" fmla="*/ 3993205 w 6955277"/>
              <a:gd name="connsiteY108" fmla="*/ 750138 h 1645083"/>
              <a:gd name="connsiteX109" fmla="*/ 4017524 w 6955277"/>
              <a:gd name="connsiteY109" fmla="*/ 745274 h 1645083"/>
              <a:gd name="connsiteX110" fmla="*/ 4036979 w 6955277"/>
              <a:gd name="connsiteY110" fmla="*/ 740411 h 1645083"/>
              <a:gd name="connsiteX111" fmla="*/ 4075890 w 6955277"/>
              <a:gd name="connsiteY111" fmla="*/ 735547 h 1645083"/>
              <a:gd name="connsiteX112" fmla="*/ 4095345 w 6955277"/>
              <a:gd name="connsiteY112" fmla="*/ 730683 h 1645083"/>
              <a:gd name="connsiteX113" fmla="*/ 4158575 w 6955277"/>
              <a:gd name="connsiteY113" fmla="*/ 716092 h 1645083"/>
              <a:gd name="connsiteX114" fmla="*/ 4173166 w 6955277"/>
              <a:gd name="connsiteY114" fmla="*/ 711228 h 1645083"/>
              <a:gd name="connsiteX115" fmla="*/ 4187758 w 6955277"/>
              <a:gd name="connsiteY115" fmla="*/ 701500 h 1645083"/>
              <a:gd name="connsiteX116" fmla="*/ 4265579 w 6955277"/>
              <a:gd name="connsiteY116" fmla="*/ 696636 h 1645083"/>
              <a:gd name="connsiteX117" fmla="*/ 4275307 w 6955277"/>
              <a:gd name="connsiteY117" fmla="*/ 682045 h 1645083"/>
              <a:gd name="connsiteX118" fmla="*/ 4421222 w 6955277"/>
              <a:gd name="connsiteY118" fmla="*/ 667453 h 1645083"/>
              <a:gd name="connsiteX119" fmla="*/ 4440677 w 6955277"/>
              <a:gd name="connsiteY119" fmla="*/ 657726 h 1645083"/>
              <a:gd name="connsiteX120" fmla="*/ 4557409 w 6955277"/>
              <a:gd name="connsiteY120" fmla="*/ 647998 h 1645083"/>
              <a:gd name="connsiteX121" fmla="*/ 4567136 w 6955277"/>
              <a:gd name="connsiteY121" fmla="*/ 633406 h 1645083"/>
              <a:gd name="connsiteX122" fmla="*/ 4581728 w 6955277"/>
              <a:gd name="connsiteY122" fmla="*/ 628543 h 1645083"/>
              <a:gd name="connsiteX123" fmla="*/ 4635230 w 6955277"/>
              <a:gd name="connsiteY123" fmla="*/ 623679 h 1645083"/>
              <a:gd name="connsiteX124" fmla="*/ 4669277 w 6955277"/>
              <a:gd name="connsiteY124" fmla="*/ 618815 h 1645083"/>
              <a:gd name="connsiteX125" fmla="*/ 4703324 w 6955277"/>
              <a:gd name="connsiteY125" fmla="*/ 599360 h 1645083"/>
              <a:gd name="connsiteX126" fmla="*/ 4732507 w 6955277"/>
              <a:gd name="connsiteY126" fmla="*/ 594496 h 1645083"/>
              <a:gd name="connsiteX127" fmla="*/ 4790873 w 6955277"/>
              <a:gd name="connsiteY127" fmla="*/ 579904 h 1645083"/>
              <a:gd name="connsiteX128" fmla="*/ 4844375 w 6955277"/>
              <a:gd name="connsiteY128" fmla="*/ 570177 h 1645083"/>
              <a:gd name="connsiteX129" fmla="*/ 4917332 w 6955277"/>
              <a:gd name="connsiteY129" fmla="*/ 560449 h 1645083"/>
              <a:gd name="connsiteX130" fmla="*/ 4990290 w 6955277"/>
              <a:gd name="connsiteY130" fmla="*/ 540994 h 1645083"/>
              <a:gd name="connsiteX131" fmla="*/ 5009745 w 6955277"/>
              <a:gd name="connsiteY131" fmla="*/ 511811 h 1645083"/>
              <a:gd name="connsiteX132" fmla="*/ 5024336 w 6955277"/>
              <a:gd name="connsiteY132" fmla="*/ 502083 h 1645083"/>
              <a:gd name="connsiteX133" fmla="*/ 5058383 w 6955277"/>
              <a:gd name="connsiteY133" fmla="*/ 492355 h 1645083"/>
              <a:gd name="connsiteX134" fmla="*/ 5072975 w 6955277"/>
              <a:gd name="connsiteY134" fmla="*/ 487492 h 1645083"/>
              <a:gd name="connsiteX135" fmla="*/ 5087566 w 6955277"/>
              <a:gd name="connsiteY135" fmla="*/ 477764 h 1645083"/>
              <a:gd name="connsiteX136" fmla="*/ 5136205 w 6955277"/>
              <a:gd name="connsiteY136" fmla="*/ 463172 h 1645083"/>
              <a:gd name="connsiteX137" fmla="*/ 5150796 w 6955277"/>
              <a:gd name="connsiteY137" fmla="*/ 458309 h 1645083"/>
              <a:gd name="connsiteX138" fmla="*/ 5179979 w 6955277"/>
              <a:gd name="connsiteY138" fmla="*/ 453445 h 1645083"/>
              <a:gd name="connsiteX139" fmla="*/ 5194571 w 6955277"/>
              <a:gd name="connsiteY139" fmla="*/ 448581 h 1645083"/>
              <a:gd name="connsiteX140" fmla="*/ 5267528 w 6955277"/>
              <a:gd name="connsiteY140" fmla="*/ 443717 h 1645083"/>
              <a:gd name="connsiteX141" fmla="*/ 5301575 w 6955277"/>
              <a:gd name="connsiteY141" fmla="*/ 438853 h 1645083"/>
              <a:gd name="connsiteX142" fmla="*/ 5321030 w 6955277"/>
              <a:gd name="connsiteY142" fmla="*/ 433989 h 1645083"/>
              <a:gd name="connsiteX143" fmla="*/ 5369668 w 6955277"/>
              <a:gd name="connsiteY143" fmla="*/ 429126 h 1645083"/>
              <a:gd name="connsiteX144" fmla="*/ 5437762 w 6955277"/>
              <a:gd name="connsiteY144" fmla="*/ 419398 h 1645083"/>
              <a:gd name="connsiteX145" fmla="*/ 5466945 w 6955277"/>
              <a:gd name="connsiteY145" fmla="*/ 414534 h 1645083"/>
              <a:gd name="connsiteX146" fmla="*/ 5500992 w 6955277"/>
              <a:gd name="connsiteY146" fmla="*/ 404806 h 1645083"/>
              <a:gd name="connsiteX147" fmla="*/ 5515583 w 6955277"/>
              <a:gd name="connsiteY147" fmla="*/ 399943 h 1645083"/>
              <a:gd name="connsiteX148" fmla="*/ 5554494 w 6955277"/>
              <a:gd name="connsiteY148" fmla="*/ 390215 h 1645083"/>
              <a:gd name="connsiteX149" fmla="*/ 5612860 w 6955277"/>
              <a:gd name="connsiteY149" fmla="*/ 385351 h 1645083"/>
              <a:gd name="connsiteX150" fmla="*/ 5666362 w 6955277"/>
              <a:gd name="connsiteY150" fmla="*/ 380487 h 1645083"/>
              <a:gd name="connsiteX151" fmla="*/ 5685817 w 6955277"/>
              <a:gd name="connsiteY151" fmla="*/ 370760 h 1645083"/>
              <a:gd name="connsiteX152" fmla="*/ 5724728 w 6955277"/>
              <a:gd name="connsiteY152" fmla="*/ 365896 h 1645083"/>
              <a:gd name="connsiteX153" fmla="*/ 5729592 w 6955277"/>
              <a:gd name="connsiteY153" fmla="*/ 351304 h 1645083"/>
              <a:gd name="connsiteX154" fmla="*/ 5744183 w 6955277"/>
              <a:gd name="connsiteY154" fmla="*/ 346440 h 1645083"/>
              <a:gd name="connsiteX155" fmla="*/ 5783094 w 6955277"/>
              <a:gd name="connsiteY155" fmla="*/ 341577 h 1645083"/>
              <a:gd name="connsiteX156" fmla="*/ 5812277 w 6955277"/>
              <a:gd name="connsiteY156" fmla="*/ 326985 h 1645083"/>
              <a:gd name="connsiteX157" fmla="*/ 5841460 w 6955277"/>
              <a:gd name="connsiteY157" fmla="*/ 317257 h 1645083"/>
              <a:gd name="connsiteX158" fmla="*/ 5885234 w 6955277"/>
              <a:gd name="connsiteY158" fmla="*/ 307530 h 1645083"/>
              <a:gd name="connsiteX159" fmla="*/ 5899826 w 6955277"/>
              <a:gd name="connsiteY159" fmla="*/ 297802 h 1645083"/>
              <a:gd name="connsiteX160" fmla="*/ 5997102 w 6955277"/>
              <a:gd name="connsiteY160" fmla="*/ 288074 h 1645083"/>
              <a:gd name="connsiteX161" fmla="*/ 6040877 w 6955277"/>
              <a:gd name="connsiteY161" fmla="*/ 273483 h 1645083"/>
              <a:gd name="connsiteX162" fmla="*/ 6055468 w 6955277"/>
              <a:gd name="connsiteY162" fmla="*/ 263755 h 1645083"/>
              <a:gd name="connsiteX163" fmla="*/ 6079788 w 6955277"/>
              <a:gd name="connsiteY163" fmla="*/ 258892 h 1645083"/>
              <a:gd name="connsiteX164" fmla="*/ 6128426 w 6955277"/>
              <a:gd name="connsiteY164" fmla="*/ 254028 h 1645083"/>
              <a:gd name="connsiteX165" fmla="*/ 6167336 w 6955277"/>
              <a:gd name="connsiteY165" fmla="*/ 249164 h 1645083"/>
              <a:gd name="connsiteX166" fmla="*/ 6206247 w 6955277"/>
              <a:gd name="connsiteY166" fmla="*/ 239436 h 1645083"/>
              <a:gd name="connsiteX167" fmla="*/ 6220839 w 6955277"/>
              <a:gd name="connsiteY167" fmla="*/ 229709 h 1645083"/>
              <a:gd name="connsiteX168" fmla="*/ 6274341 w 6955277"/>
              <a:gd name="connsiteY168" fmla="*/ 224845 h 1645083"/>
              <a:gd name="connsiteX169" fmla="*/ 6395936 w 6955277"/>
              <a:gd name="connsiteY169" fmla="*/ 210253 h 1645083"/>
              <a:gd name="connsiteX170" fmla="*/ 6410528 w 6955277"/>
              <a:gd name="connsiteY170" fmla="*/ 181070 h 1645083"/>
              <a:gd name="connsiteX171" fmla="*/ 6439711 w 6955277"/>
              <a:gd name="connsiteY171" fmla="*/ 176206 h 1645083"/>
              <a:gd name="connsiteX172" fmla="*/ 6488349 w 6955277"/>
              <a:gd name="connsiteY172" fmla="*/ 171343 h 1645083"/>
              <a:gd name="connsiteX173" fmla="*/ 6507805 w 6955277"/>
              <a:gd name="connsiteY173" fmla="*/ 166479 h 1645083"/>
              <a:gd name="connsiteX174" fmla="*/ 6522396 w 6955277"/>
              <a:gd name="connsiteY174" fmla="*/ 161615 h 1645083"/>
              <a:gd name="connsiteX175" fmla="*/ 6561307 w 6955277"/>
              <a:gd name="connsiteY175" fmla="*/ 151887 h 1645083"/>
              <a:gd name="connsiteX176" fmla="*/ 6566171 w 6955277"/>
              <a:gd name="connsiteY176" fmla="*/ 137296 h 1645083"/>
              <a:gd name="connsiteX177" fmla="*/ 6580762 w 6955277"/>
              <a:gd name="connsiteY177" fmla="*/ 132432 h 1645083"/>
              <a:gd name="connsiteX178" fmla="*/ 6605081 w 6955277"/>
              <a:gd name="connsiteY178" fmla="*/ 127568 h 1645083"/>
              <a:gd name="connsiteX179" fmla="*/ 6639128 w 6955277"/>
              <a:gd name="connsiteY179" fmla="*/ 108113 h 1645083"/>
              <a:gd name="connsiteX180" fmla="*/ 6643992 w 6955277"/>
              <a:gd name="connsiteY180" fmla="*/ 88657 h 1645083"/>
              <a:gd name="connsiteX181" fmla="*/ 6780179 w 6955277"/>
              <a:gd name="connsiteY181" fmla="*/ 88657 h 1645083"/>
              <a:gd name="connsiteX182" fmla="*/ 6785043 w 6955277"/>
              <a:gd name="connsiteY182" fmla="*/ 54611 h 1645083"/>
              <a:gd name="connsiteX183" fmla="*/ 6809362 w 6955277"/>
              <a:gd name="connsiteY183" fmla="*/ 49747 h 1645083"/>
              <a:gd name="connsiteX184" fmla="*/ 6828817 w 6955277"/>
              <a:gd name="connsiteY184" fmla="*/ 44883 h 1645083"/>
              <a:gd name="connsiteX185" fmla="*/ 6955277 w 6955277"/>
              <a:gd name="connsiteY185" fmla="*/ 10836 h 1645083"/>
              <a:gd name="connsiteX0" fmla="*/ 0 w 6955277"/>
              <a:gd name="connsiteY0" fmla="*/ 1656350 h 1656350"/>
              <a:gd name="connsiteX1" fmla="*/ 48639 w 6955277"/>
              <a:gd name="connsiteY1" fmla="*/ 1646622 h 1656350"/>
              <a:gd name="connsiteX2" fmla="*/ 77822 w 6955277"/>
              <a:gd name="connsiteY2" fmla="*/ 1632031 h 1656350"/>
              <a:gd name="connsiteX3" fmla="*/ 141051 w 6955277"/>
              <a:gd name="connsiteY3" fmla="*/ 1627167 h 1656350"/>
              <a:gd name="connsiteX4" fmla="*/ 170234 w 6955277"/>
              <a:gd name="connsiteY4" fmla="*/ 1602848 h 1656350"/>
              <a:gd name="connsiteX5" fmla="*/ 184826 w 6955277"/>
              <a:gd name="connsiteY5" fmla="*/ 1593120 h 1656350"/>
              <a:gd name="connsiteX6" fmla="*/ 238328 w 6955277"/>
              <a:gd name="connsiteY6" fmla="*/ 1593120 h 1656350"/>
              <a:gd name="connsiteX7" fmla="*/ 252919 w 6955277"/>
              <a:gd name="connsiteY7" fmla="*/ 1583393 h 1656350"/>
              <a:gd name="connsiteX8" fmla="*/ 301558 w 6955277"/>
              <a:gd name="connsiteY8" fmla="*/ 1578529 h 1656350"/>
              <a:gd name="connsiteX9" fmla="*/ 321013 w 6955277"/>
              <a:gd name="connsiteY9" fmla="*/ 1568801 h 1656350"/>
              <a:gd name="connsiteX10" fmla="*/ 369651 w 6955277"/>
              <a:gd name="connsiteY10" fmla="*/ 1549346 h 1656350"/>
              <a:gd name="connsiteX11" fmla="*/ 418290 w 6955277"/>
              <a:gd name="connsiteY11" fmla="*/ 1549346 h 1656350"/>
              <a:gd name="connsiteX12" fmla="*/ 432881 w 6955277"/>
              <a:gd name="connsiteY12" fmla="*/ 1534754 h 1656350"/>
              <a:gd name="connsiteX13" fmla="*/ 447473 w 6955277"/>
              <a:gd name="connsiteY13" fmla="*/ 1529890 h 1656350"/>
              <a:gd name="connsiteX14" fmla="*/ 515566 w 6955277"/>
              <a:gd name="connsiteY14" fmla="*/ 1529890 h 1656350"/>
              <a:gd name="connsiteX15" fmla="*/ 520430 w 6955277"/>
              <a:gd name="connsiteY15" fmla="*/ 1510435 h 1656350"/>
              <a:gd name="connsiteX16" fmla="*/ 612843 w 6955277"/>
              <a:gd name="connsiteY16" fmla="*/ 1510435 h 1656350"/>
              <a:gd name="connsiteX17" fmla="*/ 617707 w 6955277"/>
              <a:gd name="connsiteY17" fmla="*/ 1495844 h 1656350"/>
              <a:gd name="connsiteX18" fmla="*/ 666345 w 6955277"/>
              <a:gd name="connsiteY18" fmla="*/ 1490980 h 1656350"/>
              <a:gd name="connsiteX19" fmla="*/ 695528 w 6955277"/>
              <a:gd name="connsiteY19" fmla="*/ 1495844 h 1656350"/>
              <a:gd name="connsiteX20" fmla="*/ 753894 w 6955277"/>
              <a:gd name="connsiteY20" fmla="*/ 1486116 h 1656350"/>
              <a:gd name="connsiteX21" fmla="*/ 787941 w 6955277"/>
              <a:gd name="connsiteY21" fmla="*/ 1481252 h 1656350"/>
              <a:gd name="connsiteX22" fmla="*/ 792805 w 6955277"/>
              <a:gd name="connsiteY22" fmla="*/ 1466661 h 1656350"/>
              <a:gd name="connsiteX23" fmla="*/ 836579 w 6955277"/>
              <a:gd name="connsiteY23" fmla="*/ 1461797 h 1656350"/>
              <a:gd name="connsiteX24" fmla="*/ 851171 w 6955277"/>
              <a:gd name="connsiteY24" fmla="*/ 1456933 h 1656350"/>
              <a:gd name="connsiteX25" fmla="*/ 875490 w 6955277"/>
              <a:gd name="connsiteY25" fmla="*/ 1452069 h 1656350"/>
              <a:gd name="connsiteX26" fmla="*/ 894945 w 6955277"/>
              <a:gd name="connsiteY26" fmla="*/ 1447205 h 1656350"/>
              <a:gd name="connsiteX27" fmla="*/ 924128 w 6955277"/>
              <a:gd name="connsiteY27" fmla="*/ 1437478 h 1656350"/>
              <a:gd name="connsiteX28" fmla="*/ 933856 w 6955277"/>
              <a:gd name="connsiteY28" fmla="*/ 1422886 h 1656350"/>
              <a:gd name="connsiteX29" fmla="*/ 982494 w 6955277"/>
              <a:gd name="connsiteY29" fmla="*/ 1418022 h 1656350"/>
              <a:gd name="connsiteX30" fmla="*/ 997085 w 6955277"/>
              <a:gd name="connsiteY30" fmla="*/ 1413159 h 1656350"/>
              <a:gd name="connsiteX31" fmla="*/ 1011677 w 6955277"/>
              <a:gd name="connsiteY31" fmla="*/ 1403431 h 1656350"/>
              <a:gd name="connsiteX32" fmla="*/ 1118681 w 6955277"/>
              <a:gd name="connsiteY32" fmla="*/ 1398567 h 1656350"/>
              <a:gd name="connsiteX33" fmla="*/ 1147864 w 6955277"/>
              <a:gd name="connsiteY33" fmla="*/ 1388839 h 1656350"/>
              <a:gd name="connsiteX34" fmla="*/ 1240277 w 6955277"/>
              <a:gd name="connsiteY34" fmla="*/ 1374248 h 1656350"/>
              <a:gd name="connsiteX35" fmla="*/ 1269460 w 6955277"/>
              <a:gd name="connsiteY35" fmla="*/ 1364520 h 1656350"/>
              <a:gd name="connsiteX36" fmla="*/ 1303507 w 6955277"/>
              <a:gd name="connsiteY36" fmla="*/ 1354793 h 1656350"/>
              <a:gd name="connsiteX37" fmla="*/ 1332690 w 6955277"/>
              <a:gd name="connsiteY37" fmla="*/ 1340201 h 1656350"/>
              <a:gd name="connsiteX38" fmla="*/ 1400783 w 6955277"/>
              <a:gd name="connsiteY38" fmla="*/ 1330473 h 1656350"/>
              <a:gd name="connsiteX39" fmla="*/ 1429966 w 6955277"/>
              <a:gd name="connsiteY39" fmla="*/ 1320746 h 1656350"/>
              <a:gd name="connsiteX40" fmla="*/ 1444558 w 6955277"/>
              <a:gd name="connsiteY40" fmla="*/ 1315882 h 1656350"/>
              <a:gd name="connsiteX41" fmla="*/ 1532107 w 6955277"/>
              <a:gd name="connsiteY41" fmla="*/ 1301290 h 1656350"/>
              <a:gd name="connsiteX42" fmla="*/ 1561290 w 6955277"/>
              <a:gd name="connsiteY42" fmla="*/ 1291563 h 1656350"/>
              <a:gd name="connsiteX43" fmla="*/ 1600200 w 6955277"/>
              <a:gd name="connsiteY43" fmla="*/ 1286699 h 1656350"/>
              <a:gd name="connsiteX44" fmla="*/ 1634247 w 6955277"/>
              <a:gd name="connsiteY44" fmla="*/ 1281835 h 1656350"/>
              <a:gd name="connsiteX45" fmla="*/ 1697477 w 6955277"/>
              <a:gd name="connsiteY45" fmla="*/ 1272107 h 1656350"/>
              <a:gd name="connsiteX46" fmla="*/ 1712068 w 6955277"/>
              <a:gd name="connsiteY46" fmla="*/ 1262380 h 1656350"/>
              <a:gd name="connsiteX47" fmla="*/ 1736388 w 6955277"/>
              <a:gd name="connsiteY47" fmla="*/ 1257516 h 1656350"/>
              <a:gd name="connsiteX48" fmla="*/ 1823936 w 6955277"/>
              <a:gd name="connsiteY48" fmla="*/ 1252652 h 1656350"/>
              <a:gd name="connsiteX49" fmla="*/ 1828800 w 6955277"/>
              <a:gd name="connsiteY49" fmla="*/ 1228333 h 1656350"/>
              <a:gd name="connsiteX50" fmla="*/ 1843392 w 6955277"/>
              <a:gd name="connsiteY50" fmla="*/ 1223469 h 1656350"/>
              <a:gd name="connsiteX51" fmla="*/ 1867711 w 6955277"/>
              <a:gd name="connsiteY51" fmla="*/ 1218605 h 1656350"/>
              <a:gd name="connsiteX52" fmla="*/ 1945532 w 6955277"/>
              <a:gd name="connsiteY52" fmla="*/ 1213741 h 1656350"/>
              <a:gd name="connsiteX53" fmla="*/ 2033081 w 6955277"/>
              <a:gd name="connsiteY53" fmla="*/ 1208878 h 1656350"/>
              <a:gd name="connsiteX54" fmla="*/ 2091447 w 6955277"/>
              <a:gd name="connsiteY54" fmla="*/ 1189422 h 1656350"/>
              <a:gd name="connsiteX55" fmla="*/ 2106039 w 6955277"/>
              <a:gd name="connsiteY55" fmla="*/ 1179695 h 1656350"/>
              <a:gd name="connsiteX56" fmla="*/ 2140085 w 6955277"/>
              <a:gd name="connsiteY56" fmla="*/ 1174831 h 1656350"/>
              <a:gd name="connsiteX57" fmla="*/ 2188724 w 6955277"/>
              <a:gd name="connsiteY57" fmla="*/ 1160239 h 1656350"/>
              <a:gd name="connsiteX58" fmla="*/ 2222771 w 6955277"/>
              <a:gd name="connsiteY58" fmla="*/ 1155376 h 1656350"/>
              <a:gd name="connsiteX59" fmla="*/ 2237362 w 6955277"/>
              <a:gd name="connsiteY59" fmla="*/ 1150512 h 1656350"/>
              <a:gd name="connsiteX60" fmla="*/ 2305456 w 6955277"/>
              <a:gd name="connsiteY60" fmla="*/ 1140784 h 1656350"/>
              <a:gd name="connsiteX61" fmla="*/ 2349230 w 6955277"/>
              <a:gd name="connsiteY61" fmla="*/ 1131056 h 1656350"/>
              <a:gd name="connsiteX62" fmla="*/ 2363822 w 6955277"/>
              <a:gd name="connsiteY62" fmla="*/ 1126193 h 1656350"/>
              <a:gd name="connsiteX63" fmla="*/ 2431915 w 6955277"/>
              <a:gd name="connsiteY63" fmla="*/ 1116465 h 1656350"/>
              <a:gd name="connsiteX64" fmla="*/ 2436779 w 6955277"/>
              <a:gd name="connsiteY64" fmla="*/ 1101873 h 1656350"/>
              <a:gd name="connsiteX65" fmla="*/ 2465962 w 6955277"/>
              <a:gd name="connsiteY65" fmla="*/ 1092146 h 1656350"/>
              <a:gd name="connsiteX66" fmla="*/ 2572966 w 6955277"/>
              <a:gd name="connsiteY66" fmla="*/ 1092146 h 1656350"/>
              <a:gd name="connsiteX67" fmla="*/ 2587558 w 6955277"/>
              <a:gd name="connsiteY67" fmla="*/ 1082418 h 1656350"/>
              <a:gd name="connsiteX68" fmla="*/ 2602149 w 6955277"/>
              <a:gd name="connsiteY68" fmla="*/ 1077554 h 1656350"/>
              <a:gd name="connsiteX69" fmla="*/ 2616741 w 6955277"/>
              <a:gd name="connsiteY69" fmla="*/ 1067827 h 1656350"/>
              <a:gd name="connsiteX70" fmla="*/ 2645924 w 6955277"/>
              <a:gd name="connsiteY70" fmla="*/ 1062963 h 1656350"/>
              <a:gd name="connsiteX71" fmla="*/ 2704290 w 6955277"/>
              <a:gd name="connsiteY71" fmla="*/ 1043507 h 1656350"/>
              <a:gd name="connsiteX72" fmla="*/ 2718881 w 6955277"/>
              <a:gd name="connsiteY72" fmla="*/ 1038644 h 1656350"/>
              <a:gd name="connsiteX73" fmla="*/ 2733473 w 6955277"/>
              <a:gd name="connsiteY73" fmla="*/ 1033780 h 1656350"/>
              <a:gd name="connsiteX74" fmla="*/ 2752928 w 6955277"/>
              <a:gd name="connsiteY74" fmla="*/ 1028916 h 1656350"/>
              <a:gd name="connsiteX75" fmla="*/ 2777247 w 6955277"/>
              <a:gd name="connsiteY75" fmla="*/ 1024052 h 1656350"/>
              <a:gd name="connsiteX76" fmla="*/ 2830749 w 6955277"/>
              <a:gd name="connsiteY76" fmla="*/ 1019188 h 1656350"/>
              <a:gd name="connsiteX77" fmla="*/ 2864796 w 6955277"/>
              <a:gd name="connsiteY77" fmla="*/ 1014324 h 1656350"/>
              <a:gd name="connsiteX78" fmla="*/ 2879388 w 6955277"/>
              <a:gd name="connsiteY78" fmla="*/ 1009461 h 1656350"/>
              <a:gd name="connsiteX79" fmla="*/ 2898843 w 6955277"/>
              <a:gd name="connsiteY79" fmla="*/ 1004597 h 1656350"/>
              <a:gd name="connsiteX80" fmla="*/ 2913434 w 6955277"/>
              <a:gd name="connsiteY80" fmla="*/ 994869 h 1656350"/>
              <a:gd name="connsiteX81" fmla="*/ 2981528 w 6955277"/>
              <a:gd name="connsiteY81" fmla="*/ 985141 h 1656350"/>
              <a:gd name="connsiteX82" fmla="*/ 2986392 w 6955277"/>
              <a:gd name="connsiteY82" fmla="*/ 970550 h 1656350"/>
              <a:gd name="connsiteX83" fmla="*/ 3059349 w 6955277"/>
              <a:gd name="connsiteY83" fmla="*/ 965686 h 1656350"/>
              <a:gd name="connsiteX84" fmla="*/ 3107988 w 6955277"/>
              <a:gd name="connsiteY84" fmla="*/ 960822 h 1656350"/>
              <a:gd name="connsiteX85" fmla="*/ 3185809 w 6955277"/>
              <a:gd name="connsiteY85" fmla="*/ 951095 h 1656350"/>
              <a:gd name="connsiteX86" fmla="*/ 3229583 w 6955277"/>
              <a:gd name="connsiteY86" fmla="*/ 946231 h 1656350"/>
              <a:gd name="connsiteX87" fmla="*/ 3263630 w 6955277"/>
              <a:gd name="connsiteY87" fmla="*/ 936503 h 1656350"/>
              <a:gd name="connsiteX88" fmla="*/ 3302541 w 6955277"/>
              <a:gd name="connsiteY88" fmla="*/ 931639 h 1656350"/>
              <a:gd name="connsiteX89" fmla="*/ 3317132 w 6955277"/>
              <a:gd name="connsiteY89" fmla="*/ 926776 h 1656350"/>
              <a:gd name="connsiteX90" fmla="*/ 3321996 w 6955277"/>
              <a:gd name="connsiteY90" fmla="*/ 912184 h 1656350"/>
              <a:gd name="connsiteX91" fmla="*/ 3433864 w 6955277"/>
              <a:gd name="connsiteY91" fmla="*/ 907320 h 1656350"/>
              <a:gd name="connsiteX92" fmla="*/ 3438728 w 6955277"/>
              <a:gd name="connsiteY92" fmla="*/ 892729 h 1656350"/>
              <a:gd name="connsiteX93" fmla="*/ 3453319 w 6955277"/>
              <a:gd name="connsiteY93" fmla="*/ 883001 h 1656350"/>
              <a:gd name="connsiteX94" fmla="*/ 3540868 w 6955277"/>
              <a:gd name="connsiteY94" fmla="*/ 878137 h 1656350"/>
              <a:gd name="connsiteX95" fmla="*/ 3560324 w 6955277"/>
              <a:gd name="connsiteY95" fmla="*/ 873273 h 1656350"/>
              <a:gd name="connsiteX96" fmla="*/ 3589507 w 6955277"/>
              <a:gd name="connsiteY96" fmla="*/ 863546 h 1656350"/>
              <a:gd name="connsiteX97" fmla="*/ 3618690 w 6955277"/>
              <a:gd name="connsiteY97" fmla="*/ 858682 h 1656350"/>
              <a:gd name="connsiteX98" fmla="*/ 3715966 w 6955277"/>
              <a:gd name="connsiteY98" fmla="*/ 844090 h 1656350"/>
              <a:gd name="connsiteX99" fmla="*/ 3745149 w 6955277"/>
              <a:gd name="connsiteY99" fmla="*/ 834363 h 1656350"/>
              <a:gd name="connsiteX100" fmla="*/ 3750013 w 6955277"/>
              <a:gd name="connsiteY100" fmla="*/ 819771 h 1656350"/>
              <a:gd name="connsiteX101" fmla="*/ 3764605 w 6955277"/>
              <a:gd name="connsiteY101" fmla="*/ 814907 h 1656350"/>
              <a:gd name="connsiteX102" fmla="*/ 3798651 w 6955277"/>
              <a:gd name="connsiteY102" fmla="*/ 810044 h 1656350"/>
              <a:gd name="connsiteX103" fmla="*/ 3822971 w 6955277"/>
              <a:gd name="connsiteY103" fmla="*/ 805180 h 1656350"/>
              <a:gd name="connsiteX104" fmla="*/ 3852154 w 6955277"/>
              <a:gd name="connsiteY104" fmla="*/ 795452 h 1656350"/>
              <a:gd name="connsiteX105" fmla="*/ 3915383 w 6955277"/>
              <a:gd name="connsiteY105" fmla="*/ 790588 h 1656350"/>
              <a:gd name="connsiteX106" fmla="*/ 3959158 w 6955277"/>
              <a:gd name="connsiteY106" fmla="*/ 785724 h 1656350"/>
              <a:gd name="connsiteX107" fmla="*/ 3964022 w 6955277"/>
              <a:gd name="connsiteY107" fmla="*/ 771133 h 1656350"/>
              <a:gd name="connsiteX108" fmla="*/ 3993205 w 6955277"/>
              <a:gd name="connsiteY108" fmla="*/ 761405 h 1656350"/>
              <a:gd name="connsiteX109" fmla="*/ 4017524 w 6955277"/>
              <a:gd name="connsiteY109" fmla="*/ 756541 h 1656350"/>
              <a:gd name="connsiteX110" fmla="*/ 4036979 w 6955277"/>
              <a:gd name="connsiteY110" fmla="*/ 751678 h 1656350"/>
              <a:gd name="connsiteX111" fmla="*/ 4075890 w 6955277"/>
              <a:gd name="connsiteY111" fmla="*/ 746814 h 1656350"/>
              <a:gd name="connsiteX112" fmla="*/ 4095345 w 6955277"/>
              <a:gd name="connsiteY112" fmla="*/ 741950 h 1656350"/>
              <a:gd name="connsiteX113" fmla="*/ 4158575 w 6955277"/>
              <a:gd name="connsiteY113" fmla="*/ 727359 h 1656350"/>
              <a:gd name="connsiteX114" fmla="*/ 4173166 w 6955277"/>
              <a:gd name="connsiteY114" fmla="*/ 722495 h 1656350"/>
              <a:gd name="connsiteX115" fmla="*/ 4187758 w 6955277"/>
              <a:gd name="connsiteY115" fmla="*/ 712767 h 1656350"/>
              <a:gd name="connsiteX116" fmla="*/ 4265579 w 6955277"/>
              <a:gd name="connsiteY116" fmla="*/ 707903 h 1656350"/>
              <a:gd name="connsiteX117" fmla="*/ 4275307 w 6955277"/>
              <a:gd name="connsiteY117" fmla="*/ 693312 h 1656350"/>
              <a:gd name="connsiteX118" fmla="*/ 4421222 w 6955277"/>
              <a:gd name="connsiteY118" fmla="*/ 678720 h 1656350"/>
              <a:gd name="connsiteX119" fmla="*/ 4440677 w 6955277"/>
              <a:gd name="connsiteY119" fmla="*/ 668993 h 1656350"/>
              <a:gd name="connsiteX120" fmla="*/ 4557409 w 6955277"/>
              <a:gd name="connsiteY120" fmla="*/ 659265 h 1656350"/>
              <a:gd name="connsiteX121" fmla="*/ 4567136 w 6955277"/>
              <a:gd name="connsiteY121" fmla="*/ 644673 h 1656350"/>
              <a:gd name="connsiteX122" fmla="*/ 4581728 w 6955277"/>
              <a:gd name="connsiteY122" fmla="*/ 639810 h 1656350"/>
              <a:gd name="connsiteX123" fmla="*/ 4635230 w 6955277"/>
              <a:gd name="connsiteY123" fmla="*/ 634946 h 1656350"/>
              <a:gd name="connsiteX124" fmla="*/ 4669277 w 6955277"/>
              <a:gd name="connsiteY124" fmla="*/ 630082 h 1656350"/>
              <a:gd name="connsiteX125" fmla="*/ 4703324 w 6955277"/>
              <a:gd name="connsiteY125" fmla="*/ 610627 h 1656350"/>
              <a:gd name="connsiteX126" fmla="*/ 4732507 w 6955277"/>
              <a:gd name="connsiteY126" fmla="*/ 605763 h 1656350"/>
              <a:gd name="connsiteX127" fmla="*/ 4790873 w 6955277"/>
              <a:gd name="connsiteY127" fmla="*/ 591171 h 1656350"/>
              <a:gd name="connsiteX128" fmla="*/ 4844375 w 6955277"/>
              <a:gd name="connsiteY128" fmla="*/ 581444 h 1656350"/>
              <a:gd name="connsiteX129" fmla="*/ 4917332 w 6955277"/>
              <a:gd name="connsiteY129" fmla="*/ 571716 h 1656350"/>
              <a:gd name="connsiteX130" fmla="*/ 4990290 w 6955277"/>
              <a:gd name="connsiteY130" fmla="*/ 552261 h 1656350"/>
              <a:gd name="connsiteX131" fmla="*/ 5009745 w 6955277"/>
              <a:gd name="connsiteY131" fmla="*/ 523078 h 1656350"/>
              <a:gd name="connsiteX132" fmla="*/ 5024336 w 6955277"/>
              <a:gd name="connsiteY132" fmla="*/ 513350 h 1656350"/>
              <a:gd name="connsiteX133" fmla="*/ 5058383 w 6955277"/>
              <a:gd name="connsiteY133" fmla="*/ 503622 h 1656350"/>
              <a:gd name="connsiteX134" fmla="*/ 5072975 w 6955277"/>
              <a:gd name="connsiteY134" fmla="*/ 498759 h 1656350"/>
              <a:gd name="connsiteX135" fmla="*/ 5087566 w 6955277"/>
              <a:gd name="connsiteY135" fmla="*/ 489031 h 1656350"/>
              <a:gd name="connsiteX136" fmla="*/ 5136205 w 6955277"/>
              <a:gd name="connsiteY136" fmla="*/ 474439 h 1656350"/>
              <a:gd name="connsiteX137" fmla="*/ 5150796 w 6955277"/>
              <a:gd name="connsiteY137" fmla="*/ 469576 h 1656350"/>
              <a:gd name="connsiteX138" fmla="*/ 5179979 w 6955277"/>
              <a:gd name="connsiteY138" fmla="*/ 464712 h 1656350"/>
              <a:gd name="connsiteX139" fmla="*/ 5194571 w 6955277"/>
              <a:gd name="connsiteY139" fmla="*/ 459848 h 1656350"/>
              <a:gd name="connsiteX140" fmla="*/ 5267528 w 6955277"/>
              <a:gd name="connsiteY140" fmla="*/ 454984 h 1656350"/>
              <a:gd name="connsiteX141" fmla="*/ 5301575 w 6955277"/>
              <a:gd name="connsiteY141" fmla="*/ 450120 h 1656350"/>
              <a:gd name="connsiteX142" fmla="*/ 5321030 w 6955277"/>
              <a:gd name="connsiteY142" fmla="*/ 445256 h 1656350"/>
              <a:gd name="connsiteX143" fmla="*/ 5369668 w 6955277"/>
              <a:gd name="connsiteY143" fmla="*/ 440393 h 1656350"/>
              <a:gd name="connsiteX144" fmla="*/ 5437762 w 6955277"/>
              <a:gd name="connsiteY144" fmla="*/ 430665 h 1656350"/>
              <a:gd name="connsiteX145" fmla="*/ 5466945 w 6955277"/>
              <a:gd name="connsiteY145" fmla="*/ 425801 h 1656350"/>
              <a:gd name="connsiteX146" fmla="*/ 5500992 w 6955277"/>
              <a:gd name="connsiteY146" fmla="*/ 416073 h 1656350"/>
              <a:gd name="connsiteX147" fmla="*/ 5515583 w 6955277"/>
              <a:gd name="connsiteY147" fmla="*/ 411210 h 1656350"/>
              <a:gd name="connsiteX148" fmla="*/ 5554494 w 6955277"/>
              <a:gd name="connsiteY148" fmla="*/ 401482 h 1656350"/>
              <a:gd name="connsiteX149" fmla="*/ 5612860 w 6955277"/>
              <a:gd name="connsiteY149" fmla="*/ 396618 h 1656350"/>
              <a:gd name="connsiteX150" fmla="*/ 5666362 w 6955277"/>
              <a:gd name="connsiteY150" fmla="*/ 391754 h 1656350"/>
              <a:gd name="connsiteX151" fmla="*/ 5685817 w 6955277"/>
              <a:gd name="connsiteY151" fmla="*/ 382027 h 1656350"/>
              <a:gd name="connsiteX152" fmla="*/ 5724728 w 6955277"/>
              <a:gd name="connsiteY152" fmla="*/ 377163 h 1656350"/>
              <a:gd name="connsiteX153" fmla="*/ 5729592 w 6955277"/>
              <a:gd name="connsiteY153" fmla="*/ 362571 h 1656350"/>
              <a:gd name="connsiteX154" fmla="*/ 5744183 w 6955277"/>
              <a:gd name="connsiteY154" fmla="*/ 357707 h 1656350"/>
              <a:gd name="connsiteX155" fmla="*/ 5783094 w 6955277"/>
              <a:gd name="connsiteY155" fmla="*/ 352844 h 1656350"/>
              <a:gd name="connsiteX156" fmla="*/ 5812277 w 6955277"/>
              <a:gd name="connsiteY156" fmla="*/ 338252 h 1656350"/>
              <a:gd name="connsiteX157" fmla="*/ 5841460 w 6955277"/>
              <a:gd name="connsiteY157" fmla="*/ 328524 h 1656350"/>
              <a:gd name="connsiteX158" fmla="*/ 5885234 w 6955277"/>
              <a:gd name="connsiteY158" fmla="*/ 318797 h 1656350"/>
              <a:gd name="connsiteX159" fmla="*/ 5899826 w 6955277"/>
              <a:gd name="connsiteY159" fmla="*/ 309069 h 1656350"/>
              <a:gd name="connsiteX160" fmla="*/ 5997102 w 6955277"/>
              <a:gd name="connsiteY160" fmla="*/ 299341 h 1656350"/>
              <a:gd name="connsiteX161" fmla="*/ 6040877 w 6955277"/>
              <a:gd name="connsiteY161" fmla="*/ 284750 h 1656350"/>
              <a:gd name="connsiteX162" fmla="*/ 6055468 w 6955277"/>
              <a:gd name="connsiteY162" fmla="*/ 275022 h 1656350"/>
              <a:gd name="connsiteX163" fmla="*/ 6079788 w 6955277"/>
              <a:gd name="connsiteY163" fmla="*/ 270159 h 1656350"/>
              <a:gd name="connsiteX164" fmla="*/ 6128426 w 6955277"/>
              <a:gd name="connsiteY164" fmla="*/ 265295 h 1656350"/>
              <a:gd name="connsiteX165" fmla="*/ 6167336 w 6955277"/>
              <a:gd name="connsiteY165" fmla="*/ 260431 h 1656350"/>
              <a:gd name="connsiteX166" fmla="*/ 6206247 w 6955277"/>
              <a:gd name="connsiteY166" fmla="*/ 250703 h 1656350"/>
              <a:gd name="connsiteX167" fmla="*/ 6220839 w 6955277"/>
              <a:gd name="connsiteY167" fmla="*/ 240976 h 1656350"/>
              <a:gd name="connsiteX168" fmla="*/ 6274341 w 6955277"/>
              <a:gd name="connsiteY168" fmla="*/ 236112 h 1656350"/>
              <a:gd name="connsiteX169" fmla="*/ 6395936 w 6955277"/>
              <a:gd name="connsiteY169" fmla="*/ 221520 h 1656350"/>
              <a:gd name="connsiteX170" fmla="*/ 6410528 w 6955277"/>
              <a:gd name="connsiteY170" fmla="*/ 192337 h 1656350"/>
              <a:gd name="connsiteX171" fmla="*/ 6439711 w 6955277"/>
              <a:gd name="connsiteY171" fmla="*/ 187473 h 1656350"/>
              <a:gd name="connsiteX172" fmla="*/ 6488349 w 6955277"/>
              <a:gd name="connsiteY172" fmla="*/ 182610 h 1656350"/>
              <a:gd name="connsiteX173" fmla="*/ 6507805 w 6955277"/>
              <a:gd name="connsiteY173" fmla="*/ 177746 h 1656350"/>
              <a:gd name="connsiteX174" fmla="*/ 6522396 w 6955277"/>
              <a:gd name="connsiteY174" fmla="*/ 172882 h 1656350"/>
              <a:gd name="connsiteX175" fmla="*/ 6561307 w 6955277"/>
              <a:gd name="connsiteY175" fmla="*/ 163154 h 1656350"/>
              <a:gd name="connsiteX176" fmla="*/ 6566171 w 6955277"/>
              <a:gd name="connsiteY176" fmla="*/ 148563 h 1656350"/>
              <a:gd name="connsiteX177" fmla="*/ 6580762 w 6955277"/>
              <a:gd name="connsiteY177" fmla="*/ 143699 h 1656350"/>
              <a:gd name="connsiteX178" fmla="*/ 6605081 w 6955277"/>
              <a:gd name="connsiteY178" fmla="*/ 138835 h 1656350"/>
              <a:gd name="connsiteX179" fmla="*/ 6639128 w 6955277"/>
              <a:gd name="connsiteY179" fmla="*/ 119380 h 1656350"/>
              <a:gd name="connsiteX180" fmla="*/ 6643992 w 6955277"/>
              <a:gd name="connsiteY180" fmla="*/ 99924 h 1656350"/>
              <a:gd name="connsiteX181" fmla="*/ 6780179 w 6955277"/>
              <a:gd name="connsiteY181" fmla="*/ 99924 h 1656350"/>
              <a:gd name="connsiteX182" fmla="*/ 6785043 w 6955277"/>
              <a:gd name="connsiteY182" fmla="*/ 65878 h 1656350"/>
              <a:gd name="connsiteX183" fmla="*/ 6809362 w 6955277"/>
              <a:gd name="connsiteY183" fmla="*/ 61014 h 1656350"/>
              <a:gd name="connsiteX184" fmla="*/ 6828817 w 6955277"/>
              <a:gd name="connsiteY184" fmla="*/ 56150 h 1656350"/>
              <a:gd name="connsiteX185" fmla="*/ 6955277 w 6955277"/>
              <a:gd name="connsiteY185" fmla="*/ 2647 h 1656350"/>
              <a:gd name="connsiteX0" fmla="*/ 0 w 6955277"/>
              <a:gd name="connsiteY0" fmla="*/ 1656350 h 1656350"/>
              <a:gd name="connsiteX1" fmla="*/ 48639 w 6955277"/>
              <a:gd name="connsiteY1" fmla="*/ 1646622 h 1656350"/>
              <a:gd name="connsiteX2" fmla="*/ 77822 w 6955277"/>
              <a:gd name="connsiteY2" fmla="*/ 1632031 h 1656350"/>
              <a:gd name="connsiteX3" fmla="*/ 141051 w 6955277"/>
              <a:gd name="connsiteY3" fmla="*/ 1627167 h 1656350"/>
              <a:gd name="connsiteX4" fmla="*/ 170234 w 6955277"/>
              <a:gd name="connsiteY4" fmla="*/ 1602848 h 1656350"/>
              <a:gd name="connsiteX5" fmla="*/ 184826 w 6955277"/>
              <a:gd name="connsiteY5" fmla="*/ 1593120 h 1656350"/>
              <a:gd name="connsiteX6" fmla="*/ 238328 w 6955277"/>
              <a:gd name="connsiteY6" fmla="*/ 1593120 h 1656350"/>
              <a:gd name="connsiteX7" fmla="*/ 252919 w 6955277"/>
              <a:gd name="connsiteY7" fmla="*/ 1583393 h 1656350"/>
              <a:gd name="connsiteX8" fmla="*/ 301558 w 6955277"/>
              <a:gd name="connsiteY8" fmla="*/ 1578529 h 1656350"/>
              <a:gd name="connsiteX9" fmla="*/ 321013 w 6955277"/>
              <a:gd name="connsiteY9" fmla="*/ 1568801 h 1656350"/>
              <a:gd name="connsiteX10" fmla="*/ 369651 w 6955277"/>
              <a:gd name="connsiteY10" fmla="*/ 1549346 h 1656350"/>
              <a:gd name="connsiteX11" fmla="*/ 418290 w 6955277"/>
              <a:gd name="connsiteY11" fmla="*/ 1549346 h 1656350"/>
              <a:gd name="connsiteX12" fmla="*/ 432881 w 6955277"/>
              <a:gd name="connsiteY12" fmla="*/ 1534754 h 1656350"/>
              <a:gd name="connsiteX13" fmla="*/ 447473 w 6955277"/>
              <a:gd name="connsiteY13" fmla="*/ 1529890 h 1656350"/>
              <a:gd name="connsiteX14" fmla="*/ 515566 w 6955277"/>
              <a:gd name="connsiteY14" fmla="*/ 1529890 h 1656350"/>
              <a:gd name="connsiteX15" fmla="*/ 520430 w 6955277"/>
              <a:gd name="connsiteY15" fmla="*/ 1510435 h 1656350"/>
              <a:gd name="connsiteX16" fmla="*/ 612843 w 6955277"/>
              <a:gd name="connsiteY16" fmla="*/ 1510435 h 1656350"/>
              <a:gd name="connsiteX17" fmla="*/ 617707 w 6955277"/>
              <a:gd name="connsiteY17" fmla="*/ 1495844 h 1656350"/>
              <a:gd name="connsiteX18" fmla="*/ 666345 w 6955277"/>
              <a:gd name="connsiteY18" fmla="*/ 1490980 h 1656350"/>
              <a:gd name="connsiteX19" fmla="*/ 695528 w 6955277"/>
              <a:gd name="connsiteY19" fmla="*/ 1495844 h 1656350"/>
              <a:gd name="connsiteX20" fmla="*/ 753894 w 6955277"/>
              <a:gd name="connsiteY20" fmla="*/ 1486116 h 1656350"/>
              <a:gd name="connsiteX21" fmla="*/ 787941 w 6955277"/>
              <a:gd name="connsiteY21" fmla="*/ 1481252 h 1656350"/>
              <a:gd name="connsiteX22" fmla="*/ 792805 w 6955277"/>
              <a:gd name="connsiteY22" fmla="*/ 1466661 h 1656350"/>
              <a:gd name="connsiteX23" fmla="*/ 836579 w 6955277"/>
              <a:gd name="connsiteY23" fmla="*/ 1461797 h 1656350"/>
              <a:gd name="connsiteX24" fmla="*/ 851171 w 6955277"/>
              <a:gd name="connsiteY24" fmla="*/ 1456933 h 1656350"/>
              <a:gd name="connsiteX25" fmla="*/ 875490 w 6955277"/>
              <a:gd name="connsiteY25" fmla="*/ 1452069 h 1656350"/>
              <a:gd name="connsiteX26" fmla="*/ 894945 w 6955277"/>
              <a:gd name="connsiteY26" fmla="*/ 1447205 h 1656350"/>
              <a:gd name="connsiteX27" fmla="*/ 924128 w 6955277"/>
              <a:gd name="connsiteY27" fmla="*/ 1437478 h 1656350"/>
              <a:gd name="connsiteX28" fmla="*/ 933856 w 6955277"/>
              <a:gd name="connsiteY28" fmla="*/ 1422886 h 1656350"/>
              <a:gd name="connsiteX29" fmla="*/ 982494 w 6955277"/>
              <a:gd name="connsiteY29" fmla="*/ 1418022 h 1656350"/>
              <a:gd name="connsiteX30" fmla="*/ 997085 w 6955277"/>
              <a:gd name="connsiteY30" fmla="*/ 1413159 h 1656350"/>
              <a:gd name="connsiteX31" fmla="*/ 1011677 w 6955277"/>
              <a:gd name="connsiteY31" fmla="*/ 1403431 h 1656350"/>
              <a:gd name="connsiteX32" fmla="*/ 1118681 w 6955277"/>
              <a:gd name="connsiteY32" fmla="*/ 1398567 h 1656350"/>
              <a:gd name="connsiteX33" fmla="*/ 1147864 w 6955277"/>
              <a:gd name="connsiteY33" fmla="*/ 1388839 h 1656350"/>
              <a:gd name="connsiteX34" fmla="*/ 1240277 w 6955277"/>
              <a:gd name="connsiteY34" fmla="*/ 1374248 h 1656350"/>
              <a:gd name="connsiteX35" fmla="*/ 1269460 w 6955277"/>
              <a:gd name="connsiteY35" fmla="*/ 1364520 h 1656350"/>
              <a:gd name="connsiteX36" fmla="*/ 1303507 w 6955277"/>
              <a:gd name="connsiteY36" fmla="*/ 1354793 h 1656350"/>
              <a:gd name="connsiteX37" fmla="*/ 1332690 w 6955277"/>
              <a:gd name="connsiteY37" fmla="*/ 1340201 h 1656350"/>
              <a:gd name="connsiteX38" fmla="*/ 1400783 w 6955277"/>
              <a:gd name="connsiteY38" fmla="*/ 1330473 h 1656350"/>
              <a:gd name="connsiteX39" fmla="*/ 1429966 w 6955277"/>
              <a:gd name="connsiteY39" fmla="*/ 1320746 h 1656350"/>
              <a:gd name="connsiteX40" fmla="*/ 1444558 w 6955277"/>
              <a:gd name="connsiteY40" fmla="*/ 1315882 h 1656350"/>
              <a:gd name="connsiteX41" fmla="*/ 1532107 w 6955277"/>
              <a:gd name="connsiteY41" fmla="*/ 1301290 h 1656350"/>
              <a:gd name="connsiteX42" fmla="*/ 1561290 w 6955277"/>
              <a:gd name="connsiteY42" fmla="*/ 1291563 h 1656350"/>
              <a:gd name="connsiteX43" fmla="*/ 1600200 w 6955277"/>
              <a:gd name="connsiteY43" fmla="*/ 1286699 h 1656350"/>
              <a:gd name="connsiteX44" fmla="*/ 1634247 w 6955277"/>
              <a:gd name="connsiteY44" fmla="*/ 1281835 h 1656350"/>
              <a:gd name="connsiteX45" fmla="*/ 1697477 w 6955277"/>
              <a:gd name="connsiteY45" fmla="*/ 1272107 h 1656350"/>
              <a:gd name="connsiteX46" fmla="*/ 1712068 w 6955277"/>
              <a:gd name="connsiteY46" fmla="*/ 1262380 h 1656350"/>
              <a:gd name="connsiteX47" fmla="*/ 1736388 w 6955277"/>
              <a:gd name="connsiteY47" fmla="*/ 1257516 h 1656350"/>
              <a:gd name="connsiteX48" fmla="*/ 1823936 w 6955277"/>
              <a:gd name="connsiteY48" fmla="*/ 1252652 h 1656350"/>
              <a:gd name="connsiteX49" fmla="*/ 1828800 w 6955277"/>
              <a:gd name="connsiteY49" fmla="*/ 1228333 h 1656350"/>
              <a:gd name="connsiteX50" fmla="*/ 1843392 w 6955277"/>
              <a:gd name="connsiteY50" fmla="*/ 1223469 h 1656350"/>
              <a:gd name="connsiteX51" fmla="*/ 1867711 w 6955277"/>
              <a:gd name="connsiteY51" fmla="*/ 1218605 h 1656350"/>
              <a:gd name="connsiteX52" fmla="*/ 1945532 w 6955277"/>
              <a:gd name="connsiteY52" fmla="*/ 1213741 h 1656350"/>
              <a:gd name="connsiteX53" fmla="*/ 2033081 w 6955277"/>
              <a:gd name="connsiteY53" fmla="*/ 1208878 h 1656350"/>
              <a:gd name="connsiteX54" fmla="*/ 2091447 w 6955277"/>
              <a:gd name="connsiteY54" fmla="*/ 1189422 h 1656350"/>
              <a:gd name="connsiteX55" fmla="*/ 2106039 w 6955277"/>
              <a:gd name="connsiteY55" fmla="*/ 1179695 h 1656350"/>
              <a:gd name="connsiteX56" fmla="*/ 2140085 w 6955277"/>
              <a:gd name="connsiteY56" fmla="*/ 1174831 h 1656350"/>
              <a:gd name="connsiteX57" fmla="*/ 2188724 w 6955277"/>
              <a:gd name="connsiteY57" fmla="*/ 1160239 h 1656350"/>
              <a:gd name="connsiteX58" fmla="*/ 2222771 w 6955277"/>
              <a:gd name="connsiteY58" fmla="*/ 1155376 h 1656350"/>
              <a:gd name="connsiteX59" fmla="*/ 2237362 w 6955277"/>
              <a:gd name="connsiteY59" fmla="*/ 1150512 h 1656350"/>
              <a:gd name="connsiteX60" fmla="*/ 2305456 w 6955277"/>
              <a:gd name="connsiteY60" fmla="*/ 1140784 h 1656350"/>
              <a:gd name="connsiteX61" fmla="*/ 2349230 w 6955277"/>
              <a:gd name="connsiteY61" fmla="*/ 1131056 h 1656350"/>
              <a:gd name="connsiteX62" fmla="*/ 2363822 w 6955277"/>
              <a:gd name="connsiteY62" fmla="*/ 1126193 h 1656350"/>
              <a:gd name="connsiteX63" fmla="*/ 2431915 w 6955277"/>
              <a:gd name="connsiteY63" fmla="*/ 1116465 h 1656350"/>
              <a:gd name="connsiteX64" fmla="*/ 2436779 w 6955277"/>
              <a:gd name="connsiteY64" fmla="*/ 1101873 h 1656350"/>
              <a:gd name="connsiteX65" fmla="*/ 2465962 w 6955277"/>
              <a:gd name="connsiteY65" fmla="*/ 1092146 h 1656350"/>
              <a:gd name="connsiteX66" fmla="*/ 2572966 w 6955277"/>
              <a:gd name="connsiteY66" fmla="*/ 1092146 h 1656350"/>
              <a:gd name="connsiteX67" fmla="*/ 2587558 w 6955277"/>
              <a:gd name="connsiteY67" fmla="*/ 1082418 h 1656350"/>
              <a:gd name="connsiteX68" fmla="*/ 2602149 w 6955277"/>
              <a:gd name="connsiteY68" fmla="*/ 1077554 h 1656350"/>
              <a:gd name="connsiteX69" fmla="*/ 2616741 w 6955277"/>
              <a:gd name="connsiteY69" fmla="*/ 1067827 h 1656350"/>
              <a:gd name="connsiteX70" fmla="*/ 2645924 w 6955277"/>
              <a:gd name="connsiteY70" fmla="*/ 1062963 h 1656350"/>
              <a:gd name="connsiteX71" fmla="*/ 2704290 w 6955277"/>
              <a:gd name="connsiteY71" fmla="*/ 1043507 h 1656350"/>
              <a:gd name="connsiteX72" fmla="*/ 2718881 w 6955277"/>
              <a:gd name="connsiteY72" fmla="*/ 1038644 h 1656350"/>
              <a:gd name="connsiteX73" fmla="*/ 2733473 w 6955277"/>
              <a:gd name="connsiteY73" fmla="*/ 1033780 h 1656350"/>
              <a:gd name="connsiteX74" fmla="*/ 2752928 w 6955277"/>
              <a:gd name="connsiteY74" fmla="*/ 1028916 h 1656350"/>
              <a:gd name="connsiteX75" fmla="*/ 2777247 w 6955277"/>
              <a:gd name="connsiteY75" fmla="*/ 1024052 h 1656350"/>
              <a:gd name="connsiteX76" fmla="*/ 2830749 w 6955277"/>
              <a:gd name="connsiteY76" fmla="*/ 1019188 h 1656350"/>
              <a:gd name="connsiteX77" fmla="*/ 2864796 w 6955277"/>
              <a:gd name="connsiteY77" fmla="*/ 1014324 h 1656350"/>
              <a:gd name="connsiteX78" fmla="*/ 2879388 w 6955277"/>
              <a:gd name="connsiteY78" fmla="*/ 1009461 h 1656350"/>
              <a:gd name="connsiteX79" fmla="*/ 2898843 w 6955277"/>
              <a:gd name="connsiteY79" fmla="*/ 1004597 h 1656350"/>
              <a:gd name="connsiteX80" fmla="*/ 2913434 w 6955277"/>
              <a:gd name="connsiteY80" fmla="*/ 994869 h 1656350"/>
              <a:gd name="connsiteX81" fmla="*/ 2981528 w 6955277"/>
              <a:gd name="connsiteY81" fmla="*/ 985141 h 1656350"/>
              <a:gd name="connsiteX82" fmla="*/ 2986392 w 6955277"/>
              <a:gd name="connsiteY82" fmla="*/ 970550 h 1656350"/>
              <a:gd name="connsiteX83" fmla="*/ 3059349 w 6955277"/>
              <a:gd name="connsiteY83" fmla="*/ 965686 h 1656350"/>
              <a:gd name="connsiteX84" fmla="*/ 3107988 w 6955277"/>
              <a:gd name="connsiteY84" fmla="*/ 960822 h 1656350"/>
              <a:gd name="connsiteX85" fmla="*/ 3185809 w 6955277"/>
              <a:gd name="connsiteY85" fmla="*/ 951095 h 1656350"/>
              <a:gd name="connsiteX86" fmla="*/ 3229583 w 6955277"/>
              <a:gd name="connsiteY86" fmla="*/ 946231 h 1656350"/>
              <a:gd name="connsiteX87" fmla="*/ 3263630 w 6955277"/>
              <a:gd name="connsiteY87" fmla="*/ 936503 h 1656350"/>
              <a:gd name="connsiteX88" fmla="*/ 3302541 w 6955277"/>
              <a:gd name="connsiteY88" fmla="*/ 931639 h 1656350"/>
              <a:gd name="connsiteX89" fmla="*/ 3317132 w 6955277"/>
              <a:gd name="connsiteY89" fmla="*/ 926776 h 1656350"/>
              <a:gd name="connsiteX90" fmla="*/ 3321996 w 6955277"/>
              <a:gd name="connsiteY90" fmla="*/ 912184 h 1656350"/>
              <a:gd name="connsiteX91" fmla="*/ 3433864 w 6955277"/>
              <a:gd name="connsiteY91" fmla="*/ 907320 h 1656350"/>
              <a:gd name="connsiteX92" fmla="*/ 3438728 w 6955277"/>
              <a:gd name="connsiteY92" fmla="*/ 892729 h 1656350"/>
              <a:gd name="connsiteX93" fmla="*/ 3453319 w 6955277"/>
              <a:gd name="connsiteY93" fmla="*/ 883001 h 1656350"/>
              <a:gd name="connsiteX94" fmla="*/ 3540868 w 6955277"/>
              <a:gd name="connsiteY94" fmla="*/ 878137 h 1656350"/>
              <a:gd name="connsiteX95" fmla="*/ 3560324 w 6955277"/>
              <a:gd name="connsiteY95" fmla="*/ 873273 h 1656350"/>
              <a:gd name="connsiteX96" fmla="*/ 3589507 w 6955277"/>
              <a:gd name="connsiteY96" fmla="*/ 863546 h 1656350"/>
              <a:gd name="connsiteX97" fmla="*/ 3618690 w 6955277"/>
              <a:gd name="connsiteY97" fmla="*/ 858682 h 1656350"/>
              <a:gd name="connsiteX98" fmla="*/ 3715966 w 6955277"/>
              <a:gd name="connsiteY98" fmla="*/ 844090 h 1656350"/>
              <a:gd name="connsiteX99" fmla="*/ 3745149 w 6955277"/>
              <a:gd name="connsiteY99" fmla="*/ 834363 h 1656350"/>
              <a:gd name="connsiteX100" fmla="*/ 3750013 w 6955277"/>
              <a:gd name="connsiteY100" fmla="*/ 819771 h 1656350"/>
              <a:gd name="connsiteX101" fmla="*/ 3764605 w 6955277"/>
              <a:gd name="connsiteY101" fmla="*/ 814907 h 1656350"/>
              <a:gd name="connsiteX102" fmla="*/ 3798651 w 6955277"/>
              <a:gd name="connsiteY102" fmla="*/ 810044 h 1656350"/>
              <a:gd name="connsiteX103" fmla="*/ 3822971 w 6955277"/>
              <a:gd name="connsiteY103" fmla="*/ 805180 h 1656350"/>
              <a:gd name="connsiteX104" fmla="*/ 3852154 w 6955277"/>
              <a:gd name="connsiteY104" fmla="*/ 795452 h 1656350"/>
              <a:gd name="connsiteX105" fmla="*/ 3915383 w 6955277"/>
              <a:gd name="connsiteY105" fmla="*/ 790588 h 1656350"/>
              <a:gd name="connsiteX106" fmla="*/ 3959158 w 6955277"/>
              <a:gd name="connsiteY106" fmla="*/ 785724 h 1656350"/>
              <a:gd name="connsiteX107" fmla="*/ 3964022 w 6955277"/>
              <a:gd name="connsiteY107" fmla="*/ 771133 h 1656350"/>
              <a:gd name="connsiteX108" fmla="*/ 3993205 w 6955277"/>
              <a:gd name="connsiteY108" fmla="*/ 761405 h 1656350"/>
              <a:gd name="connsiteX109" fmla="*/ 4017524 w 6955277"/>
              <a:gd name="connsiteY109" fmla="*/ 756541 h 1656350"/>
              <a:gd name="connsiteX110" fmla="*/ 4036979 w 6955277"/>
              <a:gd name="connsiteY110" fmla="*/ 751678 h 1656350"/>
              <a:gd name="connsiteX111" fmla="*/ 4075890 w 6955277"/>
              <a:gd name="connsiteY111" fmla="*/ 746814 h 1656350"/>
              <a:gd name="connsiteX112" fmla="*/ 4095345 w 6955277"/>
              <a:gd name="connsiteY112" fmla="*/ 741950 h 1656350"/>
              <a:gd name="connsiteX113" fmla="*/ 4158575 w 6955277"/>
              <a:gd name="connsiteY113" fmla="*/ 727359 h 1656350"/>
              <a:gd name="connsiteX114" fmla="*/ 4173166 w 6955277"/>
              <a:gd name="connsiteY114" fmla="*/ 722495 h 1656350"/>
              <a:gd name="connsiteX115" fmla="*/ 4187758 w 6955277"/>
              <a:gd name="connsiteY115" fmla="*/ 712767 h 1656350"/>
              <a:gd name="connsiteX116" fmla="*/ 4265579 w 6955277"/>
              <a:gd name="connsiteY116" fmla="*/ 707903 h 1656350"/>
              <a:gd name="connsiteX117" fmla="*/ 4275307 w 6955277"/>
              <a:gd name="connsiteY117" fmla="*/ 693312 h 1656350"/>
              <a:gd name="connsiteX118" fmla="*/ 4421222 w 6955277"/>
              <a:gd name="connsiteY118" fmla="*/ 678720 h 1656350"/>
              <a:gd name="connsiteX119" fmla="*/ 4440677 w 6955277"/>
              <a:gd name="connsiteY119" fmla="*/ 668993 h 1656350"/>
              <a:gd name="connsiteX120" fmla="*/ 4557409 w 6955277"/>
              <a:gd name="connsiteY120" fmla="*/ 659265 h 1656350"/>
              <a:gd name="connsiteX121" fmla="*/ 4567136 w 6955277"/>
              <a:gd name="connsiteY121" fmla="*/ 644673 h 1656350"/>
              <a:gd name="connsiteX122" fmla="*/ 4581728 w 6955277"/>
              <a:gd name="connsiteY122" fmla="*/ 639810 h 1656350"/>
              <a:gd name="connsiteX123" fmla="*/ 4635230 w 6955277"/>
              <a:gd name="connsiteY123" fmla="*/ 634946 h 1656350"/>
              <a:gd name="connsiteX124" fmla="*/ 4669277 w 6955277"/>
              <a:gd name="connsiteY124" fmla="*/ 630082 h 1656350"/>
              <a:gd name="connsiteX125" fmla="*/ 4703324 w 6955277"/>
              <a:gd name="connsiteY125" fmla="*/ 610627 h 1656350"/>
              <a:gd name="connsiteX126" fmla="*/ 4732507 w 6955277"/>
              <a:gd name="connsiteY126" fmla="*/ 605763 h 1656350"/>
              <a:gd name="connsiteX127" fmla="*/ 4790873 w 6955277"/>
              <a:gd name="connsiteY127" fmla="*/ 591171 h 1656350"/>
              <a:gd name="connsiteX128" fmla="*/ 4844375 w 6955277"/>
              <a:gd name="connsiteY128" fmla="*/ 581444 h 1656350"/>
              <a:gd name="connsiteX129" fmla="*/ 4917332 w 6955277"/>
              <a:gd name="connsiteY129" fmla="*/ 571716 h 1656350"/>
              <a:gd name="connsiteX130" fmla="*/ 4990290 w 6955277"/>
              <a:gd name="connsiteY130" fmla="*/ 552261 h 1656350"/>
              <a:gd name="connsiteX131" fmla="*/ 5009745 w 6955277"/>
              <a:gd name="connsiteY131" fmla="*/ 523078 h 1656350"/>
              <a:gd name="connsiteX132" fmla="*/ 5024336 w 6955277"/>
              <a:gd name="connsiteY132" fmla="*/ 513350 h 1656350"/>
              <a:gd name="connsiteX133" fmla="*/ 5058383 w 6955277"/>
              <a:gd name="connsiteY133" fmla="*/ 503622 h 1656350"/>
              <a:gd name="connsiteX134" fmla="*/ 5072975 w 6955277"/>
              <a:gd name="connsiteY134" fmla="*/ 498759 h 1656350"/>
              <a:gd name="connsiteX135" fmla="*/ 5087566 w 6955277"/>
              <a:gd name="connsiteY135" fmla="*/ 489031 h 1656350"/>
              <a:gd name="connsiteX136" fmla="*/ 5136205 w 6955277"/>
              <a:gd name="connsiteY136" fmla="*/ 474439 h 1656350"/>
              <a:gd name="connsiteX137" fmla="*/ 5150796 w 6955277"/>
              <a:gd name="connsiteY137" fmla="*/ 469576 h 1656350"/>
              <a:gd name="connsiteX138" fmla="*/ 5179979 w 6955277"/>
              <a:gd name="connsiteY138" fmla="*/ 464712 h 1656350"/>
              <a:gd name="connsiteX139" fmla="*/ 5194571 w 6955277"/>
              <a:gd name="connsiteY139" fmla="*/ 459848 h 1656350"/>
              <a:gd name="connsiteX140" fmla="*/ 5267528 w 6955277"/>
              <a:gd name="connsiteY140" fmla="*/ 454984 h 1656350"/>
              <a:gd name="connsiteX141" fmla="*/ 5301575 w 6955277"/>
              <a:gd name="connsiteY141" fmla="*/ 450120 h 1656350"/>
              <a:gd name="connsiteX142" fmla="*/ 5321030 w 6955277"/>
              <a:gd name="connsiteY142" fmla="*/ 445256 h 1656350"/>
              <a:gd name="connsiteX143" fmla="*/ 5369668 w 6955277"/>
              <a:gd name="connsiteY143" fmla="*/ 440393 h 1656350"/>
              <a:gd name="connsiteX144" fmla="*/ 5437762 w 6955277"/>
              <a:gd name="connsiteY144" fmla="*/ 430665 h 1656350"/>
              <a:gd name="connsiteX145" fmla="*/ 5466945 w 6955277"/>
              <a:gd name="connsiteY145" fmla="*/ 425801 h 1656350"/>
              <a:gd name="connsiteX146" fmla="*/ 5500992 w 6955277"/>
              <a:gd name="connsiteY146" fmla="*/ 416073 h 1656350"/>
              <a:gd name="connsiteX147" fmla="*/ 5515583 w 6955277"/>
              <a:gd name="connsiteY147" fmla="*/ 411210 h 1656350"/>
              <a:gd name="connsiteX148" fmla="*/ 5583677 w 6955277"/>
              <a:gd name="connsiteY148" fmla="*/ 391755 h 1656350"/>
              <a:gd name="connsiteX149" fmla="*/ 5612860 w 6955277"/>
              <a:gd name="connsiteY149" fmla="*/ 396618 h 1656350"/>
              <a:gd name="connsiteX150" fmla="*/ 5666362 w 6955277"/>
              <a:gd name="connsiteY150" fmla="*/ 391754 h 1656350"/>
              <a:gd name="connsiteX151" fmla="*/ 5685817 w 6955277"/>
              <a:gd name="connsiteY151" fmla="*/ 382027 h 1656350"/>
              <a:gd name="connsiteX152" fmla="*/ 5724728 w 6955277"/>
              <a:gd name="connsiteY152" fmla="*/ 377163 h 1656350"/>
              <a:gd name="connsiteX153" fmla="*/ 5729592 w 6955277"/>
              <a:gd name="connsiteY153" fmla="*/ 362571 h 1656350"/>
              <a:gd name="connsiteX154" fmla="*/ 5744183 w 6955277"/>
              <a:gd name="connsiteY154" fmla="*/ 357707 h 1656350"/>
              <a:gd name="connsiteX155" fmla="*/ 5783094 w 6955277"/>
              <a:gd name="connsiteY155" fmla="*/ 352844 h 1656350"/>
              <a:gd name="connsiteX156" fmla="*/ 5812277 w 6955277"/>
              <a:gd name="connsiteY156" fmla="*/ 338252 h 1656350"/>
              <a:gd name="connsiteX157" fmla="*/ 5841460 w 6955277"/>
              <a:gd name="connsiteY157" fmla="*/ 328524 h 1656350"/>
              <a:gd name="connsiteX158" fmla="*/ 5885234 w 6955277"/>
              <a:gd name="connsiteY158" fmla="*/ 318797 h 1656350"/>
              <a:gd name="connsiteX159" fmla="*/ 5899826 w 6955277"/>
              <a:gd name="connsiteY159" fmla="*/ 309069 h 1656350"/>
              <a:gd name="connsiteX160" fmla="*/ 5997102 w 6955277"/>
              <a:gd name="connsiteY160" fmla="*/ 299341 h 1656350"/>
              <a:gd name="connsiteX161" fmla="*/ 6040877 w 6955277"/>
              <a:gd name="connsiteY161" fmla="*/ 284750 h 1656350"/>
              <a:gd name="connsiteX162" fmla="*/ 6055468 w 6955277"/>
              <a:gd name="connsiteY162" fmla="*/ 275022 h 1656350"/>
              <a:gd name="connsiteX163" fmla="*/ 6079788 w 6955277"/>
              <a:gd name="connsiteY163" fmla="*/ 270159 h 1656350"/>
              <a:gd name="connsiteX164" fmla="*/ 6128426 w 6955277"/>
              <a:gd name="connsiteY164" fmla="*/ 265295 h 1656350"/>
              <a:gd name="connsiteX165" fmla="*/ 6167336 w 6955277"/>
              <a:gd name="connsiteY165" fmla="*/ 260431 h 1656350"/>
              <a:gd name="connsiteX166" fmla="*/ 6206247 w 6955277"/>
              <a:gd name="connsiteY166" fmla="*/ 250703 h 1656350"/>
              <a:gd name="connsiteX167" fmla="*/ 6220839 w 6955277"/>
              <a:gd name="connsiteY167" fmla="*/ 240976 h 1656350"/>
              <a:gd name="connsiteX168" fmla="*/ 6274341 w 6955277"/>
              <a:gd name="connsiteY168" fmla="*/ 236112 h 1656350"/>
              <a:gd name="connsiteX169" fmla="*/ 6395936 w 6955277"/>
              <a:gd name="connsiteY169" fmla="*/ 221520 h 1656350"/>
              <a:gd name="connsiteX170" fmla="*/ 6410528 w 6955277"/>
              <a:gd name="connsiteY170" fmla="*/ 192337 h 1656350"/>
              <a:gd name="connsiteX171" fmla="*/ 6439711 w 6955277"/>
              <a:gd name="connsiteY171" fmla="*/ 187473 h 1656350"/>
              <a:gd name="connsiteX172" fmla="*/ 6488349 w 6955277"/>
              <a:gd name="connsiteY172" fmla="*/ 182610 h 1656350"/>
              <a:gd name="connsiteX173" fmla="*/ 6507805 w 6955277"/>
              <a:gd name="connsiteY173" fmla="*/ 177746 h 1656350"/>
              <a:gd name="connsiteX174" fmla="*/ 6522396 w 6955277"/>
              <a:gd name="connsiteY174" fmla="*/ 172882 h 1656350"/>
              <a:gd name="connsiteX175" fmla="*/ 6561307 w 6955277"/>
              <a:gd name="connsiteY175" fmla="*/ 163154 h 1656350"/>
              <a:gd name="connsiteX176" fmla="*/ 6566171 w 6955277"/>
              <a:gd name="connsiteY176" fmla="*/ 148563 h 1656350"/>
              <a:gd name="connsiteX177" fmla="*/ 6580762 w 6955277"/>
              <a:gd name="connsiteY177" fmla="*/ 143699 h 1656350"/>
              <a:gd name="connsiteX178" fmla="*/ 6605081 w 6955277"/>
              <a:gd name="connsiteY178" fmla="*/ 138835 h 1656350"/>
              <a:gd name="connsiteX179" fmla="*/ 6639128 w 6955277"/>
              <a:gd name="connsiteY179" fmla="*/ 119380 h 1656350"/>
              <a:gd name="connsiteX180" fmla="*/ 6643992 w 6955277"/>
              <a:gd name="connsiteY180" fmla="*/ 99924 h 1656350"/>
              <a:gd name="connsiteX181" fmla="*/ 6780179 w 6955277"/>
              <a:gd name="connsiteY181" fmla="*/ 99924 h 1656350"/>
              <a:gd name="connsiteX182" fmla="*/ 6785043 w 6955277"/>
              <a:gd name="connsiteY182" fmla="*/ 65878 h 1656350"/>
              <a:gd name="connsiteX183" fmla="*/ 6809362 w 6955277"/>
              <a:gd name="connsiteY183" fmla="*/ 61014 h 1656350"/>
              <a:gd name="connsiteX184" fmla="*/ 6828817 w 6955277"/>
              <a:gd name="connsiteY184" fmla="*/ 56150 h 1656350"/>
              <a:gd name="connsiteX185" fmla="*/ 6955277 w 6955277"/>
              <a:gd name="connsiteY185" fmla="*/ 2647 h 1656350"/>
              <a:gd name="connsiteX0" fmla="*/ 0 w 6955277"/>
              <a:gd name="connsiteY0" fmla="*/ 1656350 h 1656350"/>
              <a:gd name="connsiteX1" fmla="*/ 48639 w 6955277"/>
              <a:gd name="connsiteY1" fmla="*/ 1646622 h 1656350"/>
              <a:gd name="connsiteX2" fmla="*/ 77822 w 6955277"/>
              <a:gd name="connsiteY2" fmla="*/ 1632031 h 1656350"/>
              <a:gd name="connsiteX3" fmla="*/ 141051 w 6955277"/>
              <a:gd name="connsiteY3" fmla="*/ 1627167 h 1656350"/>
              <a:gd name="connsiteX4" fmla="*/ 170234 w 6955277"/>
              <a:gd name="connsiteY4" fmla="*/ 1602848 h 1656350"/>
              <a:gd name="connsiteX5" fmla="*/ 184826 w 6955277"/>
              <a:gd name="connsiteY5" fmla="*/ 1593120 h 1656350"/>
              <a:gd name="connsiteX6" fmla="*/ 238328 w 6955277"/>
              <a:gd name="connsiteY6" fmla="*/ 1593120 h 1656350"/>
              <a:gd name="connsiteX7" fmla="*/ 252919 w 6955277"/>
              <a:gd name="connsiteY7" fmla="*/ 1583393 h 1656350"/>
              <a:gd name="connsiteX8" fmla="*/ 301558 w 6955277"/>
              <a:gd name="connsiteY8" fmla="*/ 1578529 h 1656350"/>
              <a:gd name="connsiteX9" fmla="*/ 321013 w 6955277"/>
              <a:gd name="connsiteY9" fmla="*/ 1568801 h 1656350"/>
              <a:gd name="connsiteX10" fmla="*/ 369651 w 6955277"/>
              <a:gd name="connsiteY10" fmla="*/ 1549346 h 1656350"/>
              <a:gd name="connsiteX11" fmla="*/ 418290 w 6955277"/>
              <a:gd name="connsiteY11" fmla="*/ 1549346 h 1656350"/>
              <a:gd name="connsiteX12" fmla="*/ 432881 w 6955277"/>
              <a:gd name="connsiteY12" fmla="*/ 1534754 h 1656350"/>
              <a:gd name="connsiteX13" fmla="*/ 447473 w 6955277"/>
              <a:gd name="connsiteY13" fmla="*/ 1529890 h 1656350"/>
              <a:gd name="connsiteX14" fmla="*/ 515566 w 6955277"/>
              <a:gd name="connsiteY14" fmla="*/ 1529890 h 1656350"/>
              <a:gd name="connsiteX15" fmla="*/ 520430 w 6955277"/>
              <a:gd name="connsiteY15" fmla="*/ 1510435 h 1656350"/>
              <a:gd name="connsiteX16" fmla="*/ 612843 w 6955277"/>
              <a:gd name="connsiteY16" fmla="*/ 1510435 h 1656350"/>
              <a:gd name="connsiteX17" fmla="*/ 617707 w 6955277"/>
              <a:gd name="connsiteY17" fmla="*/ 1495844 h 1656350"/>
              <a:gd name="connsiteX18" fmla="*/ 666345 w 6955277"/>
              <a:gd name="connsiteY18" fmla="*/ 1490980 h 1656350"/>
              <a:gd name="connsiteX19" fmla="*/ 695528 w 6955277"/>
              <a:gd name="connsiteY19" fmla="*/ 1495844 h 1656350"/>
              <a:gd name="connsiteX20" fmla="*/ 753894 w 6955277"/>
              <a:gd name="connsiteY20" fmla="*/ 1486116 h 1656350"/>
              <a:gd name="connsiteX21" fmla="*/ 787941 w 6955277"/>
              <a:gd name="connsiteY21" fmla="*/ 1481252 h 1656350"/>
              <a:gd name="connsiteX22" fmla="*/ 792805 w 6955277"/>
              <a:gd name="connsiteY22" fmla="*/ 1466661 h 1656350"/>
              <a:gd name="connsiteX23" fmla="*/ 836579 w 6955277"/>
              <a:gd name="connsiteY23" fmla="*/ 1461797 h 1656350"/>
              <a:gd name="connsiteX24" fmla="*/ 851171 w 6955277"/>
              <a:gd name="connsiteY24" fmla="*/ 1456933 h 1656350"/>
              <a:gd name="connsiteX25" fmla="*/ 875490 w 6955277"/>
              <a:gd name="connsiteY25" fmla="*/ 1452069 h 1656350"/>
              <a:gd name="connsiteX26" fmla="*/ 894945 w 6955277"/>
              <a:gd name="connsiteY26" fmla="*/ 1447205 h 1656350"/>
              <a:gd name="connsiteX27" fmla="*/ 924128 w 6955277"/>
              <a:gd name="connsiteY27" fmla="*/ 1437478 h 1656350"/>
              <a:gd name="connsiteX28" fmla="*/ 933856 w 6955277"/>
              <a:gd name="connsiteY28" fmla="*/ 1422886 h 1656350"/>
              <a:gd name="connsiteX29" fmla="*/ 982494 w 6955277"/>
              <a:gd name="connsiteY29" fmla="*/ 1418022 h 1656350"/>
              <a:gd name="connsiteX30" fmla="*/ 997085 w 6955277"/>
              <a:gd name="connsiteY30" fmla="*/ 1413159 h 1656350"/>
              <a:gd name="connsiteX31" fmla="*/ 1011677 w 6955277"/>
              <a:gd name="connsiteY31" fmla="*/ 1403431 h 1656350"/>
              <a:gd name="connsiteX32" fmla="*/ 1118681 w 6955277"/>
              <a:gd name="connsiteY32" fmla="*/ 1398567 h 1656350"/>
              <a:gd name="connsiteX33" fmla="*/ 1147864 w 6955277"/>
              <a:gd name="connsiteY33" fmla="*/ 1388839 h 1656350"/>
              <a:gd name="connsiteX34" fmla="*/ 1240277 w 6955277"/>
              <a:gd name="connsiteY34" fmla="*/ 1374248 h 1656350"/>
              <a:gd name="connsiteX35" fmla="*/ 1269460 w 6955277"/>
              <a:gd name="connsiteY35" fmla="*/ 1364520 h 1656350"/>
              <a:gd name="connsiteX36" fmla="*/ 1303507 w 6955277"/>
              <a:gd name="connsiteY36" fmla="*/ 1354793 h 1656350"/>
              <a:gd name="connsiteX37" fmla="*/ 1332690 w 6955277"/>
              <a:gd name="connsiteY37" fmla="*/ 1340201 h 1656350"/>
              <a:gd name="connsiteX38" fmla="*/ 1400783 w 6955277"/>
              <a:gd name="connsiteY38" fmla="*/ 1330473 h 1656350"/>
              <a:gd name="connsiteX39" fmla="*/ 1429966 w 6955277"/>
              <a:gd name="connsiteY39" fmla="*/ 1320746 h 1656350"/>
              <a:gd name="connsiteX40" fmla="*/ 1444558 w 6955277"/>
              <a:gd name="connsiteY40" fmla="*/ 1315882 h 1656350"/>
              <a:gd name="connsiteX41" fmla="*/ 1532107 w 6955277"/>
              <a:gd name="connsiteY41" fmla="*/ 1301290 h 1656350"/>
              <a:gd name="connsiteX42" fmla="*/ 1561290 w 6955277"/>
              <a:gd name="connsiteY42" fmla="*/ 1291563 h 1656350"/>
              <a:gd name="connsiteX43" fmla="*/ 1600200 w 6955277"/>
              <a:gd name="connsiteY43" fmla="*/ 1286699 h 1656350"/>
              <a:gd name="connsiteX44" fmla="*/ 1634247 w 6955277"/>
              <a:gd name="connsiteY44" fmla="*/ 1281835 h 1656350"/>
              <a:gd name="connsiteX45" fmla="*/ 1697477 w 6955277"/>
              <a:gd name="connsiteY45" fmla="*/ 1272107 h 1656350"/>
              <a:gd name="connsiteX46" fmla="*/ 1712068 w 6955277"/>
              <a:gd name="connsiteY46" fmla="*/ 1262380 h 1656350"/>
              <a:gd name="connsiteX47" fmla="*/ 1736388 w 6955277"/>
              <a:gd name="connsiteY47" fmla="*/ 1257516 h 1656350"/>
              <a:gd name="connsiteX48" fmla="*/ 1823936 w 6955277"/>
              <a:gd name="connsiteY48" fmla="*/ 1252652 h 1656350"/>
              <a:gd name="connsiteX49" fmla="*/ 1828800 w 6955277"/>
              <a:gd name="connsiteY49" fmla="*/ 1228333 h 1656350"/>
              <a:gd name="connsiteX50" fmla="*/ 1843392 w 6955277"/>
              <a:gd name="connsiteY50" fmla="*/ 1223469 h 1656350"/>
              <a:gd name="connsiteX51" fmla="*/ 1867711 w 6955277"/>
              <a:gd name="connsiteY51" fmla="*/ 1218605 h 1656350"/>
              <a:gd name="connsiteX52" fmla="*/ 1945532 w 6955277"/>
              <a:gd name="connsiteY52" fmla="*/ 1213741 h 1656350"/>
              <a:gd name="connsiteX53" fmla="*/ 2033081 w 6955277"/>
              <a:gd name="connsiteY53" fmla="*/ 1208878 h 1656350"/>
              <a:gd name="connsiteX54" fmla="*/ 2091447 w 6955277"/>
              <a:gd name="connsiteY54" fmla="*/ 1189422 h 1656350"/>
              <a:gd name="connsiteX55" fmla="*/ 2106039 w 6955277"/>
              <a:gd name="connsiteY55" fmla="*/ 1179695 h 1656350"/>
              <a:gd name="connsiteX56" fmla="*/ 2140085 w 6955277"/>
              <a:gd name="connsiteY56" fmla="*/ 1174831 h 1656350"/>
              <a:gd name="connsiteX57" fmla="*/ 2188724 w 6955277"/>
              <a:gd name="connsiteY57" fmla="*/ 1160239 h 1656350"/>
              <a:gd name="connsiteX58" fmla="*/ 2222771 w 6955277"/>
              <a:gd name="connsiteY58" fmla="*/ 1155376 h 1656350"/>
              <a:gd name="connsiteX59" fmla="*/ 2237362 w 6955277"/>
              <a:gd name="connsiteY59" fmla="*/ 1150512 h 1656350"/>
              <a:gd name="connsiteX60" fmla="*/ 2305456 w 6955277"/>
              <a:gd name="connsiteY60" fmla="*/ 1140784 h 1656350"/>
              <a:gd name="connsiteX61" fmla="*/ 2349230 w 6955277"/>
              <a:gd name="connsiteY61" fmla="*/ 1131056 h 1656350"/>
              <a:gd name="connsiteX62" fmla="*/ 2363822 w 6955277"/>
              <a:gd name="connsiteY62" fmla="*/ 1126193 h 1656350"/>
              <a:gd name="connsiteX63" fmla="*/ 2431915 w 6955277"/>
              <a:gd name="connsiteY63" fmla="*/ 1116465 h 1656350"/>
              <a:gd name="connsiteX64" fmla="*/ 2436779 w 6955277"/>
              <a:gd name="connsiteY64" fmla="*/ 1101873 h 1656350"/>
              <a:gd name="connsiteX65" fmla="*/ 2465962 w 6955277"/>
              <a:gd name="connsiteY65" fmla="*/ 1092146 h 1656350"/>
              <a:gd name="connsiteX66" fmla="*/ 2572966 w 6955277"/>
              <a:gd name="connsiteY66" fmla="*/ 1092146 h 1656350"/>
              <a:gd name="connsiteX67" fmla="*/ 2587558 w 6955277"/>
              <a:gd name="connsiteY67" fmla="*/ 1082418 h 1656350"/>
              <a:gd name="connsiteX68" fmla="*/ 2602149 w 6955277"/>
              <a:gd name="connsiteY68" fmla="*/ 1077554 h 1656350"/>
              <a:gd name="connsiteX69" fmla="*/ 2616741 w 6955277"/>
              <a:gd name="connsiteY69" fmla="*/ 1067827 h 1656350"/>
              <a:gd name="connsiteX70" fmla="*/ 2645924 w 6955277"/>
              <a:gd name="connsiteY70" fmla="*/ 1062963 h 1656350"/>
              <a:gd name="connsiteX71" fmla="*/ 2704290 w 6955277"/>
              <a:gd name="connsiteY71" fmla="*/ 1043507 h 1656350"/>
              <a:gd name="connsiteX72" fmla="*/ 2718881 w 6955277"/>
              <a:gd name="connsiteY72" fmla="*/ 1038644 h 1656350"/>
              <a:gd name="connsiteX73" fmla="*/ 2733473 w 6955277"/>
              <a:gd name="connsiteY73" fmla="*/ 1033780 h 1656350"/>
              <a:gd name="connsiteX74" fmla="*/ 2752928 w 6955277"/>
              <a:gd name="connsiteY74" fmla="*/ 1028916 h 1656350"/>
              <a:gd name="connsiteX75" fmla="*/ 2777247 w 6955277"/>
              <a:gd name="connsiteY75" fmla="*/ 1024052 h 1656350"/>
              <a:gd name="connsiteX76" fmla="*/ 2830749 w 6955277"/>
              <a:gd name="connsiteY76" fmla="*/ 1019188 h 1656350"/>
              <a:gd name="connsiteX77" fmla="*/ 2864796 w 6955277"/>
              <a:gd name="connsiteY77" fmla="*/ 1014324 h 1656350"/>
              <a:gd name="connsiteX78" fmla="*/ 2879388 w 6955277"/>
              <a:gd name="connsiteY78" fmla="*/ 1009461 h 1656350"/>
              <a:gd name="connsiteX79" fmla="*/ 2898843 w 6955277"/>
              <a:gd name="connsiteY79" fmla="*/ 1004597 h 1656350"/>
              <a:gd name="connsiteX80" fmla="*/ 2913434 w 6955277"/>
              <a:gd name="connsiteY80" fmla="*/ 994869 h 1656350"/>
              <a:gd name="connsiteX81" fmla="*/ 2981528 w 6955277"/>
              <a:gd name="connsiteY81" fmla="*/ 985141 h 1656350"/>
              <a:gd name="connsiteX82" fmla="*/ 2986392 w 6955277"/>
              <a:gd name="connsiteY82" fmla="*/ 970550 h 1656350"/>
              <a:gd name="connsiteX83" fmla="*/ 3059349 w 6955277"/>
              <a:gd name="connsiteY83" fmla="*/ 965686 h 1656350"/>
              <a:gd name="connsiteX84" fmla="*/ 3107988 w 6955277"/>
              <a:gd name="connsiteY84" fmla="*/ 960822 h 1656350"/>
              <a:gd name="connsiteX85" fmla="*/ 3185809 w 6955277"/>
              <a:gd name="connsiteY85" fmla="*/ 951095 h 1656350"/>
              <a:gd name="connsiteX86" fmla="*/ 3229583 w 6955277"/>
              <a:gd name="connsiteY86" fmla="*/ 946231 h 1656350"/>
              <a:gd name="connsiteX87" fmla="*/ 3263630 w 6955277"/>
              <a:gd name="connsiteY87" fmla="*/ 936503 h 1656350"/>
              <a:gd name="connsiteX88" fmla="*/ 3302541 w 6955277"/>
              <a:gd name="connsiteY88" fmla="*/ 931639 h 1656350"/>
              <a:gd name="connsiteX89" fmla="*/ 3317132 w 6955277"/>
              <a:gd name="connsiteY89" fmla="*/ 926776 h 1656350"/>
              <a:gd name="connsiteX90" fmla="*/ 3321996 w 6955277"/>
              <a:gd name="connsiteY90" fmla="*/ 912184 h 1656350"/>
              <a:gd name="connsiteX91" fmla="*/ 3433864 w 6955277"/>
              <a:gd name="connsiteY91" fmla="*/ 907320 h 1656350"/>
              <a:gd name="connsiteX92" fmla="*/ 3438728 w 6955277"/>
              <a:gd name="connsiteY92" fmla="*/ 892729 h 1656350"/>
              <a:gd name="connsiteX93" fmla="*/ 3453319 w 6955277"/>
              <a:gd name="connsiteY93" fmla="*/ 883001 h 1656350"/>
              <a:gd name="connsiteX94" fmla="*/ 3540868 w 6955277"/>
              <a:gd name="connsiteY94" fmla="*/ 878137 h 1656350"/>
              <a:gd name="connsiteX95" fmla="*/ 3560324 w 6955277"/>
              <a:gd name="connsiteY95" fmla="*/ 873273 h 1656350"/>
              <a:gd name="connsiteX96" fmla="*/ 3589507 w 6955277"/>
              <a:gd name="connsiteY96" fmla="*/ 863546 h 1656350"/>
              <a:gd name="connsiteX97" fmla="*/ 3618690 w 6955277"/>
              <a:gd name="connsiteY97" fmla="*/ 858682 h 1656350"/>
              <a:gd name="connsiteX98" fmla="*/ 3715966 w 6955277"/>
              <a:gd name="connsiteY98" fmla="*/ 844090 h 1656350"/>
              <a:gd name="connsiteX99" fmla="*/ 3745149 w 6955277"/>
              <a:gd name="connsiteY99" fmla="*/ 834363 h 1656350"/>
              <a:gd name="connsiteX100" fmla="*/ 3750013 w 6955277"/>
              <a:gd name="connsiteY100" fmla="*/ 819771 h 1656350"/>
              <a:gd name="connsiteX101" fmla="*/ 3764605 w 6955277"/>
              <a:gd name="connsiteY101" fmla="*/ 814907 h 1656350"/>
              <a:gd name="connsiteX102" fmla="*/ 3798651 w 6955277"/>
              <a:gd name="connsiteY102" fmla="*/ 810044 h 1656350"/>
              <a:gd name="connsiteX103" fmla="*/ 3822971 w 6955277"/>
              <a:gd name="connsiteY103" fmla="*/ 805180 h 1656350"/>
              <a:gd name="connsiteX104" fmla="*/ 3852154 w 6955277"/>
              <a:gd name="connsiteY104" fmla="*/ 795452 h 1656350"/>
              <a:gd name="connsiteX105" fmla="*/ 3915383 w 6955277"/>
              <a:gd name="connsiteY105" fmla="*/ 790588 h 1656350"/>
              <a:gd name="connsiteX106" fmla="*/ 3959158 w 6955277"/>
              <a:gd name="connsiteY106" fmla="*/ 785724 h 1656350"/>
              <a:gd name="connsiteX107" fmla="*/ 3964022 w 6955277"/>
              <a:gd name="connsiteY107" fmla="*/ 771133 h 1656350"/>
              <a:gd name="connsiteX108" fmla="*/ 3993205 w 6955277"/>
              <a:gd name="connsiteY108" fmla="*/ 761405 h 1656350"/>
              <a:gd name="connsiteX109" fmla="*/ 4017524 w 6955277"/>
              <a:gd name="connsiteY109" fmla="*/ 756541 h 1656350"/>
              <a:gd name="connsiteX110" fmla="*/ 4036979 w 6955277"/>
              <a:gd name="connsiteY110" fmla="*/ 751678 h 1656350"/>
              <a:gd name="connsiteX111" fmla="*/ 4075890 w 6955277"/>
              <a:gd name="connsiteY111" fmla="*/ 746814 h 1656350"/>
              <a:gd name="connsiteX112" fmla="*/ 4095345 w 6955277"/>
              <a:gd name="connsiteY112" fmla="*/ 741950 h 1656350"/>
              <a:gd name="connsiteX113" fmla="*/ 4158575 w 6955277"/>
              <a:gd name="connsiteY113" fmla="*/ 727359 h 1656350"/>
              <a:gd name="connsiteX114" fmla="*/ 4173166 w 6955277"/>
              <a:gd name="connsiteY114" fmla="*/ 722495 h 1656350"/>
              <a:gd name="connsiteX115" fmla="*/ 4187758 w 6955277"/>
              <a:gd name="connsiteY115" fmla="*/ 712767 h 1656350"/>
              <a:gd name="connsiteX116" fmla="*/ 4265579 w 6955277"/>
              <a:gd name="connsiteY116" fmla="*/ 707903 h 1656350"/>
              <a:gd name="connsiteX117" fmla="*/ 4275307 w 6955277"/>
              <a:gd name="connsiteY117" fmla="*/ 693312 h 1656350"/>
              <a:gd name="connsiteX118" fmla="*/ 4421222 w 6955277"/>
              <a:gd name="connsiteY118" fmla="*/ 678720 h 1656350"/>
              <a:gd name="connsiteX119" fmla="*/ 4440677 w 6955277"/>
              <a:gd name="connsiteY119" fmla="*/ 668993 h 1656350"/>
              <a:gd name="connsiteX120" fmla="*/ 4557409 w 6955277"/>
              <a:gd name="connsiteY120" fmla="*/ 659265 h 1656350"/>
              <a:gd name="connsiteX121" fmla="*/ 4567136 w 6955277"/>
              <a:gd name="connsiteY121" fmla="*/ 644673 h 1656350"/>
              <a:gd name="connsiteX122" fmla="*/ 4581728 w 6955277"/>
              <a:gd name="connsiteY122" fmla="*/ 639810 h 1656350"/>
              <a:gd name="connsiteX123" fmla="*/ 4635230 w 6955277"/>
              <a:gd name="connsiteY123" fmla="*/ 634946 h 1656350"/>
              <a:gd name="connsiteX124" fmla="*/ 4669277 w 6955277"/>
              <a:gd name="connsiteY124" fmla="*/ 630082 h 1656350"/>
              <a:gd name="connsiteX125" fmla="*/ 4703324 w 6955277"/>
              <a:gd name="connsiteY125" fmla="*/ 610627 h 1656350"/>
              <a:gd name="connsiteX126" fmla="*/ 4732507 w 6955277"/>
              <a:gd name="connsiteY126" fmla="*/ 605763 h 1656350"/>
              <a:gd name="connsiteX127" fmla="*/ 4790873 w 6955277"/>
              <a:gd name="connsiteY127" fmla="*/ 591171 h 1656350"/>
              <a:gd name="connsiteX128" fmla="*/ 4844375 w 6955277"/>
              <a:gd name="connsiteY128" fmla="*/ 581444 h 1656350"/>
              <a:gd name="connsiteX129" fmla="*/ 4917332 w 6955277"/>
              <a:gd name="connsiteY129" fmla="*/ 571716 h 1656350"/>
              <a:gd name="connsiteX130" fmla="*/ 4990290 w 6955277"/>
              <a:gd name="connsiteY130" fmla="*/ 552261 h 1656350"/>
              <a:gd name="connsiteX131" fmla="*/ 5009745 w 6955277"/>
              <a:gd name="connsiteY131" fmla="*/ 523078 h 1656350"/>
              <a:gd name="connsiteX132" fmla="*/ 5024336 w 6955277"/>
              <a:gd name="connsiteY132" fmla="*/ 513350 h 1656350"/>
              <a:gd name="connsiteX133" fmla="*/ 5058383 w 6955277"/>
              <a:gd name="connsiteY133" fmla="*/ 503622 h 1656350"/>
              <a:gd name="connsiteX134" fmla="*/ 5072975 w 6955277"/>
              <a:gd name="connsiteY134" fmla="*/ 498759 h 1656350"/>
              <a:gd name="connsiteX135" fmla="*/ 5087566 w 6955277"/>
              <a:gd name="connsiteY135" fmla="*/ 489031 h 1656350"/>
              <a:gd name="connsiteX136" fmla="*/ 5136205 w 6955277"/>
              <a:gd name="connsiteY136" fmla="*/ 474439 h 1656350"/>
              <a:gd name="connsiteX137" fmla="*/ 5150796 w 6955277"/>
              <a:gd name="connsiteY137" fmla="*/ 469576 h 1656350"/>
              <a:gd name="connsiteX138" fmla="*/ 5179979 w 6955277"/>
              <a:gd name="connsiteY138" fmla="*/ 464712 h 1656350"/>
              <a:gd name="connsiteX139" fmla="*/ 5194571 w 6955277"/>
              <a:gd name="connsiteY139" fmla="*/ 459848 h 1656350"/>
              <a:gd name="connsiteX140" fmla="*/ 5267528 w 6955277"/>
              <a:gd name="connsiteY140" fmla="*/ 454984 h 1656350"/>
              <a:gd name="connsiteX141" fmla="*/ 5301575 w 6955277"/>
              <a:gd name="connsiteY141" fmla="*/ 450120 h 1656350"/>
              <a:gd name="connsiteX142" fmla="*/ 5321030 w 6955277"/>
              <a:gd name="connsiteY142" fmla="*/ 445256 h 1656350"/>
              <a:gd name="connsiteX143" fmla="*/ 5369668 w 6955277"/>
              <a:gd name="connsiteY143" fmla="*/ 440393 h 1656350"/>
              <a:gd name="connsiteX144" fmla="*/ 5437762 w 6955277"/>
              <a:gd name="connsiteY144" fmla="*/ 430665 h 1656350"/>
              <a:gd name="connsiteX145" fmla="*/ 5466945 w 6955277"/>
              <a:gd name="connsiteY145" fmla="*/ 425801 h 1656350"/>
              <a:gd name="connsiteX146" fmla="*/ 5500992 w 6955277"/>
              <a:gd name="connsiteY146" fmla="*/ 416073 h 1656350"/>
              <a:gd name="connsiteX147" fmla="*/ 5515583 w 6955277"/>
              <a:gd name="connsiteY147" fmla="*/ 411210 h 1656350"/>
              <a:gd name="connsiteX148" fmla="*/ 5583677 w 6955277"/>
              <a:gd name="connsiteY148" fmla="*/ 391755 h 1656350"/>
              <a:gd name="connsiteX149" fmla="*/ 5637179 w 6955277"/>
              <a:gd name="connsiteY149" fmla="*/ 386891 h 1656350"/>
              <a:gd name="connsiteX150" fmla="*/ 5666362 w 6955277"/>
              <a:gd name="connsiteY150" fmla="*/ 391754 h 1656350"/>
              <a:gd name="connsiteX151" fmla="*/ 5685817 w 6955277"/>
              <a:gd name="connsiteY151" fmla="*/ 382027 h 1656350"/>
              <a:gd name="connsiteX152" fmla="*/ 5724728 w 6955277"/>
              <a:gd name="connsiteY152" fmla="*/ 377163 h 1656350"/>
              <a:gd name="connsiteX153" fmla="*/ 5729592 w 6955277"/>
              <a:gd name="connsiteY153" fmla="*/ 362571 h 1656350"/>
              <a:gd name="connsiteX154" fmla="*/ 5744183 w 6955277"/>
              <a:gd name="connsiteY154" fmla="*/ 357707 h 1656350"/>
              <a:gd name="connsiteX155" fmla="*/ 5783094 w 6955277"/>
              <a:gd name="connsiteY155" fmla="*/ 352844 h 1656350"/>
              <a:gd name="connsiteX156" fmla="*/ 5812277 w 6955277"/>
              <a:gd name="connsiteY156" fmla="*/ 338252 h 1656350"/>
              <a:gd name="connsiteX157" fmla="*/ 5841460 w 6955277"/>
              <a:gd name="connsiteY157" fmla="*/ 328524 h 1656350"/>
              <a:gd name="connsiteX158" fmla="*/ 5885234 w 6955277"/>
              <a:gd name="connsiteY158" fmla="*/ 318797 h 1656350"/>
              <a:gd name="connsiteX159" fmla="*/ 5899826 w 6955277"/>
              <a:gd name="connsiteY159" fmla="*/ 309069 h 1656350"/>
              <a:gd name="connsiteX160" fmla="*/ 5997102 w 6955277"/>
              <a:gd name="connsiteY160" fmla="*/ 299341 h 1656350"/>
              <a:gd name="connsiteX161" fmla="*/ 6040877 w 6955277"/>
              <a:gd name="connsiteY161" fmla="*/ 284750 h 1656350"/>
              <a:gd name="connsiteX162" fmla="*/ 6055468 w 6955277"/>
              <a:gd name="connsiteY162" fmla="*/ 275022 h 1656350"/>
              <a:gd name="connsiteX163" fmla="*/ 6079788 w 6955277"/>
              <a:gd name="connsiteY163" fmla="*/ 270159 h 1656350"/>
              <a:gd name="connsiteX164" fmla="*/ 6128426 w 6955277"/>
              <a:gd name="connsiteY164" fmla="*/ 265295 h 1656350"/>
              <a:gd name="connsiteX165" fmla="*/ 6167336 w 6955277"/>
              <a:gd name="connsiteY165" fmla="*/ 260431 h 1656350"/>
              <a:gd name="connsiteX166" fmla="*/ 6206247 w 6955277"/>
              <a:gd name="connsiteY166" fmla="*/ 250703 h 1656350"/>
              <a:gd name="connsiteX167" fmla="*/ 6220839 w 6955277"/>
              <a:gd name="connsiteY167" fmla="*/ 240976 h 1656350"/>
              <a:gd name="connsiteX168" fmla="*/ 6274341 w 6955277"/>
              <a:gd name="connsiteY168" fmla="*/ 236112 h 1656350"/>
              <a:gd name="connsiteX169" fmla="*/ 6395936 w 6955277"/>
              <a:gd name="connsiteY169" fmla="*/ 221520 h 1656350"/>
              <a:gd name="connsiteX170" fmla="*/ 6410528 w 6955277"/>
              <a:gd name="connsiteY170" fmla="*/ 192337 h 1656350"/>
              <a:gd name="connsiteX171" fmla="*/ 6439711 w 6955277"/>
              <a:gd name="connsiteY171" fmla="*/ 187473 h 1656350"/>
              <a:gd name="connsiteX172" fmla="*/ 6488349 w 6955277"/>
              <a:gd name="connsiteY172" fmla="*/ 182610 h 1656350"/>
              <a:gd name="connsiteX173" fmla="*/ 6507805 w 6955277"/>
              <a:gd name="connsiteY173" fmla="*/ 177746 h 1656350"/>
              <a:gd name="connsiteX174" fmla="*/ 6522396 w 6955277"/>
              <a:gd name="connsiteY174" fmla="*/ 172882 h 1656350"/>
              <a:gd name="connsiteX175" fmla="*/ 6561307 w 6955277"/>
              <a:gd name="connsiteY175" fmla="*/ 163154 h 1656350"/>
              <a:gd name="connsiteX176" fmla="*/ 6566171 w 6955277"/>
              <a:gd name="connsiteY176" fmla="*/ 148563 h 1656350"/>
              <a:gd name="connsiteX177" fmla="*/ 6580762 w 6955277"/>
              <a:gd name="connsiteY177" fmla="*/ 143699 h 1656350"/>
              <a:gd name="connsiteX178" fmla="*/ 6605081 w 6955277"/>
              <a:gd name="connsiteY178" fmla="*/ 138835 h 1656350"/>
              <a:gd name="connsiteX179" fmla="*/ 6639128 w 6955277"/>
              <a:gd name="connsiteY179" fmla="*/ 119380 h 1656350"/>
              <a:gd name="connsiteX180" fmla="*/ 6643992 w 6955277"/>
              <a:gd name="connsiteY180" fmla="*/ 99924 h 1656350"/>
              <a:gd name="connsiteX181" fmla="*/ 6780179 w 6955277"/>
              <a:gd name="connsiteY181" fmla="*/ 99924 h 1656350"/>
              <a:gd name="connsiteX182" fmla="*/ 6785043 w 6955277"/>
              <a:gd name="connsiteY182" fmla="*/ 65878 h 1656350"/>
              <a:gd name="connsiteX183" fmla="*/ 6809362 w 6955277"/>
              <a:gd name="connsiteY183" fmla="*/ 61014 h 1656350"/>
              <a:gd name="connsiteX184" fmla="*/ 6828817 w 6955277"/>
              <a:gd name="connsiteY184" fmla="*/ 56150 h 1656350"/>
              <a:gd name="connsiteX185" fmla="*/ 6955277 w 6955277"/>
              <a:gd name="connsiteY185" fmla="*/ 2647 h 1656350"/>
              <a:gd name="connsiteX0" fmla="*/ 0 w 6955277"/>
              <a:gd name="connsiteY0" fmla="*/ 1656350 h 1656350"/>
              <a:gd name="connsiteX1" fmla="*/ 48639 w 6955277"/>
              <a:gd name="connsiteY1" fmla="*/ 1646622 h 1656350"/>
              <a:gd name="connsiteX2" fmla="*/ 77822 w 6955277"/>
              <a:gd name="connsiteY2" fmla="*/ 1632031 h 1656350"/>
              <a:gd name="connsiteX3" fmla="*/ 141051 w 6955277"/>
              <a:gd name="connsiteY3" fmla="*/ 1627167 h 1656350"/>
              <a:gd name="connsiteX4" fmla="*/ 170234 w 6955277"/>
              <a:gd name="connsiteY4" fmla="*/ 1602848 h 1656350"/>
              <a:gd name="connsiteX5" fmla="*/ 184826 w 6955277"/>
              <a:gd name="connsiteY5" fmla="*/ 1593120 h 1656350"/>
              <a:gd name="connsiteX6" fmla="*/ 238328 w 6955277"/>
              <a:gd name="connsiteY6" fmla="*/ 1593120 h 1656350"/>
              <a:gd name="connsiteX7" fmla="*/ 252919 w 6955277"/>
              <a:gd name="connsiteY7" fmla="*/ 1583393 h 1656350"/>
              <a:gd name="connsiteX8" fmla="*/ 301558 w 6955277"/>
              <a:gd name="connsiteY8" fmla="*/ 1578529 h 1656350"/>
              <a:gd name="connsiteX9" fmla="*/ 321013 w 6955277"/>
              <a:gd name="connsiteY9" fmla="*/ 1568801 h 1656350"/>
              <a:gd name="connsiteX10" fmla="*/ 369651 w 6955277"/>
              <a:gd name="connsiteY10" fmla="*/ 1549346 h 1656350"/>
              <a:gd name="connsiteX11" fmla="*/ 418290 w 6955277"/>
              <a:gd name="connsiteY11" fmla="*/ 1549346 h 1656350"/>
              <a:gd name="connsiteX12" fmla="*/ 432881 w 6955277"/>
              <a:gd name="connsiteY12" fmla="*/ 1534754 h 1656350"/>
              <a:gd name="connsiteX13" fmla="*/ 447473 w 6955277"/>
              <a:gd name="connsiteY13" fmla="*/ 1529890 h 1656350"/>
              <a:gd name="connsiteX14" fmla="*/ 515566 w 6955277"/>
              <a:gd name="connsiteY14" fmla="*/ 1529890 h 1656350"/>
              <a:gd name="connsiteX15" fmla="*/ 520430 w 6955277"/>
              <a:gd name="connsiteY15" fmla="*/ 1510435 h 1656350"/>
              <a:gd name="connsiteX16" fmla="*/ 612843 w 6955277"/>
              <a:gd name="connsiteY16" fmla="*/ 1510435 h 1656350"/>
              <a:gd name="connsiteX17" fmla="*/ 617707 w 6955277"/>
              <a:gd name="connsiteY17" fmla="*/ 1495844 h 1656350"/>
              <a:gd name="connsiteX18" fmla="*/ 666345 w 6955277"/>
              <a:gd name="connsiteY18" fmla="*/ 1490980 h 1656350"/>
              <a:gd name="connsiteX19" fmla="*/ 695528 w 6955277"/>
              <a:gd name="connsiteY19" fmla="*/ 1495844 h 1656350"/>
              <a:gd name="connsiteX20" fmla="*/ 753894 w 6955277"/>
              <a:gd name="connsiteY20" fmla="*/ 1486116 h 1656350"/>
              <a:gd name="connsiteX21" fmla="*/ 787941 w 6955277"/>
              <a:gd name="connsiteY21" fmla="*/ 1481252 h 1656350"/>
              <a:gd name="connsiteX22" fmla="*/ 792805 w 6955277"/>
              <a:gd name="connsiteY22" fmla="*/ 1466661 h 1656350"/>
              <a:gd name="connsiteX23" fmla="*/ 836579 w 6955277"/>
              <a:gd name="connsiteY23" fmla="*/ 1461797 h 1656350"/>
              <a:gd name="connsiteX24" fmla="*/ 851171 w 6955277"/>
              <a:gd name="connsiteY24" fmla="*/ 1456933 h 1656350"/>
              <a:gd name="connsiteX25" fmla="*/ 875490 w 6955277"/>
              <a:gd name="connsiteY25" fmla="*/ 1452069 h 1656350"/>
              <a:gd name="connsiteX26" fmla="*/ 894945 w 6955277"/>
              <a:gd name="connsiteY26" fmla="*/ 1447205 h 1656350"/>
              <a:gd name="connsiteX27" fmla="*/ 924128 w 6955277"/>
              <a:gd name="connsiteY27" fmla="*/ 1437478 h 1656350"/>
              <a:gd name="connsiteX28" fmla="*/ 933856 w 6955277"/>
              <a:gd name="connsiteY28" fmla="*/ 1422886 h 1656350"/>
              <a:gd name="connsiteX29" fmla="*/ 982494 w 6955277"/>
              <a:gd name="connsiteY29" fmla="*/ 1418022 h 1656350"/>
              <a:gd name="connsiteX30" fmla="*/ 997085 w 6955277"/>
              <a:gd name="connsiteY30" fmla="*/ 1413159 h 1656350"/>
              <a:gd name="connsiteX31" fmla="*/ 1011677 w 6955277"/>
              <a:gd name="connsiteY31" fmla="*/ 1403431 h 1656350"/>
              <a:gd name="connsiteX32" fmla="*/ 1118681 w 6955277"/>
              <a:gd name="connsiteY32" fmla="*/ 1398567 h 1656350"/>
              <a:gd name="connsiteX33" fmla="*/ 1147864 w 6955277"/>
              <a:gd name="connsiteY33" fmla="*/ 1388839 h 1656350"/>
              <a:gd name="connsiteX34" fmla="*/ 1240277 w 6955277"/>
              <a:gd name="connsiteY34" fmla="*/ 1374248 h 1656350"/>
              <a:gd name="connsiteX35" fmla="*/ 1269460 w 6955277"/>
              <a:gd name="connsiteY35" fmla="*/ 1364520 h 1656350"/>
              <a:gd name="connsiteX36" fmla="*/ 1303507 w 6955277"/>
              <a:gd name="connsiteY36" fmla="*/ 1354793 h 1656350"/>
              <a:gd name="connsiteX37" fmla="*/ 1332690 w 6955277"/>
              <a:gd name="connsiteY37" fmla="*/ 1340201 h 1656350"/>
              <a:gd name="connsiteX38" fmla="*/ 1400783 w 6955277"/>
              <a:gd name="connsiteY38" fmla="*/ 1330473 h 1656350"/>
              <a:gd name="connsiteX39" fmla="*/ 1429966 w 6955277"/>
              <a:gd name="connsiteY39" fmla="*/ 1320746 h 1656350"/>
              <a:gd name="connsiteX40" fmla="*/ 1444558 w 6955277"/>
              <a:gd name="connsiteY40" fmla="*/ 1315882 h 1656350"/>
              <a:gd name="connsiteX41" fmla="*/ 1532107 w 6955277"/>
              <a:gd name="connsiteY41" fmla="*/ 1301290 h 1656350"/>
              <a:gd name="connsiteX42" fmla="*/ 1561290 w 6955277"/>
              <a:gd name="connsiteY42" fmla="*/ 1291563 h 1656350"/>
              <a:gd name="connsiteX43" fmla="*/ 1600200 w 6955277"/>
              <a:gd name="connsiteY43" fmla="*/ 1286699 h 1656350"/>
              <a:gd name="connsiteX44" fmla="*/ 1634247 w 6955277"/>
              <a:gd name="connsiteY44" fmla="*/ 1281835 h 1656350"/>
              <a:gd name="connsiteX45" fmla="*/ 1697477 w 6955277"/>
              <a:gd name="connsiteY45" fmla="*/ 1272107 h 1656350"/>
              <a:gd name="connsiteX46" fmla="*/ 1712068 w 6955277"/>
              <a:gd name="connsiteY46" fmla="*/ 1262380 h 1656350"/>
              <a:gd name="connsiteX47" fmla="*/ 1736388 w 6955277"/>
              <a:gd name="connsiteY47" fmla="*/ 1257516 h 1656350"/>
              <a:gd name="connsiteX48" fmla="*/ 1823936 w 6955277"/>
              <a:gd name="connsiteY48" fmla="*/ 1252652 h 1656350"/>
              <a:gd name="connsiteX49" fmla="*/ 1828800 w 6955277"/>
              <a:gd name="connsiteY49" fmla="*/ 1228333 h 1656350"/>
              <a:gd name="connsiteX50" fmla="*/ 1843392 w 6955277"/>
              <a:gd name="connsiteY50" fmla="*/ 1223469 h 1656350"/>
              <a:gd name="connsiteX51" fmla="*/ 1867711 w 6955277"/>
              <a:gd name="connsiteY51" fmla="*/ 1218605 h 1656350"/>
              <a:gd name="connsiteX52" fmla="*/ 1945532 w 6955277"/>
              <a:gd name="connsiteY52" fmla="*/ 1213741 h 1656350"/>
              <a:gd name="connsiteX53" fmla="*/ 2033081 w 6955277"/>
              <a:gd name="connsiteY53" fmla="*/ 1208878 h 1656350"/>
              <a:gd name="connsiteX54" fmla="*/ 2091447 w 6955277"/>
              <a:gd name="connsiteY54" fmla="*/ 1189422 h 1656350"/>
              <a:gd name="connsiteX55" fmla="*/ 2106039 w 6955277"/>
              <a:gd name="connsiteY55" fmla="*/ 1179695 h 1656350"/>
              <a:gd name="connsiteX56" fmla="*/ 2140085 w 6955277"/>
              <a:gd name="connsiteY56" fmla="*/ 1174831 h 1656350"/>
              <a:gd name="connsiteX57" fmla="*/ 2188724 w 6955277"/>
              <a:gd name="connsiteY57" fmla="*/ 1160239 h 1656350"/>
              <a:gd name="connsiteX58" fmla="*/ 2222771 w 6955277"/>
              <a:gd name="connsiteY58" fmla="*/ 1155376 h 1656350"/>
              <a:gd name="connsiteX59" fmla="*/ 2237362 w 6955277"/>
              <a:gd name="connsiteY59" fmla="*/ 1150512 h 1656350"/>
              <a:gd name="connsiteX60" fmla="*/ 2305456 w 6955277"/>
              <a:gd name="connsiteY60" fmla="*/ 1140784 h 1656350"/>
              <a:gd name="connsiteX61" fmla="*/ 2349230 w 6955277"/>
              <a:gd name="connsiteY61" fmla="*/ 1131056 h 1656350"/>
              <a:gd name="connsiteX62" fmla="*/ 2363822 w 6955277"/>
              <a:gd name="connsiteY62" fmla="*/ 1126193 h 1656350"/>
              <a:gd name="connsiteX63" fmla="*/ 2431915 w 6955277"/>
              <a:gd name="connsiteY63" fmla="*/ 1116465 h 1656350"/>
              <a:gd name="connsiteX64" fmla="*/ 2436779 w 6955277"/>
              <a:gd name="connsiteY64" fmla="*/ 1101873 h 1656350"/>
              <a:gd name="connsiteX65" fmla="*/ 2465962 w 6955277"/>
              <a:gd name="connsiteY65" fmla="*/ 1092146 h 1656350"/>
              <a:gd name="connsiteX66" fmla="*/ 2572966 w 6955277"/>
              <a:gd name="connsiteY66" fmla="*/ 1092146 h 1656350"/>
              <a:gd name="connsiteX67" fmla="*/ 2587558 w 6955277"/>
              <a:gd name="connsiteY67" fmla="*/ 1082418 h 1656350"/>
              <a:gd name="connsiteX68" fmla="*/ 2602149 w 6955277"/>
              <a:gd name="connsiteY68" fmla="*/ 1077554 h 1656350"/>
              <a:gd name="connsiteX69" fmla="*/ 2616741 w 6955277"/>
              <a:gd name="connsiteY69" fmla="*/ 1067827 h 1656350"/>
              <a:gd name="connsiteX70" fmla="*/ 2645924 w 6955277"/>
              <a:gd name="connsiteY70" fmla="*/ 1062963 h 1656350"/>
              <a:gd name="connsiteX71" fmla="*/ 2704290 w 6955277"/>
              <a:gd name="connsiteY71" fmla="*/ 1043507 h 1656350"/>
              <a:gd name="connsiteX72" fmla="*/ 2718881 w 6955277"/>
              <a:gd name="connsiteY72" fmla="*/ 1038644 h 1656350"/>
              <a:gd name="connsiteX73" fmla="*/ 2733473 w 6955277"/>
              <a:gd name="connsiteY73" fmla="*/ 1033780 h 1656350"/>
              <a:gd name="connsiteX74" fmla="*/ 2752928 w 6955277"/>
              <a:gd name="connsiteY74" fmla="*/ 1028916 h 1656350"/>
              <a:gd name="connsiteX75" fmla="*/ 2777247 w 6955277"/>
              <a:gd name="connsiteY75" fmla="*/ 1024052 h 1656350"/>
              <a:gd name="connsiteX76" fmla="*/ 2830749 w 6955277"/>
              <a:gd name="connsiteY76" fmla="*/ 1019188 h 1656350"/>
              <a:gd name="connsiteX77" fmla="*/ 2864796 w 6955277"/>
              <a:gd name="connsiteY77" fmla="*/ 1014324 h 1656350"/>
              <a:gd name="connsiteX78" fmla="*/ 2879388 w 6955277"/>
              <a:gd name="connsiteY78" fmla="*/ 1009461 h 1656350"/>
              <a:gd name="connsiteX79" fmla="*/ 2898843 w 6955277"/>
              <a:gd name="connsiteY79" fmla="*/ 1004597 h 1656350"/>
              <a:gd name="connsiteX80" fmla="*/ 2913434 w 6955277"/>
              <a:gd name="connsiteY80" fmla="*/ 994869 h 1656350"/>
              <a:gd name="connsiteX81" fmla="*/ 2981528 w 6955277"/>
              <a:gd name="connsiteY81" fmla="*/ 985141 h 1656350"/>
              <a:gd name="connsiteX82" fmla="*/ 2986392 w 6955277"/>
              <a:gd name="connsiteY82" fmla="*/ 970550 h 1656350"/>
              <a:gd name="connsiteX83" fmla="*/ 3059349 w 6955277"/>
              <a:gd name="connsiteY83" fmla="*/ 965686 h 1656350"/>
              <a:gd name="connsiteX84" fmla="*/ 3107988 w 6955277"/>
              <a:gd name="connsiteY84" fmla="*/ 960822 h 1656350"/>
              <a:gd name="connsiteX85" fmla="*/ 3185809 w 6955277"/>
              <a:gd name="connsiteY85" fmla="*/ 951095 h 1656350"/>
              <a:gd name="connsiteX86" fmla="*/ 3229583 w 6955277"/>
              <a:gd name="connsiteY86" fmla="*/ 946231 h 1656350"/>
              <a:gd name="connsiteX87" fmla="*/ 3263630 w 6955277"/>
              <a:gd name="connsiteY87" fmla="*/ 936503 h 1656350"/>
              <a:gd name="connsiteX88" fmla="*/ 3302541 w 6955277"/>
              <a:gd name="connsiteY88" fmla="*/ 931639 h 1656350"/>
              <a:gd name="connsiteX89" fmla="*/ 3317132 w 6955277"/>
              <a:gd name="connsiteY89" fmla="*/ 926776 h 1656350"/>
              <a:gd name="connsiteX90" fmla="*/ 3321996 w 6955277"/>
              <a:gd name="connsiteY90" fmla="*/ 912184 h 1656350"/>
              <a:gd name="connsiteX91" fmla="*/ 3433864 w 6955277"/>
              <a:gd name="connsiteY91" fmla="*/ 907320 h 1656350"/>
              <a:gd name="connsiteX92" fmla="*/ 3438728 w 6955277"/>
              <a:gd name="connsiteY92" fmla="*/ 892729 h 1656350"/>
              <a:gd name="connsiteX93" fmla="*/ 3453319 w 6955277"/>
              <a:gd name="connsiteY93" fmla="*/ 883001 h 1656350"/>
              <a:gd name="connsiteX94" fmla="*/ 3540868 w 6955277"/>
              <a:gd name="connsiteY94" fmla="*/ 878137 h 1656350"/>
              <a:gd name="connsiteX95" fmla="*/ 3560324 w 6955277"/>
              <a:gd name="connsiteY95" fmla="*/ 873273 h 1656350"/>
              <a:gd name="connsiteX96" fmla="*/ 3589507 w 6955277"/>
              <a:gd name="connsiteY96" fmla="*/ 863546 h 1656350"/>
              <a:gd name="connsiteX97" fmla="*/ 3618690 w 6955277"/>
              <a:gd name="connsiteY97" fmla="*/ 858682 h 1656350"/>
              <a:gd name="connsiteX98" fmla="*/ 3715966 w 6955277"/>
              <a:gd name="connsiteY98" fmla="*/ 844090 h 1656350"/>
              <a:gd name="connsiteX99" fmla="*/ 3745149 w 6955277"/>
              <a:gd name="connsiteY99" fmla="*/ 834363 h 1656350"/>
              <a:gd name="connsiteX100" fmla="*/ 3750013 w 6955277"/>
              <a:gd name="connsiteY100" fmla="*/ 819771 h 1656350"/>
              <a:gd name="connsiteX101" fmla="*/ 3764605 w 6955277"/>
              <a:gd name="connsiteY101" fmla="*/ 814907 h 1656350"/>
              <a:gd name="connsiteX102" fmla="*/ 3798651 w 6955277"/>
              <a:gd name="connsiteY102" fmla="*/ 810044 h 1656350"/>
              <a:gd name="connsiteX103" fmla="*/ 3822971 w 6955277"/>
              <a:gd name="connsiteY103" fmla="*/ 805180 h 1656350"/>
              <a:gd name="connsiteX104" fmla="*/ 3852154 w 6955277"/>
              <a:gd name="connsiteY104" fmla="*/ 795452 h 1656350"/>
              <a:gd name="connsiteX105" fmla="*/ 3915383 w 6955277"/>
              <a:gd name="connsiteY105" fmla="*/ 790588 h 1656350"/>
              <a:gd name="connsiteX106" fmla="*/ 3959158 w 6955277"/>
              <a:gd name="connsiteY106" fmla="*/ 785724 h 1656350"/>
              <a:gd name="connsiteX107" fmla="*/ 3964022 w 6955277"/>
              <a:gd name="connsiteY107" fmla="*/ 771133 h 1656350"/>
              <a:gd name="connsiteX108" fmla="*/ 3993205 w 6955277"/>
              <a:gd name="connsiteY108" fmla="*/ 761405 h 1656350"/>
              <a:gd name="connsiteX109" fmla="*/ 4017524 w 6955277"/>
              <a:gd name="connsiteY109" fmla="*/ 756541 h 1656350"/>
              <a:gd name="connsiteX110" fmla="*/ 4036979 w 6955277"/>
              <a:gd name="connsiteY110" fmla="*/ 751678 h 1656350"/>
              <a:gd name="connsiteX111" fmla="*/ 4075890 w 6955277"/>
              <a:gd name="connsiteY111" fmla="*/ 746814 h 1656350"/>
              <a:gd name="connsiteX112" fmla="*/ 4095345 w 6955277"/>
              <a:gd name="connsiteY112" fmla="*/ 741950 h 1656350"/>
              <a:gd name="connsiteX113" fmla="*/ 4158575 w 6955277"/>
              <a:gd name="connsiteY113" fmla="*/ 727359 h 1656350"/>
              <a:gd name="connsiteX114" fmla="*/ 4173166 w 6955277"/>
              <a:gd name="connsiteY114" fmla="*/ 722495 h 1656350"/>
              <a:gd name="connsiteX115" fmla="*/ 4187758 w 6955277"/>
              <a:gd name="connsiteY115" fmla="*/ 712767 h 1656350"/>
              <a:gd name="connsiteX116" fmla="*/ 4265579 w 6955277"/>
              <a:gd name="connsiteY116" fmla="*/ 707903 h 1656350"/>
              <a:gd name="connsiteX117" fmla="*/ 4275307 w 6955277"/>
              <a:gd name="connsiteY117" fmla="*/ 693312 h 1656350"/>
              <a:gd name="connsiteX118" fmla="*/ 4421222 w 6955277"/>
              <a:gd name="connsiteY118" fmla="*/ 678720 h 1656350"/>
              <a:gd name="connsiteX119" fmla="*/ 4440677 w 6955277"/>
              <a:gd name="connsiteY119" fmla="*/ 668993 h 1656350"/>
              <a:gd name="connsiteX120" fmla="*/ 4557409 w 6955277"/>
              <a:gd name="connsiteY120" fmla="*/ 659265 h 1656350"/>
              <a:gd name="connsiteX121" fmla="*/ 4567136 w 6955277"/>
              <a:gd name="connsiteY121" fmla="*/ 644673 h 1656350"/>
              <a:gd name="connsiteX122" fmla="*/ 4581728 w 6955277"/>
              <a:gd name="connsiteY122" fmla="*/ 639810 h 1656350"/>
              <a:gd name="connsiteX123" fmla="*/ 4635230 w 6955277"/>
              <a:gd name="connsiteY123" fmla="*/ 634946 h 1656350"/>
              <a:gd name="connsiteX124" fmla="*/ 4669277 w 6955277"/>
              <a:gd name="connsiteY124" fmla="*/ 630082 h 1656350"/>
              <a:gd name="connsiteX125" fmla="*/ 4703324 w 6955277"/>
              <a:gd name="connsiteY125" fmla="*/ 610627 h 1656350"/>
              <a:gd name="connsiteX126" fmla="*/ 4732507 w 6955277"/>
              <a:gd name="connsiteY126" fmla="*/ 605763 h 1656350"/>
              <a:gd name="connsiteX127" fmla="*/ 4790873 w 6955277"/>
              <a:gd name="connsiteY127" fmla="*/ 591171 h 1656350"/>
              <a:gd name="connsiteX128" fmla="*/ 4844375 w 6955277"/>
              <a:gd name="connsiteY128" fmla="*/ 581444 h 1656350"/>
              <a:gd name="connsiteX129" fmla="*/ 4917332 w 6955277"/>
              <a:gd name="connsiteY129" fmla="*/ 571716 h 1656350"/>
              <a:gd name="connsiteX130" fmla="*/ 4990290 w 6955277"/>
              <a:gd name="connsiteY130" fmla="*/ 552261 h 1656350"/>
              <a:gd name="connsiteX131" fmla="*/ 5009745 w 6955277"/>
              <a:gd name="connsiteY131" fmla="*/ 523078 h 1656350"/>
              <a:gd name="connsiteX132" fmla="*/ 5024336 w 6955277"/>
              <a:gd name="connsiteY132" fmla="*/ 513350 h 1656350"/>
              <a:gd name="connsiteX133" fmla="*/ 5058383 w 6955277"/>
              <a:gd name="connsiteY133" fmla="*/ 503622 h 1656350"/>
              <a:gd name="connsiteX134" fmla="*/ 5072975 w 6955277"/>
              <a:gd name="connsiteY134" fmla="*/ 498759 h 1656350"/>
              <a:gd name="connsiteX135" fmla="*/ 5087566 w 6955277"/>
              <a:gd name="connsiteY135" fmla="*/ 489031 h 1656350"/>
              <a:gd name="connsiteX136" fmla="*/ 5136205 w 6955277"/>
              <a:gd name="connsiteY136" fmla="*/ 474439 h 1656350"/>
              <a:gd name="connsiteX137" fmla="*/ 5150796 w 6955277"/>
              <a:gd name="connsiteY137" fmla="*/ 469576 h 1656350"/>
              <a:gd name="connsiteX138" fmla="*/ 5179979 w 6955277"/>
              <a:gd name="connsiteY138" fmla="*/ 464712 h 1656350"/>
              <a:gd name="connsiteX139" fmla="*/ 5194571 w 6955277"/>
              <a:gd name="connsiteY139" fmla="*/ 459848 h 1656350"/>
              <a:gd name="connsiteX140" fmla="*/ 5267528 w 6955277"/>
              <a:gd name="connsiteY140" fmla="*/ 454984 h 1656350"/>
              <a:gd name="connsiteX141" fmla="*/ 5301575 w 6955277"/>
              <a:gd name="connsiteY141" fmla="*/ 450120 h 1656350"/>
              <a:gd name="connsiteX142" fmla="*/ 5321030 w 6955277"/>
              <a:gd name="connsiteY142" fmla="*/ 445256 h 1656350"/>
              <a:gd name="connsiteX143" fmla="*/ 5369668 w 6955277"/>
              <a:gd name="connsiteY143" fmla="*/ 440393 h 1656350"/>
              <a:gd name="connsiteX144" fmla="*/ 5437762 w 6955277"/>
              <a:gd name="connsiteY144" fmla="*/ 430665 h 1656350"/>
              <a:gd name="connsiteX145" fmla="*/ 5466945 w 6955277"/>
              <a:gd name="connsiteY145" fmla="*/ 425801 h 1656350"/>
              <a:gd name="connsiteX146" fmla="*/ 5500992 w 6955277"/>
              <a:gd name="connsiteY146" fmla="*/ 416073 h 1656350"/>
              <a:gd name="connsiteX147" fmla="*/ 5515583 w 6955277"/>
              <a:gd name="connsiteY147" fmla="*/ 411210 h 1656350"/>
              <a:gd name="connsiteX148" fmla="*/ 5564222 w 6955277"/>
              <a:gd name="connsiteY148" fmla="*/ 411211 h 1656350"/>
              <a:gd name="connsiteX149" fmla="*/ 5637179 w 6955277"/>
              <a:gd name="connsiteY149" fmla="*/ 386891 h 1656350"/>
              <a:gd name="connsiteX150" fmla="*/ 5666362 w 6955277"/>
              <a:gd name="connsiteY150" fmla="*/ 391754 h 1656350"/>
              <a:gd name="connsiteX151" fmla="*/ 5685817 w 6955277"/>
              <a:gd name="connsiteY151" fmla="*/ 382027 h 1656350"/>
              <a:gd name="connsiteX152" fmla="*/ 5724728 w 6955277"/>
              <a:gd name="connsiteY152" fmla="*/ 377163 h 1656350"/>
              <a:gd name="connsiteX153" fmla="*/ 5729592 w 6955277"/>
              <a:gd name="connsiteY153" fmla="*/ 362571 h 1656350"/>
              <a:gd name="connsiteX154" fmla="*/ 5744183 w 6955277"/>
              <a:gd name="connsiteY154" fmla="*/ 357707 h 1656350"/>
              <a:gd name="connsiteX155" fmla="*/ 5783094 w 6955277"/>
              <a:gd name="connsiteY155" fmla="*/ 352844 h 1656350"/>
              <a:gd name="connsiteX156" fmla="*/ 5812277 w 6955277"/>
              <a:gd name="connsiteY156" fmla="*/ 338252 h 1656350"/>
              <a:gd name="connsiteX157" fmla="*/ 5841460 w 6955277"/>
              <a:gd name="connsiteY157" fmla="*/ 328524 h 1656350"/>
              <a:gd name="connsiteX158" fmla="*/ 5885234 w 6955277"/>
              <a:gd name="connsiteY158" fmla="*/ 318797 h 1656350"/>
              <a:gd name="connsiteX159" fmla="*/ 5899826 w 6955277"/>
              <a:gd name="connsiteY159" fmla="*/ 309069 h 1656350"/>
              <a:gd name="connsiteX160" fmla="*/ 5997102 w 6955277"/>
              <a:gd name="connsiteY160" fmla="*/ 299341 h 1656350"/>
              <a:gd name="connsiteX161" fmla="*/ 6040877 w 6955277"/>
              <a:gd name="connsiteY161" fmla="*/ 284750 h 1656350"/>
              <a:gd name="connsiteX162" fmla="*/ 6055468 w 6955277"/>
              <a:gd name="connsiteY162" fmla="*/ 275022 h 1656350"/>
              <a:gd name="connsiteX163" fmla="*/ 6079788 w 6955277"/>
              <a:gd name="connsiteY163" fmla="*/ 270159 h 1656350"/>
              <a:gd name="connsiteX164" fmla="*/ 6128426 w 6955277"/>
              <a:gd name="connsiteY164" fmla="*/ 265295 h 1656350"/>
              <a:gd name="connsiteX165" fmla="*/ 6167336 w 6955277"/>
              <a:gd name="connsiteY165" fmla="*/ 260431 h 1656350"/>
              <a:gd name="connsiteX166" fmla="*/ 6206247 w 6955277"/>
              <a:gd name="connsiteY166" fmla="*/ 250703 h 1656350"/>
              <a:gd name="connsiteX167" fmla="*/ 6220839 w 6955277"/>
              <a:gd name="connsiteY167" fmla="*/ 240976 h 1656350"/>
              <a:gd name="connsiteX168" fmla="*/ 6274341 w 6955277"/>
              <a:gd name="connsiteY168" fmla="*/ 236112 h 1656350"/>
              <a:gd name="connsiteX169" fmla="*/ 6395936 w 6955277"/>
              <a:gd name="connsiteY169" fmla="*/ 221520 h 1656350"/>
              <a:gd name="connsiteX170" fmla="*/ 6410528 w 6955277"/>
              <a:gd name="connsiteY170" fmla="*/ 192337 h 1656350"/>
              <a:gd name="connsiteX171" fmla="*/ 6439711 w 6955277"/>
              <a:gd name="connsiteY171" fmla="*/ 187473 h 1656350"/>
              <a:gd name="connsiteX172" fmla="*/ 6488349 w 6955277"/>
              <a:gd name="connsiteY172" fmla="*/ 182610 h 1656350"/>
              <a:gd name="connsiteX173" fmla="*/ 6507805 w 6955277"/>
              <a:gd name="connsiteY173" fmla="*/ 177746 h 1656350"/>
              <a:gd name="connsiteX174" fmla="*/ 6522396 w 6955277"/>
              <a:gd name="connsiteY174" fmla="*/ 172882 h 1656350"/>
              <a:gd name="connsiteX175" fmla="*/ 6561307 w 6955277"/>
              <a:gd name="connsiteY175" fmla="*/ 163154 h 1656350"/>
              <a:gd name="connsiteX176" fmla="*/ 6566171 w 6955277"/>
              <a:gd name="connsiteY176" fmla="*/ 148563 h 1656350"/>
              <a:gd name="connsiteX177" fmla="*/ 6580762 w 6955277"/>
              <a:gd name="connsiteY177" fmla="*/ 143699 h 1656350"/>
              <a:gd name="connsiteX178" fmla="*/ 6605081 w 6955277"/>
              <a:gd name="connsiteY178" fmla="*/ 138835 h 1656350"/>
              <a:gd name="connsiteX179" fmla="*/ 6639128 w 6955277"/>
              <a:gd name="connsiteY179" fmla="*/ 119380 h 1656350"/>
              <a:gd name="connsiteX180" fmla="*/ 6643992 w 6955277"/>
              <a:gd name="connsiteY180" fmla="*/ 99924 h 1656350"/>
              <a:gd name="connsiteX181" fmla="*/ 6780179 w 6955277"/>
              <a:gd name="connsiteY181" fmla="*/ 99924 h 1656350"/>
              <a:gd name="connsiteX182" fmla="*/ 6785043 w 6955277"/>
              <a:gd name="connsiteY182" fmla="*/ 65878 h 1656350"/>
              <a:gd name="connsiteX183" fmla="*/ 6809362 w 6955277"/>
              <a:gd name="connsiteY183" fmla="*/ 61014 h 1656350"/>
              <a:gd name="connsiteX184" fmla="*/ 6828817 w 6955277"/>
              <a:gd name="connsiteY184" fmla="*/ 56150 h 1656350"/>
              <a:gd name="connsiteX185" fmla="*/ 6955277 w 6955277"/>
              <a:gd name="connsiteY185" fmla="*/ 2647 h 1656350"/>
              <a:gd name="connsiteX0" fmla="*/ 0 w 6955277"/>
              <a:gd name="connsiteY0" fmla="*/ 1656350 h 1656350"/>
              <a:gd name="connsiteX1" fmla="*/ 48639 w 6955277"/>
              <a:gd name="connsiteY1" fmla="*/ 1646622 h 1656350"/>
              <a:gd name="connsiteX2" fmla="*/ 77822 w 6955277"/>
              <a:gd name="connsiteY2" fmla="*/ 1632031 h 1656350"/>
              <a:gd name="connsiteX3" fmla="*/ 141051 w 6955277"/>
              <a:gd name="connsiteY3" fmla="*/ 1627167 h 1656350"/>
              <a:gd name="connsiteX4" fmla="*/ 170234 w 6955277"/>
              <a:gd name="connsiteY4" fmla="*/ 1602848 h 1656350"/>
              <a:gd name="connsiteX5" fmla="*/ 184826 w 6955277"/>
              <a:gd name="connsiteY5" fmla="*/ 1593120 h 1656350"/>
              <a:gd name="connsiteX6" fmla="*/ 238328 w 6955277"/>
              <a:gd name="connsiteY6" fmla="*/ 1593120 h 1656350"/>
              <a:gd name="connsiteX7" fmla="*/ 252919 w 6955277"/>
              <a:gd name="connsiteY7" fmla="*/ 1583393 h 1656350"/>
              <a:gd name="connsiteX8" fmla="*/ 301558 w 6955277"/>
              <a:gd name="connsiteY8" fmla="*/ 1578529 h 1656350"/>
              <a:gd name="connsiteX9" fmla="*/ 321013 w 6955277"/>
              <a:gd name="connsiteY9" fmla="*/ 1568801 h 1656350"/>
              <a:gd name="connsiteX10" fmla="*/ 369651 w 6955277"/>
              <a:gd name="connsiteY10" fmla="*/ 1549346 h 1656350"/>
              <a:gd name="connsiteX11" fmla="*/ 418290 w 6955277"/>
              <a:gd name="connsiteY11" fmla="*/ 1549346 h 1656350"/>
              <a:gd name="connsiteX12" fmla="*/ 432881 w 6955277"/>
              <a:gd name="connsiteY12" fmla="*/ 1534754 h 1656350"/>
              <a:gd name="connsiteX13" fmla="*/ 447473 w 6955277"/>
              <a:gd name="connsiteY13" fmla="*/ 1529890 h 1656350"/>
              <a:gd name="connsiteX14" fmla="*/ 515566 w 6955277"/>
              <a:gd name="connsiteY14" fmla="*/ 1529890 h 1656350"/>
              <a:gd name="connsiteX15" fmla="*/ 520430 w 6955277"/>
              <a:gd name="connsiteY15" fmla="*/ 1510435 h 1656350"/>
              <a:gd name="connsiteX16" fmla="*/ 612843 w 6955277"/>
              <a:gd name="connsiteY16" fmla="*/ 1510435 h 1656350"/>
              <a:gd name="connsiteX17" fmla="*/ 617707 w 6955277"/>
              <a:gd name="connsiteY17" fmla="*/ 1495844 h 1656350"/>
              <a:gd name="connsiteX18" fmla="*/ 666345 w 6955277"/>
              <a:gd name="connsiteY18" fmla="*/ 1490980 h 1656350"/>
              <a:gd name="connsiteX19" fmla="*/ 695528 w 6955277"/>
              <a:gd name="connsiteY19" fmla="*/ 1495844 h 1656350"/>
              <a:gd name="connsiteX20" fmla="*/ 753894 w 6955277"/>
              <a:gd name="connsiteY20" fmla="*/ 1486116 h 1656350"/>
              <a:gd name="connsiteX21" fmla="*/ 787941 w 6955277"/>
              <a:gd name="connsiteY21" fmla="*/ 1481252 h 1656350"/>
              <a:gd name="connsiteX22" fmla="*/ 792805 w 6955277"/>
              <a:gd name="connsiteY22" fmla="*/ 1466661 h 1656350"/>
              <a:gd name="connsiteX23" fmla="*/ 836579 w 6955277"/>
              <a:gd name="connsiteY23" fmla="*/ 1461797 h 1656350"/>
              <a:gd name="connsiteX24" fmla="*/ 851171 w 6955277"/>
              <a:gd name="connsiteY24" fmla="*/ 1456933 h 1656350"/>
              <a:gd name="connsiteX25" fmla="*/ 875490 w 6955277"/>
              <a:gd name="connsiteY25" fmla="*/ 1452069 h 1656350"/>
              <a:gd name="connsiteX26" fmla="*/ 894945 w 6955277"/>
              <a:gd name="connsiteY26" fmla="*/ 1447205 h 1656350"/>
              <a:gd name="connsiteX27" fmla="*/ 924128 w 6955277"/>
              <a:gd name="connsiteY27" fmla="*/ 1437478 h 1656350"/>
              <a:gd name="connsiteX28" fmla="*/ 933856 w 6955277"/>
              <a:gd name="connsiteY28" fmla="*/ 1422886 h 1656350"/>
              <a:gd name="connsiteX29" fmla="*/ 982494 w 6955277"/>
              <a:gd name="connsiteY29" fmla="*/ 1418022 h 1656350"/>
              <a:gd name="connsiteX30" fmla="*/ 997085 w 6955277"/>
              <a:gd name="connsiteY30" fmla="*/ 1413159 h 1656350"/>
              <a:gd name="connsiteX31" fmla="*/ 1011677 w 6955277"/>
              <a:gd name="connsiteY31" fmla="*/ 1403431 h 1656350"/>
              <a:gd name="connsiteX32" fmla="*/ 1118681 w 6955277"/>
              <a:gd name="connsiteY32" fmla="*/ 1398567 h 1656350"/>
              <a:gd name="connsiteX33" fmla="*/ 1147864 w 6955277"/>
              <a:gd name="connsiteY33" fmla="*/ 1388839 h 1656350"/>
              <a:gd name="connsiteX34" fmla="*/ 1240277 w 6955277"/>
              <a:gd name="connsiteY34" fmla="*/ 1374248 h 1656350"/>
              <a:gd name="connsiteX35" fmla="*/ 1269460 w 6955277"/>
              <a:gd name="connsiteY35" fmla="*/ 1364520 h 1656350"/>
              <a:gd name="connsiteX36" fmla="*/ 1303507 w 6955277"/>
              <a:gd name="connsiteY36" fmla="*/ 1354793 h 1656350"/>
              <a:gd name="connsiteX37" fmla="*/ 1332690 w 6955277"/>
              <a:gd name="connsiteY37" fmla="*/ 1340201 h 1656350"/>
              <a:gd name="connsiteX38" fmla="*/ 1400783 w 6955277"/>
              <a:gd name="connsiteY38" fmla="*/ 1330473 h 1656350"/>
              <a:gd name="connsiteX39" fmla="*/ 1429966 w 6955277"/>
              <a:gd name="connsiteY39" fmla="*/ 1320746 h 1656350"/>
              <a:gd name="connsiteX40" fmla="*/ 1444558 w 6955277"/>
              <a:gd name="connsiteY40" fmla="*/ 1315882 h 1656350"/>
              <a:gd name="connsiteX41" fmla="*/ 1532107 w 6955277"/>
              <a:gd name="connsiteY41" fmla="*/ 1301290 h 1656350"/>
              <a:gd name="connsiteX42" fmla="*/ 1561290 w 6955277"/>
              <a:gd name="connsiteY42" fmla="*/ 1291563 h 1656350"/>
              <a:gd name="connsiteX43" fmla="*/ 1600200 w 6955277"/>
              <a:gd name="connsiteY43" fmla="*/ 1286699 h 1656350"/>
              <a:gd name="connsiteX44" fmla="*/ 1634247 w 6955277"/>
              <a:gd name="connsiteY44" fmla="*/ 1281835 h 1656350"/>
              <a:gd name="connsiteX45" fmla="*/ 1697477 w 6955277"/>
              <a:gd name="connsiteY45" fmla="*/ 1272107 h 1656350"/>
              <a:gd name="connsiteX46" fmla="*/ 1712068 w 6955277"/>
              <a:gd name="connsiteY46" fmla="*/ 1262380 h 1656350"/>
              <a:gd name="connsiteX47" fmla="*/ 1736388 w 6955277"/>
              <a:gd name="connsiteY47" fmla="*/ 1257516 h 1656350"/>
              <a:gd name="connsiteX48" fmla="*/ 1823936 w 6955277"/>
              <a:gd name="connsiteY48" fmla="*/ 1252652 h 1656350"/>
              <a:gd name="connsiteX49" fmla="*/ 1828800 w 6955277"/>
              <a:gd name="connsiteY49" fmla="*/ 1228333 h 1656350"/>
              <a:gd name="connsiteX50" fmla="*/ 1843392 w 6955277"/>
              <a:gd name="connsiteY50" fmla="*/ 1223469 h 1656350"/>
              <a:gd name="connsiteX51" fmla="*/ 1867711 w 6955277"/>
              <a:gd name="connsiteY51" fmla="*/ 1218605 h 1656350"/>
              <a:gd name="connsiteX52" fmla="*/ 1945532 w 6955277"/>
              <a:gd name="connsiteY52" fmla="*/ 1213741 h 1656350"/>
              <a:gd name="connsiteX53" fmla="*/ 2033081 w 6955277"/>
              <a:gd name="connsiteY53" fmla="*/ 1208878 h 1656350"/>
              <a:gd name="connsiteX54" fmla="*/ 2091447 w 6955277"/>
              <a:gd name="connsiteY54" fmla="*/ 1189422 h 1656350"/>
              <a:gd name="connsiteX55" fmla="*/ 2106039 w 6955277"/>
              <a:gd name="connsiteY55" fmla="*/ 1179695 h 1656350"/>
              <a:gd name="connsiteX56" fmla="*/ 2140085 w 6955277"/>
              <a:gd name="connsiteY56" fmla="*/ 1174831 h 1656350"/>
              <a:gd name="connsiteX57" fmla="*/ 2188724 w 6955277"/>
              <a:gd name="connsiteY57" fmla="*/ 1160239 h 1656350"/>
              <a:gd name="connsiteX58" fmla="*/ 2222771 w 6955277"/>
              <a:gd name="connsiteY58" fmla="*/ 1155376 h 1656350"/>
              <a:gd name="connsiteX59" fmla="*/ 2237362 w 6955277"/>
              <a:gd name="connsiteY59" fmla="*/ 1150512 h 1656350"/>
              <a:gd name="connsiteX60" fmla="*/ 2305456 w 6955277"/>
              <a:gd name="connsiteY60" fmla="*/ 1140784 h 1656350"/>
              <a:gd name="connsiteX61" fmla="*/ 2349230 w 6955277"/>
              <a:gd name="connsiteY61" fmla="*/ 1131056 h 1656350"/>
              <a:gd name="connsiteX62" fmla="*/ 2363822 w 6955277"/>
              <a:gd name="connsiteY62" fmla="*/ 1126193 h 1656350"/>
              <a:gd name="connsiteX63" fmla="*/ 2431915 w 6955277"/>
              <a:gd name="connsiteY63" fmla="*/ 1116465 h 1656350"/>
              <a:gd name="connsiteX64" fmla="*/ 2436779 w 6955277"/>
              <a:gd name="connsiteY64" fmla="*/ 1101873 h 1656350"/>
              <a:gd name="connsiteX65" fmla="*/ 2465962 w 6955277"/>
              <a:gd name="connsiteY65" fmla="*/ 1092146 h 1656350"/>
              <a:gd name="connsiteX66" fmla="*/ 2572966 w 6955277"/>
              <a:gd name="connsiteY66" fmla="*/ 1092146 h 1656350"/>
              <a:gd name="connsiteX67" fmla="*/ 2587558 w 6955277"/>
              <a:gd name="connsiteY67" fmla="*/ 1082418 h 1656350"/>
              <a:gd name="connsiteX68" fmla="*/ 2602149 w 6955277"/>
              <a:gd name="connsiteY68" fmla="*/ 1077554 h 1656350"/>
              <a:gd name="connsiteX69" fmla="*/ 2616741 w 6955277"/>
              <a:gd name="connsiteY69" fmla="*/ 1067827 h 1656350"/>
              <a:gd name="connsiteX70" fmla="*/ 2645924 w 6955277"/>
              <a:gd name="connsiteY70" fmla="*/ 1062963 h 1656350"/>
              <a:gd name="connsiteX71" fmla="*/ 2704290 w 6955277"/>
              <a:gd name="connsiteY71" fmla="*/ 1043507 h 1656350"/>
              <a:gd name="connsiteX72" fmla="*/ 2718881 w 6955277"/>
              <a:gd name="connsiteY72" fmla="*/ 1038644 h 1656350"/>
              <a:gd name="connsiteX73" fmla="*/ 2733473 w 6955277"/>
              <a:gd name="connsiteY73" fmla="*/ 1033780 h 1656350"/>
              <a:gd name="connsiteX74" fmla="*/ 2752928 w 6955277"/>
              <a:gd name="connsiteY74" fmla="*/ 1028916 h 1656350"/>
              <a:gd name="connsiteX75" fmla="*/ 2777247 w 6955277"/>
              <a:gd name="connsiteY75" fmla="*/ 1024052 h 1656350"/>
              <a:gd name="connsiteX76" fmla="*/ 2830749 w 6955277"/>
              <a:gd name="connsiteY76" fmla="*/ 1019188 h 1656350"/>
              <a:gd name="connsiteX77" fmla="*/ 2864796 w 6955277"/>
              <a:gd name="connsiteY77" fmla="*/ 1014324 h 1656350"/>
              <a:gd name="connsiteX78" fmla="*/ 2879388 w 6955277"/>
              <a:gd name="connsiteY78" fmla="*/ 1009461 h 1656350"/>
              <a:gd name="connsiteX79" fmla="*/ 2898843 w 6955277"/>
              <a:gd name="connsiteY79" fmla="*/ 1004597 h 1656350"/>
              <a:gd name="connsiteX80" fmla="*/ 2913434 w 6955277"/>
              <a:gd name="connsiteY80" fmla="*/ 994869 h 1656350"/>
              <a:gd name="connsiteX81" fmla="*/ 2981528 w 6955277"/>
              <a:gd name="connsiteY81" fmla="*/ 985141 h 1656350"/>
              <a:gd name="connsiteX82" fmla="*/ 2986392 w 6955277"/>
              <a:gd name="connsiteY82" fmla="*/ 970550 h 1656350"/>
              <a:gd name="connsiteX83" fmla="*/ 3059349 w 6955277"/>
              <a:gd name="connsiteY83" fmla="*/ 965686 h 1656350"/>
              <a:gd name="connsiteX84" fmla="*/ 3107988 w 6955277"/>
              <a:gd name="connsiteY84" fmla="*/ 960822 h 1656350"/>
              <a:gd name="connsiteX85" fmla="*/ 3185809 w 6955277"/>
              <a:gd name="connsiteY85" fmla="*/ 951095 h 1656350"/>
              <a:gd name="connsiteX86" fmla="*/ 3229583 w 6955277"/>
              <a:gd name="connsiteY86" fmla="*/ 946231 h 1656350"/>
              <a:gd name="connsiteX87" fmla="*/ 3263630 w 6955277"/>
              <a:gd name="connsiteY87" fmla="*/ 936503 h 1656350"/>
              <a:gd name="connsiteX88" fmla="*/ 3302541 w 6955277"/>
              <a:gd name="connsiteY88" fmla="*/ 931639 h 1656350"/>
              <a:gd name="connsiteX89" fmla="*/ 3317132 w 6955277"/>
              <a:gd name="connsiteY89" fmla="*/ 926776 h 1656350"/>
              <a:gd name="connsiteX90" fmla="*/ 3321996 w 6955277"/>
              <a:gd name="connsiteY90" fmla="*/ 912184 h 1656350"/>
              <a:gd name="connsiteX91" fmla="*/ 3433864 w 6955277"/>
              <a:gd name="connsiteY91" fmla="*/ 907320 h 1656350"/>
              <a:gd name="connsiteX92" fmla="*/ 3438728 w 6955277"/>
              <a:gd name="connsiteY92" fmla="*/ 892729 h 1656350"/>
              <a:gd name="connsiteX93" fmla="*/ 3453319 w 6955277"/>
              <a:gd name="connsiteY93" fmla="*/ 883001 h 1656350"/>
              <a:gd name="connsiteX94" fmla="*/ 3540868 w 6955277"/>
              <a:gd name="connsiteY94" fmla="*/ 878137 h 1656350"/>
              <a:gd name="connsiteX95" fmla="*/ 3560324 w 6955277"/>
              <a:gd name="connsiteY95" fmla="*/ 873273 h 1656350"/>
              <a:gd name="connsiteX96" fmla="*/ 3589507 w 6955277"/>
              <a:gd name="connsiteY96" fmla="*/ 863546 h 1656350"/>
              <a:gd name="connsiteX97" fmla="*/ 3618690 w 6955277"/>
              <a:gd name="connsiteY97" fmla="*/ 858682 h 1656350"/>
              <a:gd name="connsiteX98" fmla="*/ 3715966 w 6955277"/>
              <a:gd name="connsiteY98" fmla="*/ 844090 h 1656350"/>
              <a:gd name="connsiteX99" fmla="*/ 3745149 w 6955277"/>
              <a:gd name="connsiteY99" fmla="*/ 834363 h 1656350"/>
              <a:gd name="connsiteX100" fmla="*/ 3750013 w 6955277"/>
              <a:gd name="connsiteY100" fmla="*/ 819771 h 1656350"/>
              <a:gd name="connsiteX101" fmla="*/ 3764605 w 6955277"/>
              <a:gd name="connsiteY101" fmla="*/ 814907 h 1656350"/>
              <a:gd name="connsiteX102" fmla="*/ 3798651 w 6955277"/>
              <a:gd name="connsiteY102" fmla="*/ 810044 h 1656350"/>
              <a:gd name="connsiteX103" fmla="*/ 3822971 w 6955277"/>
              <a:gd name="connsiteY103" fmla="*/ 805180 h 1656350"/>
              <a:gd name="connsiteX104" fmla="*/ 3852154 w 6955277"/>
              <a:gd name="connsiteY104" fmla="*/ 795452 h 1656350"/>
              <a:gd name="connsiteX105" fmla="*/ 3915383 w 6955277"/>
              <a:gd name="connsiteY105" fmla="*/ 790588 h 1656350"/>
              <a:gd name="connsiteX106" fmla="*/ 3959158 w 6955277"/>
              <a:gd name="connsiteY106" fmla="*/ 785724 h 1656350"/>
              <a:gd name="connsiteX107" fmla="*/ 3964022 w 6955277"/>
              <a:gd name="connsiteY107" fmla="*/ 771133 h 1656350"/>
              <a:gd name="connsiteX108" fmla="*/ 3993205 w 6955277"/>
              <a:gd name="connsiteY108" fmla="*/ 761405 h 1656350"/>
              <a:gd name="connsiteX109" fmla="*/ 4017524 w 6955277"/>
              <a:gd name="connsiteY109" fmla="*/ 756541 h 1656350"/>
              <a:gd name="connsiteX110" fmla="*/ 4036979 w 6955277"/>
              <a:gd name="connsiteY110" fmla="*/ 751678 h 1656350"/>
              <a:gd name="connsiteX111" fmla="*/ 4075890 w 6955277"/>
              <a:gd name="connsiteY111" fmla="*/ 746814 h 1656350"/>
              <a:gd name="connsiteX112" fmla="*/ 4095345 w 6955277"/>
              <a:gd name="connsiteY112" fmla="*/ 741950 h 1656350"/>
              <a:gd name="connsiteX113" fmla="*/ 4158575 w 6955277"/>
              <a:gd name="connsiteY113" fmla="*/ 727359 h 1656350"/>
              <a:gd name="connsiteX114" fmla="*/ 4173166 w 6955277"/>
              <a:gd name="connsiteY114" fmla="*/ 722495 h 1656350"/>
              <a:gd name="connsiteX115" fmla="*/ 4187758 w 6955277"/>
              <a:gd name="connsiteY115" fmla="*/ 712767 h 1656350"/>
              <a:gd name="connsiteX116" fmla="*/ 4265579 w 6955277"/>
              <a:gd name="connsiteY116" fmla="*/ 707903 h 1656350"/>
              <a:gd name="connsiteX117" fmla="*/ 4275307 w 6955277"/>
              <a:gd name="connsiteY117" fmla="*/ 693312 h 1656350"/>
              <a:gd name="connsiteX118" fmla="*/ 4421222 w 6955277"/>
              <a:gd name="connsiteY118" fmla="*/ 678720 h 1656350"/>
              <a:gd name="connsiteX119" fmla="*/ 4440677 w 6955277"/>
              <a:gd name="connsiteY119" fmla="*/ 668993 h 1656350"/>
              <a:gd name="connsiteX120" fmla="*/ 4557409 w 6955277"/>
              <a:gd name="connsiteY120" fmla="*/ 659265 h 1656350"/>
              <a:gd name="connsiteX121" fmla="*/ 4567136 w 6955277"/>
              <a:gd name="connsiteY121" fmla="*/ 644673 h 1656350"/>
              <a:gd name="connsiteX122" fmla="*/ 4581728 w 6955277"/>
              <a:gd name="connsiteY122" fmla="*/ 639810 h 1656350"/>
              <a:gd name="connsiteX123" fmla="*/ 4635230 w 6955277"/>
              <a:gd name="connsiteY123" fmla="*/ 634946 h 1656350"/>
              <a:gd name="connsiteX124" fmla="*/ 4669277 w 6955277"/>
              <a:gd name="connsiteY124" fmla="*/ 630082 h 1656350"/>
              <a:gd name="connsiteX125" fmla="*/ 4703324 w 6955277"/>
              <a:gd name="connsiteY125" fmla="*/ 610627 h 1656350"/>
              <a:gd name="connsiteX126" fmla="*/ 4732507 w 6955277"/>
              <a:gd name="connsiteY126" fmla="*/ 605763 h 1656350"/>
              <a:gd name="connsiteX127" fmla="*/ 4790873 w 6955277"/>
              <a:gd name="connsiteY127" fmla="*/ 591171 h 1656350"/>
              <a:gd name="connsiteX128" fmla="*/ 4844375 w 6955277"/>
              <a:gd name="connsiteY128" fmla="*/ 581444 h 1656350"/>
              <a:gd name="connsiteX129" fmla="*/ 4917332 w 6955277"/>
              <a:gd name="connsiteY129" fmla="*/ 571716 h 1656350"/>
              <a:gd name="connsiteX130" fmla="*/ 4990290 w 6955277"/>
              <a:gd name="connsiteY130" fmla="*/ 552261 h 1656350"/>
              <a:gd name="connsiteX131" fmla="*/ 5009745 w 6955277"/>
              <a:gd name="connsiteY131" fmla="*/ 523078 h 1656350"/>
              <a:gd name="connsiteX132" fmla="*/ 5024336 w 6955277"/>
              <a:gd name="connsiteY132" fmla="*/ 513350 h 1656350"/>
              <a:gd name="connsiteX133" fmla="*/ 5058383 w 6955277"/>
              <a:gd name="connsiteY133" fmla="*/ 503622 h 1656350"/>
              <a:gd name="connsiteX134" fmla="*/ 5072975 w 6955277"/>
              <a:gd name="connsiteY134" fmla="*/ 498759 h 1656350"/>
              <a:gd name="connsiteX135" fmla="*/ 5087566 w 6955277"/>
              <a:gd name="connsiteY135" fmla="*/ 489031 h 1656350"/>
              <a:gd name="connsiteX136" fmla="*/ 5136205 w 6955277"/>
              <a:gd name="connsiteY136" fmla="*/ 474439 h 1656350"/>
              <a:gd name="connsiteX137" fmla="*/ 5150796 w 6955277"/>
              <a:gd name="connsiteY137" fmla="*/ 469576 h 1656350"/>
              <a:gd name="connsiteX138" fmla="*/ 5179979 w 6955277"/>
              <a:gd name="connsiteY138" fmla="*/ 464712 h 1656350"/>
              <a:gd name="connsiteX139" fmla="*/ 5194571 w 6955277"/>
              <a:gd name="connsiteY139" fmla="*/ 459848 h 1656350"/>
              <a:gd name="connsiteX140" fmla="*/ 5267528 w 6955277"/>
              <a:gd name="connsiteY140" fmla="*/ 454984 h 1656350"/>
              <a:gd name="connsiteX141" fmla="*/ 5301575 w 6955277"/>
              <a:gd name="connsiteY141" fmla="*/ 450120 h 1656350"/>
              <a:gd name="connsiteX142" fmla="*/ 5321030 w 6955277"/>
              <a:gd name="connsiteY142" fmla="*/ 445256 h 1656350"/>
              <a:gd name="connsiteX143" fmla="*/ 5369668 w 6955277"/>
              <a:gd name="connsiteY143" fmla="*/ 440393 h 1656350"/>
              <a:gd name="connsiteX144" fmla="*/ 5437762 w 6955277"/>
              <a:gd name="connsiteY144" fmla="*/ 430665 h 1656350"/>
              <a:gd name="connsiteX145" fmla="*/ 5466945 w 6955277"/>
              <a:gd name="connsiteY145" fmla="*/ 425801 h 1656350"/>
              <a:gd name="connsiteX146" fmla="*/ 5500992 w 6955277"/>
              <a:gd name="connsiteY146" fmla="*/ 416073 h 1656350"/>
              <a:gd name="connsiteX147" fmla="*/ 5515583 w 6955277"/>
              <a:gd name="connsiteY147" fmla="*/ 411210 h 1656350"/>
              <a:gd name="connsiteX148" fmla="*/ 5564222 w 6955277"/>
              <a:gd name="connsiteY148" fmla="*/ 411211 h 1656350"/>
              <a:gd name="connsiteX149" fmla="*/ 5637179 w 6955277"/>
              <a:gd name="connsiteY149" fmla="*/ 386891 h 1656350"/>
              <a:gd name="connsiteX150" fmla="*/ 5666362 w 6955277"/>
              <a:gd name="connsiteY150" fmla="*/ 391754 h 1656350"/>
              <a:gd name="connsiteX151" fmla="*/ 5685817 w 6955277"/>
              <a:gd name="connsiteY151" fmla="*/ 382027 h 1656350"/>
              <a:gd name="connsiteX152" fmla="*/ 5724728 w 6955277"/>
              <a:gd name="connsiteY152" fmla="*/ 377163 h 1656350"/>
              <a:gd name="connsiteX153" fmla="*/ 5729592 w 6955277"/>
              <a:gd name="connsiteY153" fmla="*/ 362571 h 1656350"/>
              <a:gd name="connsiteX154" fmla="*/ 5744183 w 6955277"/>
              <a:gd name="connsiteY154" fmla="*/ 357707 h 1656350"/>
              <a:gd name="connsiteX155" fmla="*/ 5783094 w 6955277"/>
              <a:gd name="connsiteY155" fmla="*/ 352844 h 1656350"/>
              <a:gd name="connsiteX156" fmla="*/ 5812277 w 6955277"/>
              <a:gd name="connsiteY156" fmla="*/ 338252 h 1656350"/>
              <a:gd name="connsiteX157" fmla="*/ 5841460 w 6955277"/>
              <a:gd name="connsiteY157" fmla="*/ 328524 h 1656350"/>
              <a:gd name="connsiteX158" fmla="*/ 5885234 w 6955277"/>
              <a:gd name="connsiteY158" fmla="*/ 318797 h 1656350"/>
              <a:gd name="connsiteX159" fmla="*/ 5899826 w 6955277"/>
              <a:gd name="connsiteY159" fmla="*/ 309069 h 1656350"/>
              <a:gd name="connsiteX160" fmla="*/ 5997102 w 6955277"/>
              <a:gd name="connsiteY160" fmla="*/ 299341 h 1656350"/>
              <a:gd name="connsiteX161" fmla="*/ 6040877 w 6955277"/>
              <a:gd name="connsiteY161" fmla="*/ 284750 h 1656350"/>
              <a:gd name="connsiteX162" fmla="*/ 6055468 w 6955277"/>
              <a:gd name="connsiteY162" fmla="*/ 275022 h 1656350"/>
              <a:gd name="connsiteX163" fmla="*/ 6079788 w 6955277"/>
              <a:gd name="connsiteY163" fmla="*/ 270159 h 1656350"/>
              <a:gd name="connsiteX164" fmla="*/ 6128426 w 6955277"/>
              <a:gd name="connsiteY164" fmla="*/ 265295 h 1656350"/>
              <a:gd name="connsiteX165" fmla="*/ 6167336 w 6955277"/>
              <a:gd name="connsiteY165" fmla="*/ 260431 h 1656350"/>
              <a:gd name="connsiteX166" fmla="*/ 6206247 w 6955277"/>
              <a:gd name="connsiteY166" fmla="*/ 250703 h 1656350"/>
              <a:gd name="connsiteX167" fmla="*/ 6220839 w 6955277"/>
              <a:gd name="connsiteY167" fmla="*/ 240976 h 1656350"/>
              <a:gd name="connsiteX168" fmla="*/ 6274341 w 6955277"/>
              <a:gd name="connsiteY168" fmla="*/ 236112 h 1656350"/>
              <a:gd name="connsiteX169" fmla="*/ 6395936 w 6955277"/>
              <a:gd name="connsiteY169" fmla="*/ 221520 h 1656350"/>
              <a:gd name="connsiteX170" fmla="*/ 6410528 w 6955277"/>
              <a:gd name="connsiteY170" fmla="*/ 192337 h 1656350"/>
              <a:gd name="connsiteX171" fmla="*/ 6439711 w 6955277"/>
              <a:gd name="connsiteY171" fmla="*/ 187473 h 1656350"/>
              <a:gd name="connsiteX172" fmla="*/ 6488349 w 6955277"/>
              <a:gd name="connsiteY172" fmla="*/ 182610 h 1656350"/>
              <a:gd name="connsiteX173" fmla="*/ 6507805 w 6955277"/>
              <a:gd name="connsiteY173" fmla="*/ 177746 h 1656350"/>
              <a:gd name="connsiteX174" fmla="*/ 6522396 w 6955277"/>
              <a:gd name="connsiteY174" fmla="*/ 172882 h 1656350"/>
              <a:gd name="connsiteX175" fmla="*/ 6561307 w 6955277"/>
              <a:gd name="connsiteY175" fmla="*/ 163154 h 1656350"/>
              <a:gd name="connsiteX176" fmla="*/ 6566171 w 6955277"/>
              <a:gd name="connsiteY176" fmla="*/ 148563 h 1656350"/>
              <a:gd name="connsiteX177" fmla="*/ 6580762 w 6955277"/>
              <a:gd name="connsiteY177" fmla="*/ 143699 h 1656350"/>
              <a:gd name="connsiteX178" fmla="*/ 6605081 w 6955277"/>
              <a:gd name="connsiteY178" fmla="*/ 138835 h 1656350"/>
              <a:gd name="connsiteX179" fmla="*/ 6639128 w 6955277"/>
              <a:gd name="connsiteY179" fmla="*/ 119380 h 1656350"/>
              <a:gd name="connsiteX180" fmla="*/ 6643992 w 6955277"/>
              <a:gd name="connsiteY180" fmla="*/ 99924 h 1656350"/>
              <a:gd name="connsiteX181" fmla="*/ 6780179 w 6955277"/>
              <a:gd name="connsiteY181" fmla="*/ 99924 h 1656350"/>
              <a:gd name="connsiteX182" fmla="*/ 6785043 w 6955277"/>
              <a:gd name="connsiteY182" fmla="*/ 65878 h 1656350"/>
              <a:gd name="connsiteX183" fmla="*/ 6809362 w 6955277"/>
              <a:gd name="connsiteY183" fmla="*/ 61014 h 1656350"/>
              <a:gd name="connsiteX184" fmla="*/ 6828817 w 6955277"/>
              <a:gd name="connsiteY184" fmla="*/ 56150 h 1656350"/>
              <a:gd name="connsiteX185" fmla="*/ 6955277 w 6955277"/>
              <a:gd name="connsiteY185" fmla="*/ 2647 h 1656350"/>
              <a:gd name="connsiteX0" fmla="*/ 0 w 6955277"/>
              <a:gd name="connsiteY0" fmla="*/ 1656350 h 1656350"/>
              <a:gd name="connsiteX1" fmla="*/ 48639 w 6955277"/>
              <a:gd name="connsiteY1" fmla="*/ 1646622 h 1656350"/>
              <a:gd name="connsiteX2" fmla="*/ 77822 w 6955277"/>
              <a:gd name="connsiteY2" fmla="*/ 1632031 h 1656350"/>
              <a:gd name="connsiteX3" fmla="*/ 141051 w 6955277"/>
              <a:gd name="connsiteY3" fmla="*/ 1627167 h 1656350"/>
              <a:gd name="connsiteX4" fmla="*/ 170234 w 6955277"/>
              <a:gd name="connsiteY4" fmla="*/ 1602848 h 1656350"/>
              <a:gd name="connsiteX5" fmla="*/ 184826 w 6955277"/>
              <a:gd name="connsiteY5" fmla="*/ 1593120 h 1656350"/>
              <a:gd name="connsiteX6" fmla="*/ 238328 w 6955277"/>
              <a:gd name="connsiteY6" fmla="*/ 1593120 h 1656350"/>
              <a:gd name="connsiteX7" fmla="*/ 252919 w 6955277"/>
              <a:gd name="connsiteY7" fmla="*/ 1583393 h 1656350"/>
              <a:gd name="connsiteX8" fmla="*/ 301558 w 6955277"/>
              <a:gd name="connsiteY8" fmla="*/ 1578529 h 1656350"/>
              <a:gd name="connsiteX9" fmla="*/ 321013 w 6955277"/>
              <a:gd name="connsiteY9" fmla="*/ 1568801 h 1656350"/>
              <a:gd name="connsiteX10" fmla="*/ 369651 w 6955277"/>
              <a:gd name="connsiteY10" fmla="*/ 1549346 h 1656350"/>
              <a:gd name="connsiteX11" fmla="*/ 418290 w 6955277"/>
              <a:gd name="connsiteY11" fmla="*/ 1549346 h 1656350"/>
              <a:gd name="connsiteX12" fmla="*/ 432881 w 6955277"/>
              <a:gd name="connsiteY12" fmla="*/ 1534754 h 1656350"/>
              <a:gd name="connsiteX13" fmla="*/ 447473 w 6955277"/>
              <a:gd name="connsiteY13" fmla="*/ 1529890 h 1656350"/>
              <a:gd name="connsiteX14" fmla="*/ 515566 w 6955277"/>
              <a:gd name="connsiteY14" fmla="*/ 1529890 h 1656350"/>
              <a:gd name="connsiteX15" fmla="*/ 520430 w 6955277"/>
              <a:gd name="connsiteY15" fmla="*/ 1510435 h 1656350"/>
              <a:gd name="connsiteX16" fmla="*/ 612843 w 6955277"/>
              <a:gd name="connsiteY16" fmla="*/ 1510435 h 1656350"/>
              <a:gd name="connsiteX17" fmla="*/ 617707 w 6955277"/>
              <a:gd name="connsiteY17" fmla="*/ 1495844 h 1656350"/>
              <a:gd name="connsiteX18" fmla="*/ 666345 w 6955277"/>
              <a:gd name="connsiteY18" fmla="*/ 1490980 h 1656350"/>
              <a:gd name="connsiteX19" fmla="*/ 695528 w 6955277"/>
              <a:gd name="connsiteY19" fmla="*/ 1495844 h 1656350"/>
              <a:gd name="connsiteX20" fmla="*/ 753894 w 6955277"/>
              <a:gd name="connsiteY20" fmla="*/ 1486116 h 1656350"/>
              <a:gd name="connsiteX21" fmla="*/ 787941 w 6955277"/>
              <a:gd name="connsiteY21" fmla="*/ 1481252 h 1656350"/>
              <a:gd name="connsiteX22" fmla="*/ 792805 w 6955277"/>
              <a:gd name="connsiteY22" fmla="*/ 1466661 h 1656350"/>
              <a:gd name="connsiteX23" fmla="*/ 836579 w 6955277"/>
              <a:gd name="connsiteY23" fmla="*/ 1461797 h 1656350"/>
              <a:gd name="connsiteX24" fmla="*/ 851171 w 6955277"/>
              <a:gd name="connsiteY24" fmla="*/ 1456933 h 1656350"/>
              <a:gd name="connsiteX25" fmla="*/ 875490 w 6955277"/>
              <a:gd name="connsiteY25" fmla="*/ 1452069 h 1656350"/>
              <a:gd name="connsiteX26" fmla="*/ 894945 w 6955277"/>
              <a:gd name="connsiteY26" fmla="*/ 1447205 h 1656350"/>
              <a:gd name="connsiteX27" fmla="*/ 924128 w 6955277"/>
              <a:gd name="connsiteY27" fmla="*/ 1437478 h 1656350"/>
              <a:gd name="connsiteX28" fmla="*/ 933856 w 6955277"/>
              <a:gd name="connsiteY28" fmla="*/ 1422886 h 1656350"/>
              <a:gd name="connsiteX29" fmla="*/ 982494 w 6955277"/>
              <a:gd name="connsiteY29" fmla="*/ 1418022 h 1656350"/>
              <a:gd name="connsiteX30" fmla="*/ 997085 w 6955277"/>
              <a:gd name="connsiteY30" fmla="*/ 1413159 h 1656350"/>
              <a:gd name="connsiteX31" fmla="*/ 1011677 w 6955277"/>
              <a:gd name="connsiteY31" fmla="*/ 1403431 h 1656350"/>
              <a:gd name="connsiteX32" fmla="*/ 1118681 w 6955277"/>
              <a:gd name="connsiteY32" fmla="*/ 1398567 h 1656350"/>
              <a:gd name="connsiteX33" fmla="*/ 1147864 w 6955277"/>
              <a:gd name="connsiteY33" fmla="*/ 1388839 h 1656350"/>
              <a:gd name="connsiteX34" fmla="*/ 1240277 w 6955277"/>
              <a:gd name="connsiteY34" fmla="*/ 1374248 h 1656350"/>
              <a:gd name="connsiteX35" fmla="*/ 1269460 w 6955277"/>
              <a:gd name="connsiteY35" fmla="*/ 1364520 h 1656350"/>
              <a:gd name="connsiteX36" fmla="*/ 1303507 w 6955277"/>
              <a:gd name="connsiteY36" fmla="*/ 1354793 h 1656350"/>
              <a:gd name="connsiteX37" fmla="*/ 1332690 w 6955277"/>
              <a:gd name="connsiteY37" fmla="*/ 1340201 h 1656350"/>
              <a:gd name="connsiteX38" fmla="*/ 1400783 w 6955277"/>
              <a:gd name="connsiteY38" fmla="*/ 1330473 h 1656350"/>
              <a:gd name="connsiteX39" fmla="*/ 1429966 w 6955277"/>
              <a:gd name="connsiteY39" fmla="*/ 1320746 h 1656350"/>
              <a:gd name="connsiteX40" fmla="*/ 1444558 w 6955277"/>
              <a:gd name="connsiteY40" fmla="*/ 1315882 h 1656350"/>
              <a:gd name="connsiteX41" fmla="*/ 1532107 w 6955277"/>
              <a:gd name="connsiteY41" fmla="*/ 1301290 h 1656350"/>
              <a:gd name="connsiteX42" fmla="*/ 1561290 w 6955277"/>
              <a:gd name="connsiteY42" fmla="*/ 1291563 h 1656350"/>
              <a:gd name="connsiteX43" fmla="*/ 1600200 w 6955277"/>
              <a:gd name="connsiteY43" fmla="*/ 1286699 h 1656350"/>
              <a:gd name="connsiteX44" fmla="*/ 1634247 w 6955277"/>
              <a:gd name="connsiteY44" fmla="*/ 1281835 h 1656350"/>
              <a:gd name="connsiteX45" fmla="*/ 1697477 w 6955277"/>
              <a:gd name="connsiteY45" fmla="*/ 1272107 h 1656350"/>
              <a:gd name="connsiteX46" fmla="*/ 1712068 w 6955277"/>
              <a:gd name="connsiteY46" fmla="*/ 1262380 h 1656350"/>
              <a:gd name="connsiteX47" fmla="*/ 1736388 w 6955277"/>
              <a:gd name="connsiteY47" fmla="*/ 1257516 h 1656350"/>
              <a:gd name="connsiteX48" fmla="*/ 1823936 w 6955277"/>
              <a:gd name="connsiteY48" fmla="*/ 1252652 h 1656350"/>
              <a:gd name="connsiteX49" fmla="*/ 1828800 w 6955277"/>
              <a:gd name="connsiteY49" fmla="*/ 1228333 h 1656350"/>
              <a:gd name="connsiteX50" fmla="*/ 1843392 w 6955277"/>
              <a:gd name="connsiteY50" fmla="*/ 1223469 h 1656350"/>
              <a:gd name="connsiteX51" fmla="*/ 1867711 w 6955277"/>
              <a:gd name="connsiteY51" fmla="*/ 1218605 h 1656350"/>
              <a:gd name="connsiteX52" fmla="*/ 1945532 w 6955277"/>
              <a:gd name="connsiteY52" fmla="*/ 1213741 h 1656350"/>
              <a:gd name="connsiteX53" fmla="*/ 2033081 w 6955277"/>
              <a:gd name="connsiteY53" fmla="*/ 1208878 h 1656350"/>
              <a:gd name="connsiteX54" fmla="*/ 2091447 w 6955277"/>
              <a:gd name="connsiteY54" fmla="*/ 1189422 h 1656350"/>
              <a:gd name="connsiteX55" fmla="*/ 2106039 w 6955277"/>
              <a:gd name="connsiteY55" fmla="*/ 1179695 h 1656350"/>
              <a:gd name="connsiteX56" fmla="*/ 2140085 w 6955277"/>
              <a:gd name="connsiteY56" fmla="*/ 1174831 h 1656350"/>
              <a:gd name="connsiteX57" fmla="*/ 2188724 w 6955277"/>
              <a:gd name="connsiteY57" fmla="*/ 1160239 h 1656350"/>
              <a:gd name="connsiteX58" fmla="*/ 2222771 w 6955277"/>
              <a:gd name="connsiteY58" fmla="*/ 1155376 h 1656350"/>
              <a:gd name="connsiteX59" fmla="*/ 2237362 w 6955277"/>
              <a:gd name="connsiteY59" fmla="*/ 1150512 h 1656350"/>
              <a:gd name="connsiteX60" fmla="*/ 2305456 w 6955277"/>
              <a:gd name="connsiteY60" fmla="*/ 1140784 h 1656350"/>
              <a:gd name="connsiteX61" fmla="*/ 2349230 w 6955277"/>
              <a:gd name="connsiteY61" fmla="*/ 1131056 h 1656350"/>
              <a:gd name="connsiteX62" fmla="*/ 2363822 w 6955277"/>
              <a:gd name="connsiteY62" fmla="*/ 1126193 h 1656350"/>
              <a:gd name="connsiteX63" fmla="*/ 2431915 w 6955277"/>
              <a:gd name="connsiteY63" fmla="*/ 1116465 h 1656350"/>
              <a:gd name="connsiteX64" fmla="*/ 2436779 w 6955277"/>
              <a:gd name="connsiteY64" fmla="*/ 1101873 h 1656350"/>
              <a:gd name="connsiteX65" fmla="*/ 2465962 w 6955277"/>
              <a:gd name="connsiteY65" fmla="*/ 1092146 h 1656350"/>
              <a:gd name="connsiteX66" fmla="*/ 2572966 w 6955277"/>
              <a:gd name="connsiteY66" fmla="*/ 1092146 h 1656350"/>
              <a:gd name="connsiteX67" fmla="*/ 2587558 w 6955277"/>
              <a:gd name="connsiteY67" fmla="*/ 1082418 h 1656350"/>
              <a:gd name="connsiteX68" fmla="*/ 2602149 w 6955277"/>
              <a:gd name="connsiteY68" fmla="*/ 1077554 h 1656350"/>
              <a:gd name="connsiteX69" fmla="*/ 2616741 w 6955277"/>
              <a:gd name="connsiteY69" fmla="*/ 1067827 h 1656350"/>
              <a:gd name="connsiteX70" fmla="*/ 2645924 w 6955277"/>
              <a:gd name="connsiteY70" fmla="*/ 1062963 h 1656350"/>
              <a:gd name="connsiteX71" fmla="*/ 2704290 w 6955277"/>
              <a:gd name="connsiteY71" fmla="*/ 1043507 h 1656350"/>
              <a:gd name="connsiteX72" fmla="*/ 2718881 w 6955277"/>
              <a:gd name="connsiteY72" fmla="*/ 1038644 h 1656350"/>
              <a:gd name="connsiteX73" fmla="*/ 2733473 w 6955277"/>
              <a:gd name="connsiteY73" fmla="*/ 1033780 h 1656350"/>
              <a:gd name="connsiteX74" fmla="*/ 2752928 w 6955277"/>
              <a:gd name="connsiteY74" fmla="*/ 1028916 h 1656350"/>
              <a:gd name="connsiteX75" fmla="*/ 2777247 w 6955277"/>
              <a:gd name="connsiteY75" fmla="*/ 1024052 h 1656350"/>
              <a:gd name="connsiteX76" fmla="*/ 2830749 w 6955277"/>
              <a:gd name="connsiteY76" fmla="*/ 1019188 h 1656350"/>
              <a:gd name="connsiteX77" fmla="*/ 2864796 w 6955277"/>
              <a:gd name="connsiteY77" fmla="*/ 1014324 h 1656350"/>
              <a:gd name="connsiteX78" fmla="*/ 2879388 w 6955277"/>
              <a:gd name="connsiteY78" fmla="*/ 1009461 h 1656350"/>
              <a:gd name="connsiteX79" fmla="*/ 2898843 w 6955277"/>
              <a:gd name="connsiteY79" fmla="*/ 1004597 h 1656350"/>
              <a:gd name="connsiteX80" fmla="*/ 2913434 w 6955277"/>
              <a:gd name="connsiteY80" fmla="*/ 994869 h 1656350"/>
              <a:gd name="connsiteX81" fmla="*/ 2981528 w 6955277"/>
              <a:gd name="connsiteY81" fmla="*/ 985141 h 1656350"/>
              <a:gd name="connsiteX82" fmla="*/ 2986392 w 6955277"/>
              <a:gd name="connsiteY82" fmla="*/ 970550 h 1656350"/>
              <a:gd name="connsiteX83" fmla="*/ 3059349 w 6955277"/>
              <a:gd name="connsiteY83" fmla="*/ 965686 h 1656350"/>
              <a:gd name="connsiteX84" fmla="*/ 3107988 w 6955277"/>
              <a:gd name="connsiteY84" fmla="*/ 960822 h 1656350"/>
              <a:gd name="connsiteX85" fmla="*/ 3185809 w 6955277"/>
              <a:gd name="connsiteY85" fmla="*/ 951095 h 1656350"/>
              <a:gd name="connsiteX86" fmla="*/ 3229583 w 6955277"/>
              <a:gd name="connsiteY86" fmla="*/ 946231 h 1656350"/>
              <a:gd name="connsiteX87" fmla="*/ 3263630 w 6955277"/>
              <a:gd name="connsiteY87" fmla="*/ 936503 h 1656350"/>
              <a:gd name="connsiteX88" fmla="*/ 3302541 w 6955277"/>
              <a:gd name="connsiteY88" fmla="*/ 931639 h 1656350"/>
              <a:gd name="connsiteX89" fmla="*/ 3317132 w 6955277"/>
              <a:gd name="connsiteY89" fmla="*/ 926776 h 1656350"/>
              <a:gd name="connsiteX90" fmla="*/ 3321996 w 6955277"/>
              <a:gd name="connsiteY90" fmla="*/ 912184 h 1656350"/>
              <a:gd name="connsiteX91" fmla="*/ 3433864 w 6955277"/>
              <a:gd name="connsiteY91" fmla="*/ 907320 h 1656350"/>
              <a:gd name="connsiteX92" fmla="*/ 3438728 w 6955277"/>
              <a:gd name="connsiteY92" fmla="*/ 892729 h 1656350"/>
              <a:gd name="connsiteX93" fmla="*/ 3453319 w 6955277"/>
              <a:gd name="connsiteY93" fmla="*/ 883001 h 1656350"/>
              <a:gd name="connsiteX94" fmla="*/ 3540868 w 6955277"/>
              <a:gd name="connsiteY94" fmla="*/ 878137 h 1656350"/>
              <a:gd name="connsiteX95" fmla="*/ 3560324 w 6955277"/>
              <a:gd name="connsiteY95" fmla="*/ 873273 h 1656350"/>
              <a:gd name="connsiteX96" fmla="*/ 3589507 w 6955277"/>
              <a:gd name="connsiteY96" fmla="*/ 863546 h 1656350"/>
              <a:gd name="connsiteX97" fmla="*/ 3618690 w 6955277"/>
              <a:gd name="connsiteY97" fmla="*/ 858682 h 1656350"/>
              <a:gd name="connsiteX98" fmla="*/ 3715966 w 6955277"/>
              <a:gd name="connsiteY98" fmla="*/ 844090 h 1656350"/>
              <a:gd name="connsiteX99" fmla="*/ 3745149 w 6955277"/>
              <a:gd name="connsiteY99" fmla="*/ 834363 h 1656350"/>
              <a:gd name="connsiteX100" fmla="*/ 3750013 w 6955277"/>
              <a:gd name="connsiteY100" fmla="*/ 819771 h 1656350"/>
              <a:gd name="connsiteX101" fmla="*/ 3764605 w 6955277"/>
              <a:gd name="connsiteY101" fmla="*/ 814907 h 1656350"/>
              <a:gd name="connsiteX102" fmla="*/ 3798651 w 6955277"/>
              <a:gd name="connsiteY102" fmla="*/ 810044 h 1656350"/>
              <a:gd name="connsiteX103" fmla="*/ 3822971 w 6955277"/>
              <a:gd name="connsiteY103" fmla="*/ 805180 h 1656350"/>
              <a:gd name="connsiteX104" fmla="*/ 3852154 w 6955277"/>
              <a:gd name="connsiteY104" fmla="*/ 795452 h 1656350"/>
              <a:gd name="connsiteX105" fmla="*/ 3915383 w 6955277"/>
              <a:gd name="connsiteY105" fmla="*/ 790588 h 1656350"/>
              <a:gd name="connsiteX106" fmla="*/ 3959158 w 6955277"/>
              <a:gd name="connsiteY106" fmla="*/ 785724 h 1656350"/>
              <a:gd name="connsiteX107" fmla="*/ 3964022 w 6955277"/>
              <a:gd name="connsiteY107" fmla="*/ 771133 h 1656350"/>
              <a:gd name="connsiteX108" fmla="*/ 3993205 w 6955277"/>
              <a:gd name="connsiteY108" fmla="*/ 761405 h 1656350"/>
              <a:gd name="connsiteX109" fmla="*/ 4017524 w 6955277"/>
              <a:gd name="connsiteY109" fmla="*/ 756541 h 1656350"/>
              <a:gd name="connsiteX110" fmla="*/ 4036979 w 6955277"/>
              <a:gd name="connsiteY110" fmla="*/ 751678 h 1656350"/>
              <a:gd name="connsiteX111" fmla="*/ 4075890 w 6955277"/>
              <a:gd name="connsiteY111" fmla="*/ 746814 h 1656350"/>
              <a:gd name="connsiteX112" fmla="*/ 4095345 w 6955277"/>
              <a:gd name="connsiteY112" fmla="*/ 741950 h 1656350"/>
              <a:gd name="connsiteX113" fmla="*/ 4158575 w 6955277"/>
              <a:gd name="connsiteY113" fmla="*/ 727359 h 1656350"/>
              <a:gd name="connsiteX114" fmla="*/ 4173166 w 6955277"/>
              <a:gd name="connsiteY114" fmla="*/ 722495 h 1656350"/>
              <a:gd name="connsiteX115" fmla="*/ 4187758 w 6955277"/>
              <a:gd name="connsiteY115" fmla="*/ 712767 h 1656350"/>
              <a:gd name="connsiteX116" fmla="*/ 4265579 w 6955277"/>
              <a:gd name="connsiteY116" fmla="*/ 707903 h 1656350"/>
              <a:gd name="connsiteX117" fmla="*/ 4275307 w 6955277"/>
              <a:gd name="connsiteY117" fmla="*/ 693312 h 1656350"/>
              <a:gd name="connsiteX118" fmla="*/ 4421222 w 6955277"/>
              <a:gd name="connsiteY118" fmla="*/ 678720 h 1656350"/>
              <a:gd name="connsiteX119" fmla="*/ 4440677 w 6955277"/>
              <a:gd name="connsiteY119" fmla="*/ 668993 h 1656350"/>
              <a:gd name="connsiteX120" fmla="*/ 4557409 w 6955277"/>
              <a:gd name="connsiteY120" fmla="*/ 659265 h 1656350"/>
              <a:gd name="connsiteX121" fmla="*/ 4567136 w 6955277"/>
              <a:gd name="connsiteY121" fmla="*/ 644673 h 1656350"/>
              <a:gd name="connsiteX122" fmla="*/ 4581728 w 6955277"/>
              <a:gd name="connsiteY122" fmla="*/ 639810 h 1656350"/>
              <a:gd name="connsiteX123" fmla="*/ 4635230 w 6955277"/>
              <a:gd name="connsiteY123" fmla="*/ 634946 h 1656350"/>
              <a:gd name="connsiteX124" fmla="*/ 4669277 w 6955277"/>
              <a:gd name="connsiteY124" fmla="*/ 630082 h 1656350"/>
              <a:gd name="connsiteX125" fmla="*/ 4703324 w 6955277"/>
              <a:gd name="connsiteY125" fmla="*/ 610627 h 1656350"/>
              <a:gd name="connsiteX126" fmla="*/ 4732507 w 6955277"/>
              <a:gd name="connsiteY126" fmla="*/ 605763 h 1656350"/>
              <a:gd name="connsiteX127" fmla="*/ 4790873 w 6955277"/>
              <a:gd name="connsiteY127" fmla="*/ 591171 h 1656350"/>
              <a:gd name="connsiteX128" fmla="*/ 4844375 w 6955277"/>
              <a:gd name="connsiteY128" fmla="*/ 581444 h 1656350"/>
              <a:gd name="connsiteX129" fmla="*/ 4907605 w 6955277"/>
              <a:gd name="connsiteY129" fmla="*/ 537669 h 1656350"/>
              <a:gd name="connsiteX130" fmla="*/ 4990290 w 6955277"/>
              <a:gd name="connsiteY130" fmla="*/ 552261 h 1656350"/>
              <a:gd name="connsiteX131" fmla="*/ 5009745 w 6955277"/>
              <a:gd name="connsiteY131" fmla="*/ 523078 h 1656350"/>
              <a:gd name="connsiteX132" fmla="*/ 5024336 w 6955277"/>
              <a:gd name="connsiteY132" fmla="*/ 513350 h 1656350"/>
              <a:gd name="connsiteX133" fmla="*/ 5058383 w 6955277"/>
              <a:gd name="connsiteY133" fmla="*/ 503622 h 1656350"/>
              <a:gd name="connsiteX134" fmla="*/ 5072975 w 6955277"/>
              <a:gd name="connsiteY134" fmla="*/ 498759 h 1656350"/>
              <a:gd name="connsiteX135" fmla="*/ 5087566 w 6955277"/>
              <a:gd name="connsiteY135" fmla="*/ 489031 h 1656350"/>
              <a:gd name="connsiteX136" fmla="*/ 5136205 w 6955277"/>
              <a:gd name="connsiteY136" fmla="*/ 474439 h 1656350"/>
              <a:gd name="connsiteX137" fmla="*/ 5150796 w 6955277"/>
              <a:gd name="connsiteY137" fmla="*/ 469576 h 1656350"/>
              <a:gd name="connsiteX138" fmla="*/ 5179979 w 6955277"/>
              <a:gd name="connsiteY138" fmla="*/ 464712 h 1656350"/>
              <a:gd name="connsiteX139" fmla="*/ 5194571 w 6955277"/>
              <a:gd name="connsiteY139" fmla="*/ 459848 h 1656350"/>
              <a:gd name="connsiteX140" fmla="*/ 5267528 w 6955277"/>
              <a:gd name="connsiteY140" fmla="*/ 454984 h 1656350"/>
              <a:gd name="connsiteX141" fmla="*/ 5301575 w 6955277"/>
              <a:gd name="connsiteY141" fmla="*/ 450120 h 1656350"/>
              <a:gd name="connsiteX142" fmla="*/ 5321030 w 6955277"/>
              <a:gd name="connsiteY142" fmla="*/ 445256 h 1656350"/>
              <a:gd name="connsiteX143" fmla="*/ 5369668 w 6955277"/>
              <a:gd name="connsiteY143" fmla="*/ 440393 h 1656350"/>
              <a:gd name="connsiteX144" fmla="*/ 5437762 w 6955277"/>
              <a:gd name="connsiteY144" fmla="*/ 430665 h 1656350"/>
              <a:gd name="connsiteX145" fmla="*/ 5466945 w 6955277"/>
              <a:gd name="connsiteY145" fmla="*/ 425801 h 1656350"/>
              <a:gd name="connsiteX146" fmla="*/ 5500992 w 6955277"/>
              <a:gd name="connsiteY146" fmla="*/ 416073 h 1656350"/>
              <a:gd name="connsiteX147" fmla="*/ 5515583 w 6955277"/>
              <a:gd name="connsiteY147" fmla="*/ 411210 h 1656350"/>
              <a:gd name="connsiteX148" fmla="*/ 5564222 w 6955277"/>
              <a:gd name="connsiteY148" fmla="*/ 411211 h 1656350"/>
              <a:gd name="connsiteX149" fmla="*/ 5637179 w 6955277"/>
              <a:gd name="connsiteY149" fmla="*/ 386891 h 1656350"/>
              <a:gd name="connsiteX150" fmla="*/ 5666362 w 6955277"/>
              <a:gd name="connsiteY150" fmla="*/ 391754 h 1656350"/>
              <a:gd name="connsiteX151" fmla="*/ 5685817 w 6955277"/>
              <a:gd name="connsiteY151" fmla="*/ 382027 h 1656350"/>
              <a:gd name="connsiteX152" fmla="*/ 5724728 w 6955277"/>
              <a:gd name="connsiteY152" fmla="*/ 377163 h 1656350"/>
              <a:gd name="connsiteX153" fmla="*/ 5729592 w 6955277"/>
              <a:gd name="connsiteY153" fmla="*/ 362571 h 1656350"/>
              <a:gd name="connsiteX154" fmla="*/ 5744183 w 6955277"/>
              <a:gd name="connsiteY154" fmla="*/ 357707 h 1656350"/>
              <a:gd name="connsiteX155" fmla="*/ 5783094 w 6955277"/>
              <a:gd name="connsiteY155" fmla="*/ 352844 h 1656350"/>
              <a:gd name="connsiteX156" fmla="*/ 5812277 w 6955277"/>
              <a:gd name="connsiteY156" fmla="*/ 338252 h 1656350"/>
              <a:gd name="connsiteX157" fmla="*/ 5841460 w 6955277"/>
              <a:gd name="connsiteY157" fmla="*/ 328524 h 1656350"/>
              <a:gd name="connsiteX158" fmla="*/ 5885234 w 6955277"/>
              <a:gd name="connsiteY158" fmla="*/ 318797 h 1656350"/>
              <a:gd name="connsiteX159" fmla="*/ 5899826 w 6955277"/>
              <a:gd name="connsiteY159" fmla="*/ 309069 h 1656350"/>
              <a:gd name="connsiteX160" fmla="*/ 5997102 w 6955277"/>
              <a:gd name="connsiteY160" fmla="*/ 299341 h 1656350"/>
              <a:gd name="connsiteX161" fmla="*/ 6040877 w 6955277"/>
              <a:gd name="connsiteY161" fmla="*/ 284750 h 1656350"/>
              <a:gd name="connsiteX162" fmla="*/ 6055468 w 6955277"/>
              <a:gd name="connsiteY162" fmla="*/ 275022 h 1656350"/>
              <a:gd name="connsiteX163" fmla="*/ 6079788 w 6955277"/>
              <a:gd name="connsiteY163" fmla="*/ 270159 h 1656350"/>
              <a:gd name="connsiteX164" fmla="*/ 6128426 w 6955277"/>
              <a:gd name="connsiteY164" fmla="*/ 265295 h 1656350"/>
              <a:gd name="connsiteX165" fmla="*/ 6167336 w 6955277"/>
              <a:gd name="connsiteY165" fmla="*/ 260431 h 1656350"/>
              <a:gd name="connsiteX166" fmla="*/ 6206247 w 6955277"/>
              <a:gd name="connsiteY166" fmla="*/ 250703 h 1656350"/>
              <a:gd name="connsiteX167" fmla="*/ 6220839 w 6955277"/>
              <a:gd name="connsiteY167" fmla="*/ 240976 h 1656350"/>
              <a:gd name="connsiteX168" fmla="*/ 6274341 w 6955277"/>
              <a:gd name="connsiteY168" fmla="*/ 236112 h 1656350"/>
              <a:gd name="connsiteX169" fmla="*/ 6395936 w 6955277"/>
              <a:gd name="connsiteY169" fmla="*/ 221520 h 1656350"/>
              <a:gd name="connsiteX170" fmla="*/ 6410528 w 6955277"/>
              <a:gd name="connsiteY170" fmla="*/ 192337 h 1656350"/>
              <a:gd name="connsiteX171" fmla="*/ 6439711 w 6955277"/>
              <a:gd name="connsiteY171" fmla="*/ 187473 h 1656350"/>
              <a:gd name="connsiteX172" fmla="*/ 6488349 w 6955277"/>
              <a:gd name="connsiteY172" fmla="*/ 182610 h 1656350"/>
              <a:gd name="connsiteX173" fmla="*/ 6507805 w 6955277"/>
              <a:gd name="connsiteY173" fmla="*/ 177746 h 1656350"/>
              <a:gd name="connsiteX174" fmla="*/ 6522396 w 6955277"/>
              <a:gd name="connsiteY174" fmla="*/ 172882 h 1656350"/>
              <a:gd name="connsiteX175" fmla="*/ 6561307 w 6955277"/>
              <a:gd name="connsiteY175" fmla="*/ 163154 h 1656350"/>
              <a:gd name="connsiteX176" fmla="*/ 6566171 w 6955277"/>
              <a:gd name="connsiteY176" fmla="*/ 148563 h 1656350"/>
              <a:gd name="connsiteX177" fmla="*/ 6580762 w 6955277"/>
              <a:gd name="connsiteY177" fmla="*/ 143699 h 1656350"/>
              <a:gd name="connsiteX178" fmla="*/ 6605081 w 6955277"/>
              <a:gd name="connsiteY178" fmla="*/ 138835 h 1656350"/>
              <a:gd name="connsiteX179" fmla="*/ 6639128 w 6955277"/>
              <a:gd name="connsiteY179" fmla="*/ 119380 h 1656350"/>
              <a:gd name="connsiteX180" fmla="*/ 6643992 w 6955277"/>
              <a:gd name="connsiteY180" fmla="*/ 99924 h 1656350"/>
              <a:gd name="connsiteX181" fmla="*/ 6780179 w 6955277"/>
              <a:gd name="connsiteY181" fmla="*/ 99924 h 1656350"/>
              <a:gd name="connsiteX182" fmla="*/ 6785043 w 6955277"/>
              <a:gd name="connsiteY182" fmla="*/ 65878 h 1656350"/>
              <a:gd name="connsiteX183" fmla="*/ 6809362 w 6955277"/>
              <a:gd name="connsiteY183" fmla="*/ 61014 h 1656350"/>
              <a:gd name="connsiteX184" fmla="*/ 6828817 w 6955277"/>
              <a:gd name="connsiteY184" fmla="*/ 56150 h 1656350"/>
              <a:gd name="connsiteX185" fmla="*/ 6955277 w 6955277"/>
              <a:gd name="connsiteY185" fmla="*/ 2647 h 1656350"/>
              <a:gd name="connsiteX0" fmla="*/ 0 w 6955277"/>
              <a:gd name="connsiteY0" fmla="*/ 1656350 h 1656350"/>
              <a:gd name="connsiteX1" fmla="*/ 48639 w 6955277"/>
              <a:gd name="connsiteY1" fmla="*/ 1646622 h 1656350"/>
              <a:gd name="connsiteX2" fmla="*/ 77822 w 6955277"/>
              <a:gd name="connsiteY2" fmla="*/ 1632031 h 1656350"/>
              <a:gd name="connsiteX3" fmla="*/ 141051 w 6955277"/>
              <a:gd name="connsiteY3" fmla="*/ 1627167 h 1656350"/>
              <a:gd name="connsiteX4" fmla="*/ 170234 w 6955277"/>
              <a:gd name="connsiteY4" fmla="*/ 1602848 h 1656350"/>
              <a:gd name="connsiteX5" fmla="*/ 184826 w 6955277"/>
              <a:gd name="connsiteY5" fmla="*/ 1593120 h 1656350"/>
              <a:gd name="connsiteX6" fmla="*/ 238328 w 6955277"/>
              <a:gd name="connsiteY6" fmla="*/ 1593120 h 1656350"/>
              <a:gd name="connsiteX7" fmla="*/ 252919 w 6955277"/>
              <a:gd name="connsiteY7" fmla="*/ 1583393 h 1656350"/>
              <a:gd name="connsiteX8" fmla="*/ 301558 w 6955277"/>
              <a:gd name="connsiteY8" fmla="*/ 1578529 h 1656350"/>
              <a:gd name="connsiteX9" fmla="*/ 321013 w 6955277"/>
              <a:gd name="connsiteY9" fmla="*/ 1568801 h 1656350"/>
              <a:gd name="connsiteX10" fmla="*/ 369651 w 6955277"/>
              <a:gd name="connsiteY10" fmla="*/ 1549346 h 1656350"/>
              <a:gd name="connsiteX11" fmla="*/ 418290 w 6955277"/>
              <a:gd name="connsiteY11" fmla="*/ 1549346 h 1656350"/>
              <a:gd name="connsiteX12" fmla="*/ 432881 w 6955277"/>
              <a:gd name="connsiteY12" fmla="*/ 1534754 h 1656350"/>
              <a:gd name="connsiteX13" fmla="*/ 447473 w 6955277"/>
              <a:gd name="connsiteY13" fmla="*/ 1529890 h 1656350"/>
              <a:gd name="connsiteX14" fmla="*/ 515566 w 6955277"/>
              <a:gd name="connsiteY14" fmla="*/ 1529890 h 1656350"/>
              <a:gd name="connsiteX15" fmla="*/ 520430 w 6955277"/>
              <a:gd name="connsiteY15" fmla="*/ 1510435 h 1656350"/>
              <a:gd name="connsiteX16" fmla="*/ 612843 w 6955277"/>
              <a:gd name="connsiteY16" fmla="*/ 1510435 h 1656350"/>
              <a:gd name="connsiteX17" fmla="*/ 617707 w 6955277"/>
              <a:gd name="connsiteY17" fmla="*/ 1495844 h 1656350"/>
              <a:gd name="connsiteX18" fmla="*/ 666345 w 6955277"/>
              <a:gd name="connsiteY18" fmla="*/ 1490980 h 1656350"/>
              <a:gd name="connsiteX19" fmla="*/ 695528 w 6955277"/>
              <a:gd name="connsiteY19" fmla="*/ 1495844 h 1656350"/>
              <a:gd name="connsiteX20" fmla="*/ 753894 w 6955277"/>
              <a:gd name="connsiteY20" fmla="*/ 1486116 h 1656350"/>
              <a:gd name="connsiteX21" fmla="*/ 787941 w 6955277"/>
              <a:gd name="connsiteY21" fmla="*/ 1481252 h 1656350"/>
              <a:gd name="connsiteX22" fmla="*/ 792805 w 6955277"/>
              <a:gd name="connsiteY22" fmla="*/ 1466661 h 1656350"/>
              <a:gd name="connsiteX23" fmla="*/ 836579 w 6955277"/>
              <a:gd name="connsiteY23" fmla="*/ 1461797 h 1656350"/>
              <a:gd name="connsiteX24" fmla="*/ 851171 w 6955277"/>
              <a:gd name="connsiteY24" fmla="*/ 1456933 h 1656350"/>
              <a:gd name="connsiteX25" fmla="*/ 875490 w 6955277"/>
              <a:gd name="connsiteY25" fmla="*/ 1452069 h 1656350"/>
              <a:gd name="connsiteX26" fmla="*/ 894945 w 6955277"/>
              <a:gd name="connsiteY26" fmla="*/ 1447205 h 1656350"/>
              <a:gd name="connsiteX27" fmla="*/ 924128 w 6955277"/>
              <a:gd name="connsiteY27" fmla="*/ 1437478 h 1656350"/>
              <a:gd name="connsiteX28" fmla="*/ 933856 w 6955277"/>
              <a:gd name="connsiteY28" fmla="*/ 1422886 h 1656350"/>
              <a:gd name="connsiteX29" fmla="*/ 982494 w 6955277"/>
              <a:gd name="connsiteY29" fmla="*/ 1418022 h 1656350"/>
              <a:gd name="connsiteX30" fmla="*/ 997085 w 6955277"/>
              <a:gd name="connsiteY30" fmla="*/ 1413159 h 1656350"/>
              <a:gd name="connsiteX31" fmla="*/ 1011677 w 6955277"/>
              <a:gd name="connsiteY31" fmla="*/ 1403431 h 1656350"/>
              <a:gd name="connsiteX32" fmla="*/ 1118681 w 6955277"/>
              <a:gd name="connsiteY32" fmla="*/ 1398567 h 1656350"/>
              <a:gd name="connsiteX33" fmla="*/ 1147864 w 6955277"/>
              <a:gd name="connsiteY33" fmla="*/ 1388839 h 1656350"/>
              <a:gd name="connsiteX34" fmla="*/ 1240277 w 6955277"/>
              <a:gd name="connsiteY34" fmla="*/ 1374248 h 1656350"/>
              <a:gd name="connsiteX35" fmla="*/ 1269460 w 6955277"/>
              <a:gd name="connsiteY35" fmla="*/ 1364520 h 1656350"/>
              <a:gd name="connsiteX36" fmla="*/ 1303507 w 6955277"/>
              <a:gd name="connsiteY36" fmla="*/ 1354793 h 1656350"/>
              <a:gd name="connsiteX37" fmla="*/ 1332690 w 6955277"/>
              <a:gd name="connsiteY37" fmla="*/ 1340201 h 1656350"/>
              <a:gd name="connsiteX38" fmla="*/ 1400783 w 6955277"/>
              <a:gd name="connsiteY38" fmla="*/ 1330473 h 1656350"/>
              <a:gd name="connsiteX39" fmla="*/ 1429966 w 6955277"/>
              <a:gd name="connsiteY39" fmla="*/ 1320746 h 1656350"/>
              <a:gd name="connsiteX40" fmla="*/ 1444558 w 6955277"/>
              <a:gd name="connsiteY40" fmla="*/ 1315882 h 1656350"/>
              <a:gd name="connsiteX41" fmla="*/ 1532107 w 6955277"/>
              <a:gd name="connsiteY41" fmla="*/ 1301290 h 1656350"/>
              <a:gd name="connsiteX42" fmla="*/ 1561290 w 6955277"/>
              <a:gd name="connsiteY42" fmla="*/ 1291563 h 1656350"/>
              <a:gd name="connsiteX43" fmla="*/ 1600200 w 6955277"/>
              <a:gd name="connsiteY43" fmla="*/ 1286699 h 1656350"/>
              <a:gd name="connsiteX44" fmla="*/ 1634247 w 6955277"/>
              <a:gd name="connsiteY44" fmla="*/ 1281835 h 1656350"/>
              <a:gd name="connsiteX45" fmla="*/ 1697477 w 6955277"/>
              <a:gd name="connsiteY45" fmla="*/ 1272107 h 1656350"/>
              <a:gd name="connsiteX46" fmla="*/ 1712068 w 6955277"/>
              <a:gd name="connsiteY46" fmla="*/ 1262380 h 1656350"/>
              <a:gd name="connsiteX47" fmla="*/ 1736388 w 6955277"/>
              <a:gd name="connsiteY47" fmla="*/ 1257516 h 1656350"/>
              <a:gd name="connsiteX48" fmla="*/ 1823936 w 6955277"/>
              <a:gd name="connsiteY48" fmla="*/ 1252652 h 1656350"/>
              <a:gd name="connsiteX49" fmla="*/ 1828800 w 6955277"/>
              <a:gd name="connsiteY49" fmla="*/ 1228333 h 1656350"/>
              <a:gd name="connsiteX50" fmla="*/ 1843392 w 6955277"/>
              <a:gd name="connsiteY50" fmla="*/ 1223469 h 1656350"/>
              <a:gd name="connsiteX51" fmla="*/ 1867711 w 6955277"/>
              <a:gd name="connsiteY51" fmla="*/ 1218605 h 1656350"/>
              <a:gd name="connsiteX52" fmla="*/ 1945532 w 6955277"/>
              <a:gd name="connsiteY52" fmla="*/ 1213741 h 1656350"/>
              <a:gd name="connsiteX53" fmla="*/ 2033081 w 6955277"/>
              <a:gd name="connsiteY53" fmla="*/ 1208878 h 1656350"/>
              <a:gd name="connsiteX54" fmla="*/ 2091447 w 6955277"/>
              <a:gd name="connsiteY54" fmla="*/ 1189422 h 1656350"/>
              <a:gd name="connsiteX55" fmla="*/ 2106039 w 6955277"/>
              <a:gd name="connsiteY55" fmla="*/ 1179695 h 1656350"/>
              <a:gd name="connsiteX56" fmla="*/ 2140085 w 6955277"/>
              <a:gd name="connsiteY56" fmla="*/ 1174831 h 1656350"/>
              <a:gd name="connsiteX57" fmla="*/ 2188724 w 6955277"/>
              <a:gd name="connsiteY57" fmla="*/ 1160239 h 1656350"/>
              <a:gd name="connsiteX58" fmla="*/ 2222771 w 6955277"/>
              <a:gd name="connsiteY58" fmla="*/ 1155376 h 1656350"/>
              <a:gd name="connsiteX59" fmla="*/ 2237362 w 6955277"/>
              <a:gd name="connsiteY59" fmla="*/ 1150512 h 1656350"/>
              <a:gd name="connsiteX60" fmla="*/ 2305456 w 6955277"/>
              <a:gd name="connsiteY60" fmla="*/ 1140784 h 1656350"/>
              <a:gd name="connsiteX61" fmla="*/ 2349230 w 6955277"/>
              <a:gd name="connsiteY61" fmla="*/ 1131056 h 1656350"/>
              <a:gd name="connsiteX62" fmla="*/ 2363822 w 6955277"/>
              <a:gd name="connsiteY62" fmla="*/ 1126193 h 1656350"/>
              <a:gd name="connsiteX63" fmla="*/ 2431915 w 6955277"/>
              <a:gd name="connsiteY63" fmla="*/ 1116465 h 1656350"/>
              <a:gd name="connsiteX64" fmla="*/ 2436779 w 6955277"/>
              <a:gd name="connsiteY64" fmla="*/ 1101873 h 1656350"/>
              <a:gd name="connsiteX65" fmla="*/ 2465962 w 6955277"/>
              <a:gd name="connsiteY65" fmla="*/ 1092146 h 1656350"/>
              <a:gd name="connsiteX66" fmla="*/ 2572966 w 6955277"/>
              <a:gd name="connsiteY66" fmla="*/ 1092146 h 1656350"/>
              <a:gd name="connsiteX67" fmla="*/ 2587558 w 6955277"/>
              <a:gd name="connsiteY67" fmla="*/ 1082418 h 1656350"/>
              <a:gd name="connsiteX68" fmla="*/ 2602149 w 6955277"/>
              <a:gd name="connsiteY68" fmla="*/ 1077554 h 1656350"/>
              <a:gd name="connsiteX69" fmla="*/ 2616741 w 6955277"/>
              <a:gd name="connsiteY69" fmla="*/ 1067827 h 1656350"/>
              <a:gd name="connsiteX70" fmla="*/ 2645924 w 6955277"/>
              <a:gd name="connsiteY70" fmla="*/ 1062963 h 1656350"/>
              <a:gd name="connsiteX71" fmla="*/ 2704290 w 6955277"/>
              <a:gd name="connsiteY71" fmla="*/ 1043507 h 1656350"/>
              <a:gd name="connsiteX72" fmla="*/ 2718881 w 6955277"/>
              <a:gd name="connsiteY72" fmla="*/ 1038644 h 1656350"/>
              <a:gd name="connsiteX73" fmla="*/ 2733473 w 6955277"/>
              <a:gd name="connsiteY73" fmla="*/ 1033780 h 1656350"/>
              <a:gd name="connsiteX74" fmla="*/ 2752928 w 6955277"/>
              <a:gd name="connsiteY74" fmla="*/ 1028916 h 1656350"/>
              <a:gd name="connsiteX75" fmla="*/ 2777247 w 6955277"/>
              <a:gd name="connsiteY75" fmla="*/ 1024052 h 1656350"/>
              <a:gd name="connsiteX76" fmla="*/ 2830749 w 6955277"/>
              <a:gd name="connsiteY76" fmla="*/ 1019188 h 1656350"/>
              <a:gd name="connsiteX77" fmla="*/ 2864796 w 6955277"/>
              <a:gd name="connsiteY77" fmla="*/ 1014324 h 1656350"/>
              <a:gd name="connsiteX78" fmla="*/ 2879388 w 6955277"/>
              <a:gd name="connsiteY78" fmla="*/ 1009461 h 1656350"/>
              <a:gd name="connsiteX79" fmla="*/ 2898843 w 6955277"/>
              <a:gd name="connsiteY79" fmla="*/ 1004597 h 1656350"/>
              <a:gd name="connsiteX80" fmla="*/ 2913434 w 6955277"/>
              <a:gd name="connsiteY80" fmla="*/ 994869 h 1656350"/>
              <a:gd name="connsiteX81" fmla="*/ 2981528 w 6955277"/>
              <a:gd name="connsiteY81" fmla="*/ 985141 h 1656350"/>
              <a:gd name="connsiteX82" fmla="*/ 2986392 w 6955277"/>
              <a:gd name="connsiteY82" fmla="*/ 970550 h 1656350"/>
              <a:gd name="connsiteX83" fmla="*/ 3059349 w 6955277"/>
              <a:gd name="connsiteY83" fmla="*/ 965686 h 1656350"/>
              <a:gd name="connsiteX84" fmla="*/ 3107988 w 6955277"/>
              <a:gd name="connsiteY84" fmla="*/ 960822 h 1656350"/>
              <a:gd name="connsiteX85" fmla="*/ 3185809 w 6955277"/>
              <a:gd name="connsiteY85" fmla="*/ 951095 h 1656350"/>
              <a:gd name="connsiteX86" fmla="*/ 3229583 w 6955277"/>
              <a:gd name="connsiteY86" fmla="*/ 946231 h 1656350"/>
              <a:gd name="connsiteX87" fmla="*/ 3263630 w 6955277"/>
              <a:gd name="connsiteY87" fmla="*/ 936503 h 1656350"/>
              <a:gd name="connsiteX88" fmla="*/ 3302541 w 6955277"/>
              <a:gd name="connsiteY88" fmla="*/ 931639 h 1656350"/>
              <a:gd name="connsiteX89" fmla="*/ 3317132 w 6955277"/>
              <a:gd name="connsiteY89" fmla="*/ 926776 h 1656350"/>
              <a:gd name="connsiteX90" fmla="*/ 3321996 w 6955277"/>
              <a:gd name="connsiteY90" fmla="*/ 912184 h 1656350"/>
              <a:gd name="connsiteX91" fmla="*/ 3433864 w 6955277"/>
              <a:gd name="connsiteY91" fmla="*/ 907320 h 1656350"/>
              <a:gd name="connsiteX92" fmla="*/ 3438728 w 6955277"/>
              <a:gd name="connsiteY92" fmla="*/ 892729 h 1656350"/>
              <a:gd name="connsiteX93" fmla="*/ 3453319 w 6955277"/>
              <a:gd name="connsiteY93" fmla="*/ 883001 h 1656350"/>
              <a:gd name="connsiteX94" fmla="*/ 3540868 w 6955277"/>
              <a:gd name="connsiteY94" fmla="*/ 878137 h 1656350"/>
              <a:gd name="connsiteX95" fmla="*/ 3560324 w 6955277"/>
              <a:gd name="connsiteY95" fmla="*/ 873273 h 1656350"/>
              <a:gd name="connsiteX96" fmla="*/ 3589507 w 6955277"/>
              <a:gd name="connsiteY96" fmla="*/ 863546 h 1656350"/>
              <a:gd name="connsiteX97" fmla="*/ 3618690 w 6955277"/>
              <a:gd name="connsiteY97" fmla="*/ 858682 h 1656350"/>
              <a:gd name="connsiteX98" fmla="*/ 3715966 w 6955277"/>
              <a:gd name="connsiteY98" fmla="*/ 844090 h 1656350"/>
              <a:gd name="connsiteX99" fmla="*/ 3745149 w 6955277"/>
              <a:gd name="connsiteY99" fmla="*/ 834363 h 1656350"/>
              <a:gd name="connsiteX100" fmla="*/ 3750013 w 6955277"/>
              <a:gd name="connsiteY100" fmla="*/ 819771 h 1656350"/>
              <a:gd name="connsiteX101" fmla="*/ 3764605 w 6955277"/>
              <a:gd name="connsiteY101" fmla="*/ 814907 h 1656350"/>
              <a:gd name="connsiteX102" fmla="*/ 3798651 w 6955277"/>
              <a:gd name="connsiteY102" fmla="*/ 810044 h 1656350"/>
              <a:gd name="connsiteX103" fmla="*/ 3822971 w 6955277"/>
              <a:gd name="connsiteY103" fmla="*/ 805180 h 1656350"/>
              <a:gd name="connsiteX104" fmla="*/ 3852154 w 6955277"/>
              <a:gd name="connsiteY104" fmla="*/ 795452 h 1656350"/>
              <a:gd name="connsiteX105" fmla="*/ 3915383 w 6955277"/>
              <a:gd name="connsiteY105" fmla="*/ 790588 h 1656350"/>
              <a:gd name="connsiteX106" fmla="*/ 3959158 w 6955277"/>
              <a:gd name="connsiteY106" fmla="*/ 785724 h 1656350"/>
              <a:gd name="connsiteX107" fmla="*/ 3964022 w 6955277"/>
              <a:gd name="connsiteY107" fmla="*/ 771133 h 1656350"/>
              <a:gd name="connsiteX108" fmla="*/ 3993205 w 6955277"/>
              <a:gd name="connsiteY108" fmla="*/ 761405 h 1656350"/>
              <a:gd name="connsiteX109" fmla="*/ 4017524 w 6955277"/>
              <a:gd name="connsiteY109" fmla="*/ 756541 h 1656350"/>
              <a:gd name="connsiteX110" fmla="*/ 4036979 w 6955277"/>
              <a:gd name="connsiteY110" fmla="*/ 751678 h 1656350"/>
              <a:gd name="connsiteX111" fmla="*/ 4075890 w 6955277"/>
              <a:gd name="connsiteY111" fmla="*/ 746814 h 1656350"/>
              <a:gd name="connsiteX112" fmla="*/ 4095345 w 6955277"/>
              <a:gd name="connsiteY112" fmla="*/ 741950 h 1656350"/>
              <a:gd name="connsiteX113" fmla="*/ 4158575 w 6955277"/>
              <a:gd name="connsiteY113" fmla="*/ 727359 h 1656350"/>
              <a:gd name="connsiteX114" fmla="*/ 4173166 w 6955277"/>
              <a:gd name="connsiteY114" fmla="*/ 722495 h 1656350"/>
              <a:gd name="connsiteX115" fmla="*/ 4187758 w 6955277"/>
              <a:gd name="connsiteY115" fmla="*/ 712767 h 1656350"/>
              <a:gd name="connsiteX116" fmla="*/ 4265579 w 6955277"/>
              <a:gd name="connsiteY116" fmla="*/ 707903 h 1656350"/>
              <a:gd name="connsiteX117" fmla="*/ 4275307 w 6955277"/>
              <a:gd name="connsiteY117" fmla="*/ 693312 h 1656350"/>
              <a:gd name="connsiteX118" fmla="*/ 4421222 w 6955277"/>
              <a:gd name="connsiteY118" fmla="*/ 678720 h 1656350"/>
              <a:gd name="connsiteX119" fmla="*/ 4440677 w 6955277"/>
              <a:gd name="connsiteY119" fmla="*/ 668993 h 1656350"/>
              <a:gd name="connsiteX120" fmla="*/ 4557409 w 6955277"/>
              <a:gd name="connsiteY120" fmla="*/ 659265 h 1656350"/>
              <a:gd name="connsiteX121" fmla="*/ 4567136 w 6955277"/>
              <a:gd name="connsiteY121" fmla="*/ 644673 h 1656350"/>
              <a:gd name="connsiteX122" fmla="*/ 4581728 w 6955277"/>
              <a:gd name="connsiteY122" fmla="*/ 639810 h 1656350"/>
              <a:gd name="connsiteX123" fmla="*/ 4635230 w 6955277"/>
              <a:gd name="connsiteY123" fmla="*/ 634946 h 1656350"/>
              <a:gd name="connsiteX124" fmla="*/ 4669277 w 6955277"/>
              <a:gd name="connsiteY124" fmla="*/ 630082 h 1656350"/>
              <a:gd name="connsiteX125" fmla="*/ 4703324 w 6955277"/>
              <a:gd name="connsiteY125" fmla="*/ 610627 h 1656350"/>
              <a:gd name="connsiteX126" fmla="*/ 4732507 w 6955277"/>
              <a:gd name="connsiteY126" fmla="*/ 605763 h 1656350"/>
              <a:gd name="connsiteX127" fmla="*/ 4790873 w 6955277"/>
              <a:gd name="connsiteY127" fmla="*/ 591171 h 1656350"/>
              <a:gd name="connsiteX128" fmla="*/ 4844375 w 6955277"/>
              <a:gd name="connsiteY128" fmla="*/ 581444 h 1656350"/>
              <a:gd name="connsiteX129" fmla="*/ 4907605 w 6955277"/>
              <a:gd name="connsiteY129" fmla="*/ 537669 h 1656350"/>
              <a:gd name="connsiteX130" fmla="*/ 4990290 w 6955277"/>
              <a:gd name="connsiteY130" fmla="*/ 552261 h 1656350"/>
              <a:gd name="connsiteX131" fmla="*/ 5009745 w 6955277"/>
              <a:gd name="connsiteY131" fmla="*/ 523078 h 1656350"/>
              <a:gd name="connsiteX132" fmla="*/ 5024336 w 6955277"/>
              <a:gd name="connsiteY132" fmla="*/ 513350 h 1656350"/>
              <a:gd name="connsiteX133" fmla="*/ 5058383 w 6955277"/>
              <a:gd name="connsiteY133" fmla="*/ 503622 h 1656350"/>
              <a:gd name="connsiteX134" fmla="*/ 5072975 w 6955277"/>
              <a:gd name="connsiteY134" fmla="*/ 498759 h 1656350"/>
              <a:gd name="connsiteX135" fmla="*/ 5087566 w 6955277"/>
              <a:gd name="connsiteY135" fmla="*/ 489031 h 1656350"/>
              <a:gd name="connsiteX136" fmla="*/ 5136205 w 6955277"/>
              <a:gd name="connsiteY136" fmla="*/ 474439 h 1656350"/>
              <a:gd name="connsiteX137" fmla="*/ 5150796 w 6955277"/>
              <a:gd name="connsiteY137" fmla="*/ 469576 h 1656350"/>
              <a:gd name="connsiteX138" fmla="*/ 5179979 w 6955277"/>
              <a:gd name="connsiteY138" fmla="*/ 464712 h 1656350"/>
              <a:gd name="connsiteX139" fmla="*/ 5194571 w 6955277"/>
              <a:gd name="connsiteY139" fmla="*/ 459848 h 1656350"/>
              <a:gd name="connsiteX140" fmla="*/ 5267528 w 6955277"/>
              <a:gd name="connsiteY140" fmla="*/ 454984 h 1656350"/>
              <a:gd name="connsiteX141" fmla="*/ 5301575 w 6955277"/>
              <a:gd name="connsiteY141" fmla="*/ 450120 h 1656350"/>
              <a:gd name="connsiteX142" fmla="*/ 5321030 w 6955277"/>
              <a:gd name="connsiteY142" fmla="*/ 445256 h 1656350"/>
              <a:gd name="connsiteX143" fmla="*/ 5369668 w 6955277"/>
              <a:gd name="connsiteY143" fmla="*/ 440393 h 1656350"/>
              <a:gd name="connsiteX144" fmla="*/ 5437762 w 6955277"/>
              <a:gd name="connsiteY144" fmla="*/ 430665 h 1656350"/>
              <a:gd name="connsiteX145" fmla="*/ 5466945 w 6955277"/>
              <a:gd name="connsiteY145" fmla="*/ 425801 h 1656350"/>
              <a:gd name="connsiteX146" fmla="*/ 5500992 w 6955277"/>
              <a:gd name="connsiteY146" fmla="*/ 416073 h 1656350"/>
              <a:gd name="connsiteX147" fmla="*/ 5515583 w 6955277"/>
              <a:gd name="connsiteY147" fmla="*/ 411210 h 1656350"/>
              <a:gd name="connsiteX148" fmla="*/ 5564222 w 6955277"/>
              <a:gd name="connsiteY148" fmla="*/ 411211 h 1656350"/>
              <a:gd name="connsiteX149" fmla="*/ 5637179 w 6955277"/>
              <a:gd name="connsiteY149" fmla="*/ 386891 h 1656350"/>
              <a:gd name="connsiteX150" fmla="*/ 5666362 w 6955277"/>
              <a:gd name="connsiteY150" fmla="*/ 391754 h 1656350"/>
              <a:gd name="connsiteX151" fmla="*/ 5685817 w 6955277"/>
              <a:gd name="connsiteY151" fmla="*/ 382027 h 1656350"/>
              <a:gd name="connsiteX152" fmla="*/ 5724728 w 6955277"/>
              <a:gd name="connsiteY152" fmla="*/ 377163 h 1656350"/>
              <a:gd name="connsiteX153" fmla="*/ 5729592 w 6955277"/>
              <a:gd name="connsiteY153" fmla="*/ 362571 h 1656350"/>
              <a:gd name="connsiteX154" fmla="*/ 5744183 w 6955277"/>
              <a:gd name="connsiteY154" fmla="*/ 357707 h 1656350"/>
              <a:gd name="connsiteX155" fmla="*/ 5783094 w 6955277"/>
              <a:gd name="connsiteY155" fmla="*/ 352844 h 1656350"/>
              <a:gd name="connsiteX156" fmla="*/ 5812277 w 6955277"/>
              <a:gd name="connsiteY156" fmla="*/ 338252 h 1656350"/>
              <a:gd name="connsiteX157" fmla="*/ 5841460 w 6955277"/>
              <a:gd name="connsiteY157" fmla="*/ 328524 h 1656350"/>
              <a:gd name="connsiteX158" fmla="*/ 5885234 w 6955277"/>
              <a:gd name="connsiteY158" fmla="*/ 318797 h 1656350"/>
              <a:gd name="connsiteX159" fmla="*/ 5899826 w 6955277"/>
              <a:gd name="connsiteY159" fmla="*/ 309069 h 1656350"/>
              <a:gd name="connsiteX160" fmla="*/ 5997102 w 6955277"/>
              <a:gd name="connsiteY160" fmla="*/ 299341 h 1656350"/>
              <a:gd name="connsiteX161" fmla="*/ 6040877 w 6955277"/>
              <a:gd name="connsiteY161" fmla="*/ 284750 h 1656350"/>
              <a:gd name="connsiteX162" fmla="*/ 6055468 w 6955277"/>
              <a:gd name="connsiteY162" fmla="*/ 275022 h 1656350"/>
              <a:gd name="connsiteX163" fmla="*/ 6079788 w 6955277"/>
              <a:gd name="connsiteY163" fmla="*/ 270159 h 1656350"/>
              <a:gd name="connsiteX164" fmla="*/ 6128426 w 6955277"/>
              <a:gd name="connsiteY164" fmla="*/ 265295 h 1656350"/>
              <a:gd name="connsiteX165" fmla="*/ 6167336 w 6955277"/>
              <a:gd name="connsiteY165" fmla="*/ 260431 h 1656350"/>
              <a:gd name="connsiteX166" fmla="*/ 6206247 w 6955277"/>
              <a:gd name="connsiteY166" fmla="*/ 250703 h 1656350"/>
              <a:gd name="connsiteX167" fmla="*/ 6220839 w 6955277"/>
              <a:gd name="connsiteY167" fmla="*/ 240976 h 1656350"/>
              <a:gd name="connsiteX168" fmla="*/ 6274341 w 6955277"/>
              <a:gd name="connsiteY168" fmla="*/ 236112 h 1656350"/>
              <a:gd name="connsiteX169" fmla="*/ 6395936 w 6955277"/>
              <a:gd name="connsiteY169" fmla="*/ 221520 h 1656350"/>
              <a:gd name="connsiteX170" fmla="*/ 6410528 w 6955277"/>
              <a:gd name="connsiteY170" fmla="*/ 192337 h 1656350"/>
              <a:gd name="connsiteX171" fmla="*/ 6439711 w 6955277"/>
              <a:gd name="connsiteY171" fmla="*/ 187473 h 1656350"/>
              <a:gd name="connsiteX172" fmla="*/ 6488349 w 6955277"/>
              <a:gd name="connsiteY172" fmla="*/ 182610 h 1656350"/>
              <a:gd name="connsiteX173" fmla="*/ 6507805 w 6955277"/>
              <a:gd name="connsiteY173" fmla="*/ 177746 h 1656350"/>
              <a:gd name="connsiteX174" fmla="*/ 6522396 w 6955277"/>
              <a:gd name="connsiteY174" fmla="*/ 172882 h 1656350"/>
              <a:gd name="connsiteX175" fmla="*/ 6561307 w 6955277"/>
              <a:gd name="connsiteY175" fmla="*/ 163154 h 1656350"/>
              <a:gd name="connsiteX176" fmla="*/ 6566171 w 6955277"/>
              <a:gd name="connsiteY176" fmla="*/ 148563 h 1656350"/>
              <a:gd name="connsiteX177" fmla="*/ 6580762 w 6955277"/>
              <a:gd name="connsiteY177" fmla="*/ 143699 h 1656350"/>
              <a:gd name="connsiteX178" fmla="*/ 6605081 w 6955277"/>
              <a:gd name="connsiteY178" fmla="*/ 138835 h 1656350"/>
              <a:gd name="connsiteX179" fmla="*/ 6639128 w 6955277"/>
              <a:gd name="connsiteY179" fmla="*/ 119380 h 1656350"/>
              <a:gd name="connsiteX180" fmla="*/ 6643992 w 6955277"/>
              <a:gd name="connsiteY180" fmla="*/ 99924 h 1656350"/>
              <a:gd name="connsiteX181" fmla="*/ 6780179 w 6955277"/>
              <a:gd name="connsiteY181" fmla="*/ 99924 h 1656350"/>
              <a:gd name="connsiteX182" fmla="*/ 6785043 w 6955277"/>
              <a:gd name="connsiteY182" fmla="*/ 65878 h 1656350"/>
              <a:gd name="connsiteX183" fmla="*/ 6809362 w 6955277"/>
              <a:gd name="connsiteY183" fmla="*/ 61014 h 1656350"/>
              <a:gd name="connsiteX184" fmla="*/ 6828817 w 6955277"/>
              <a:gd name="connsiteY184" fmla="*/ 56150 h 1656350"/>
              <a:gd name="connsiteX185" fmla="*/ 6955277 w 6955277"/>
              <a:gd name="connsiteY185" fmla="*/ 2647 h 1656350"/>
              <a:gd name="connsiteX0" fmla="*/ 0 w 6955277"/>
              <a:gd name="connsiteY0" fmla="*/ 1656350 h 1656350"/>
              <a:gd name="connsiteX1" fmla="*/ 48639 w 6955277"/>
              <a:gd name="connsiteY1" fmla="*/ 1646622 h 1656350"/>
              <a:gd name="connsiteX2" fmla="*/ 77822 w 6955277"/>
              <a:gd name="connsiteY2" fmla="*/ 1632031 h 1656350"/>
              <a:gd name="connsiteX3" fmla="*/ 141051 w 6955277"/>
              <a:gd name="connsiteY3" fmla="*/ 1627167 h 1656350"/>
              <a:gd name="connsiteX4" fmla="*/ 170234 w 6955277"/>
              <a:gd name="connsiteY4" fmla="*/ 1602848 h 1656350"/>
              <a:gd name="connsiteX5" fmla="*/ 184826 w 6955277"/>
              <a:gd name="connsiteY5" fmla="*/ 1593120 h 1656350"/>
              <a:gd name="connsiteX6" fmla="*/ 238328 w 6955277"/>
              <a:gd name="connsiteY6" fmla="*/ 1593120 h 1656350"/>
              <a:gd name="connsiteX7" fmla="*/ 252919 w 6955277"/>
              <a:gd name="connsiteY7" fmla="*/ 1583393 h 1656350"/>
              <a:gd name="connsiteX8" fmla="*/ 301558 w 6955277"/>
              <a:gd name="connsiteY8" fmla="*/ 1578529 h 1656350"/>
              <a:gd name="connsiteX9" fmla="*/ 321013 w 6955277"/>
              <a:gd name="connsiteY9" fmla="*/ 1568801 h 1656350"/>
              <a:gd name="connsiteX10" fmla="*/ 369651 w 6955277"/>
              <a:gd name="connsiteY10" fmla="*/ 1549346 h 1656350"/>
              <a:gd name="connsiteX11" fmla="*/ 418290 w 6955277"/>
              <a:gd name="connsiteY11" fmla="*/ 1549346 h 1656350"/>
              <a:gd name="connsiteX12" fmla="*/ 432881 w 6955277"/>
              <a:gd name="connsiteY12" fmla="*/ 1534754 h 1656350"/>
              <a:gd name="connsiteX13" fmla="*/ 447473 w 6955277"/>
              <a:gd name="connsiteY13" fmla="*/ 1529890 h 1656350"/>
              <a:gd name="connsiteX14" fmla="*/ 515566 w 6955277"/>
              <a:gd name="connsiteY14" fmla="*/ 1529890 h 1656350"/>
              <a:gd name="connsiteX15" fmla="*/ 520430 w 6955277"/>
              <a:gd name="connsiteY15" fmla="*/ 1510435 h 1656350"/>
              <a:gd name="connsiteX16" fmla="*/ 612843 w 6955277"/>
              <a:gd name="connsiteY16" fmla="*/ 1510435 h 1656350"/>
              <a:gd name="connsiteX17" fmla="*/ 617707 w 6955277"/>
              <a:gd name="connsiteY17" fmla="*/ 1495844 h 1656350"/>
              <a:gd name="connsiteX18" fmla="*/ 666345 w 6955277"/>
              <a:gd name="connsiteY18" fmla="*/ 1490980 h 1656350"/>
              <a:gd name="connsiteX19" fmla="*/ 695528 w 6955277"/>
              <a:gd name="connsiteY19" fmla="*/ 1495844 h 1656350"/>
              <a:gd name="connsiteX20" fmla="*/ 753894 w 6955277"/>
              <a:gd name="connsiteY20" fmla="*/ 1486116 h 1656350"/>
              <a:gd name="connsiteX21" fmla="*/ 787941 w 6955277"/>
              <a:gd name="connsiteY21" fmla="*/ 1481252 h 1656350"/>
              <a:gd name="connsiteX22" fmla="*/ 792805 w 6955277"/>
              <a:gd name="connsiteY22" fmla="*/ 1466661 h 1656350"/>
              <a:gd name="connsiteX23" fmla="*/ 836579 w 6955277"/>
              <a:gd name="connsiteY23" fmla="*/ 1461797 h 1656350"/>
              <a:gd name="connsiteX24" fmla="*/ 851171 w 6955277"/>
              <a:gd name="connsiteY24" fmla="*/ 1456933 h 1656350"/>
              <a:gd name="connsiteX25" fmla="*/ 875490 w 6955277"/>
              <a:gd name="connsiteY25" fmla="*/ 1452069 h 1656350"/>
              <a:gd name="connsiteX26" fmla="*/ 894945 w 6955277"/>
              <a:gd name="connsiteY26" fmla="*/ 1447205 h 1656350"/>
              <a:gd name="connsiteX27" fmla="*/ 924128 w 6955277"/>
              <a:gd name="connsiteY27" fmla="*/ 1437478 h 1656350"/>
              <a:gd name="connsiteX28" fmla="*/ 933856 w 6955277"/>
              <a:gd name="connsiteY28" fmla="*/ 1422886 h 1656350"/>
              <a:gd name="connsiteX29" fmla="*/ 982494 w 6955277"/>
              <a:gd name="connsiteY29" fmla="*/ 1418022 h 1656350"/>
              <a:gd name="connsiteX30" fmla="*/ 997085 w 6955277"/>
              <a:gd name="connsiteY30" fmla="*/ 1413159 h 1656350"/>
              <a:gd name="connsiteX31" fmla="*/ 1011677 w 6955277"/>
              <a:gd name="connsiteY31" fmla="*/ 1403431 h 1656350"/>
              <a:gd name="connsiteX32" fmla="*/ 1118681 w 6955277"/>
              <a:gd name="connsiteY32" fmla="*/ 1398567 h 1656350"/>
              <a:gd name="connsiteX33" fmla="*/ 1147864 w 6955277"/>
              <a:gd name="connsiteY33" fmla="*/ 1388839 h 1656350"/>
              <a:gd name="connsiteX34" fmla="*/ 1240277 w 6955277"/>
              <a:gd name="connsiteY34" fmla="*/ 1374248 h 1656350"/>
              <a:gd name="connsiteX35" fmla="*/ 1269460 w 6955277"/>
              <a:gd name="connsiteY35" fmla="*/ 1364520 h 1656350"/>
              <a:gd name="connsiteX36" fmla="*/ 1303507 w 6955277"/>
              <a:gd name="connsiteY36" fmla="*/ 1354793 h 1656350"/>
              <a:gd name="connsiteX37" fmla="*/ 1332690 w 6955277"/>
              <a:gd name="connsiteY37" fmla="*/ 1340201 h 1656350"/>
              <a:gd name="connsiteX38" fmla="*/ 1400783 w 6955277"/>
              <a:gd name="connsiteY38" fmla="*/ 1330473 h 1656350"/>
              <a:gd name="connsiteX39" fmla="*/ 1429966 w 6955277"/>
              <a:gd name="connsiteY39" fmla="*/ 1320746 h 1656350"/>
              <a:gd name="connsiteX40" fmla="*/ 1444558 w 6955277"/>
              <a:gd name="connsiteY40" fmla="*/ 1315882 h 1656350"/>
              <a:gd name="connsiteX41" fmla="*/ 1532107 w 6955277"/>
              <a:gd name="connsiteY41" fmla="*/ 1301290 h 1656350"/>
              <a:gd name="connsiteX42" fmla="*/ 1561290 w 6955277"/>
              <a:gd name="connsiteY42" fmla="*/ 1291563 h 1656350"/>
              <a:gd name="connsiteX43" fmla="*/ 1600200 w 6955277"/>
              <a:gd name="connsiteY43" fmla="*/ 1286699 h 1656350"/>
              <a:gd name="connsiteX44" fmla="*/ 1634247 w 6955277"/>
              <a:gd name="connsiteY44" fmla="*/ 1281835 h 1656350"/>
              <a:gd name="connsiteX45" fmla="*/ 1697477 w 6955277"/>
              <a:gd name="connsiteY45" fmla="*/ 1272107 h 1656350"/>
              <a:gd name="connsiteX46" fmla="*/ 1712068 w 6955277"/>
              <a:gd name="connsiteY46" fmla="*/ 1262380 h 1656350"/>
              <a:gd name="connsiteX47" fmla="*/ 1736388 w 6955277"/>
              <a:gd name="connsiteY47" fmla="*/ 1257516 h 1656350"/>
              <a:gd name="connsiteX48" fmla="*/ 1823936 w 6955277"/>
              <a:gd name="connsiteY48" fmla="*/ 1252652 h 1656350"/>
              <a:gd name="connsiteX49" fmla="*/ 1828800 w 6955277"/>
              <a:gd name="connsiteY49" fmla="*/ 1228333 h 1656350"/>
              <a:gd name="connsiteX50" fmla="*/ 1843392 w 6955277"/>
              <a:gd name="connsiteY50" fmla="*/ 1223469 h 1656350"/>
              <a:gd name="connsiteX51" fmla="*/ 1867711 w 6955277"/>
              <a:gd name="connsiteY51" fmla="*/ 1218605 h 1656350"/>
              <a:gd name="connsiteX52" fmla="*/ 1945532 w 6955277"/>
              <a:gd name="connsiteY52" fmla="*/ 1213741 h 1656350"/>
              <a:gd name="connsiteX53" fmla="*/ 2033081 w 6955277"/>
              <a:gd name="connsiteY53" fmla="*/ 1208878 h 1656350"/>
              <a:gd name="connsiteX54" fmla="*/ 2091447 w 6955277"/>
              <a:gd name="connsiteY54" fmla="*/ 1189422 h 1656350"/>
              <a:gd name="connsiteX55" fmla="*/ 2106039 w 6955277"/>
              <a:gd name="connsiteY55" fmla="*/ 1179695 h 1656350"/>
              <a:gd name="connsiteX56" fmla="*/ 2140085 w 6955277"/>
              <a:gd name="connsiteY56" fmla="*/ 1174831 h 1656350"/>
              <a:gd name="connsiteX57" fmla="*/ 2188724 w 6955277"/>
              <a:gd name="connsiteY57" fmla="*/ 1160239 h 1656350"/>
              <a:gd name="connsiteX58" fmla="*/ 2222771 w 6955277"/>
              <a:gd name="connsiteY58" fmla="*/ 1155376 h 1656350"/>
              <a:gd name="connsiteX59" fmla="*/ 2237362 w 6955277"/>
              <a:gd name="connsiteY59" fmla="*/ 1150512 h 1656350"/>
              <a:gd name="connsiteX60" fmla="*/ 2305456 w 6955277"/>
              <a:gd name="connsiteY60" fmla="*/ 1140784 h 1656350"/>
              <a:gd name="connsiteX61" fmla="*/ 2349230 w 6955277"/>
              <a:gd name="connsiteY61" fmla="*/ 1131056 h 1656350"/>
              <a:gd name="connsiteX62" fmla="*/ 2363822 w 6955277"/>
              <a:gd name="connsiteY62" fmla="*/ 1126193 h 1656350"/>
              <a:gd name="connsiteX63" fmla="*/ 2431915 w 6955277"/>
              <a:gd name="connsiteY63" fmla="*/ 1116465 h 1656350"/>
              <a:gd name="connsiteX64" fmla="*/ 2436779 w 6955277"/>
              <a:gd name="connsiteY64" fmla="*/ 1101873 h 1656350"/>
              <a:gd name="connsiteX65" fmla="*/ 2465962 w 6955277"/>
              <a:gd name="connsiteY65" fmla="*/ 1092146 h 1656350"/>
              <a:gd name="connsiteX66" fmla="*/ 2572966 w 6955277"/>
              <a:gd name="connsiteY66" fmla="*/ 1092146 h 1656350"/>
              <a:gd name="connsiteX67" fmla="*/ 2587558 w 6955277"/>
              <a:gd name="connsiteY67" fmla="*/ 1082418 h 1656350"/>
              <a:gd name="connsiteX68" fmla="*/ 2602149 w 6955277"/>
              <a:gd name="connsiteY68" fmla="*/ 1077554 h 1656350"/>
              <a:gd name="connsiteX69" fmla="*/ 2616741 w 6955277"/>
              <a:gd name="connsiteY69" fmla="*/ 1067827 h 1656350"/>
              <a:gd name="connsiteX70" fmla="*/ 2645924 w 6955277"/>
              <a:gd name="connsiteY70" fmla="*/ 1062963 h 1656350"/>
              <a:gd name="connsiteX71" fmla="*/ 2704290 w 6955277"/>
              <a:gd name="connsiteY71" fmla="*/ 1043507 h 1656350"/>
              <a:gd name="connsiteX72" fmla="*/ 2718881 w 6955277"/>
              <a:gd name="connsiteY72" fmla="*/ 1038644 h 1656350"/>
              <a:gd name="connsiteX73" fmla="*/ 2733473 w 6955277"/>
              <a:gd name="connsiteY73" fmla="*/ 1033780 h 1656350"/>
              <a:gd name="connsiteX74" fmla="*/ 2752928 w 6955277"/>
              <a:gd name="connsiteY74" fmla="*/ 1028916 h 1656350"/>
              <a:gd name="connsiteX75" fmla="*/ 2777247 w 6955277"/>
              <a:gd name="connsiteY75" fmla="*/ 1024052 h 1656350"/>
              <a:gd name="connsiteX76" fmla="*/ 2830749 w 6955277"/>
              <a:gd name="connsiteY76" fmla="*/ 1019188 h 1656350"/>
              <a:gd name="connsiteX77" fmla="*/ 2864796 w 6955277"/>
              <a:gd name="connsiteY77" fmla="*/ 1014324 h 1656350"/>
              <a:gd name="connsiteX78" fmla="*/ 2879388 w 6955277"/>
              <a:gd name="connsiteY78" fmla="*/ 1009461 h 1656350"/>
              <a:gd name="connsiteX79" fmla="*/ 2898843 w 6955277"/>
              <a:gd name="connsiteY79" fmla="*/ 1004597 h 1656350"/>
              <a:gd name="connsiteX80" fmla="*/ 2913434 w 6955277"/>
              <a:gd name="connsiteY80" fmla="*/ 994869 h 1656350"/>
              <a:gd name="connsiteX81" fmla="*/ 2981528 w 6955277"/>
              <a:gd name="connsiteY81" fmla="*/ 985141 h 1656350"/>
              <a:gd name="connsiteX82" fmla="*/ 2986392 w 6955277"/>
              <a:gd name="connsiteY82" fmla="*/ 970550 h 1656350"/>
              <a:gd name="connsiteX83" fmla="*/ 3059349 w 6955277"/>
              <a:gd name="connsiteY83" fmla="*/ 965686 h 1656350"/>
              <a:gd name="connsiteX84" fmla="*/ 3107988 w 6955277"/>
              <a:gd name="connsiteY84" fmla="*/ 960822 h 1656350"/>
              <a:gd name="connsiteX85" fmla="*/ 3185809 w 6955277"/>
              <a:gd name="connsiteY85" fmla="*/ 951095 h 1656350"/>
              <a:gd name="connsiteX86" fmla="*/ 3229583 w 6955277"/>
              <a:gd name="connsiteY86" fmla="*/ 946231 h 1656350"/>
              <a:gd name="connsiteX87" fmla="*/ 3263630 w 6955277"/>
              <a:gd name="connsiteY87" fmla="*/ 936503 h 1656350"/>
              <a:gd name="connsiteX88" fmla="*/ 3302541 w 6955277"/>
              <a:gd name="connsiteY88" fmla="*/ 931639 h 1656350"/>
              <a:gd name="connsiteX89" fmla="*/ 3317132 w 6955277"/>
              <a:gd name="connsiteY89" fmla="*/ 926776 h 1656350"/>
              <a:gd name="connsiteX90" fmla="*/ 3321996 w 6955277"/>
              <a:gd name="connsiteY90" fmla="*/ 912184 h 1656350"/>
              <a:gd name="connsiteX91" fmla="*/ 3433864 w 6955277"/>
              <a:gd name="connsiteY91" fmla="*/ 907320 h 1656350"/>
              <a:gd name="connsiteX92" fmla="*/ 3438728 w 6955277"/>
              <a:gd name="connsiteY92" fmla="*/ 892729 h 1656350"/>
              <a:gd name="connsiteX93" fmla="*/ 3453319 w 6955277"/>
              <a:gd name="connsiteY93" fmla="*/ 883001 h 1656350"/>
              <a:gd name="connsiteX94" fmla="*/ 3540868 w 6955277"/>
              <a:gd name="connsiteY94" fmla="*/ 878137 h 1656350"/>
              <a:gd name="connsiteX95" fmla="*/ 3560324 w 6955277"/>
              <a:gd name="connsiteY95" fmla="*/ 873273 h 1656350"/>
              <a:gd name="connsiteX96" fmla="*/ 3589507 w 6955277"/>
              <a:gd name="connsiteY96" fmla="*/ 863546 h 1656350"/>
              <a:gd name="connsiteX97" fmla="*/ 3618690 w 6955277"/>
              <a:gd name="connsiteY97" fmla="*/ 858682 h 1656350"/>
              <a:gd name="connsiteX98" fmla="*/ 3715966 w 6955277"/>
              <a:gd name="connsiteY98" fmla="*/ 844090 h 1656350"/>
              <a:gd name="connsiteX99" fmla="*/ 3745149 w 6955277"/>
              <a:gd name="connsiteY99" fmla="*/ 834363 h 1656350"/>
              <a:gd name="connsiteX100" fmla="*/ 3750013 w 6955277"/>
              <a:gd name="connsiteY100" fmla="*/ 819771 h 1656350"/>
              <a:gd name="connsiteX101" fmla="*/ 3764605 w 6955277"/>
              <a:gd name="connsiteY101" fmla="*/ 814907 h 1656350"/>
              <a:gd name="connsiteX102" fmla="*/ 3798651 w 6955277"/>
              <a:gd name="connsiteY102" fmla="*/ 810044 h 1656350"/>
              <a:gd name="connsiteX103" fmla="*/ 3822971 w 6955277"/>
              <a:gd name="connsiteY103" fmla="*/ 805180 h 1656350"/>
              <a:gd name="connsiteX104" fmla="*/ 3852154 w 6955277"/>
              <a:gd name="connsiteY104" fmla="*/ 795452 h 1656350"/>
              <a:gd name="connsiteX105" fmla="*/ 3915383 w 6955277"/>
              <a:gd name="connsiteY105" fmla="*/ 790588 h 1656350"/>
              <a:gd name="connsiteX106" fmla="*/ 3959158 w 6955277"/>
              <a:gd name="connsiteY106" fmla="*/ 785724 h 1656350"/>
              <a:gd name="connsiteX107" fmla="*/ 3964022 w 6955277"/>
              <a:gd name="connsiteY107" fmla="*/ 771133 h 1656350"/>
              <a:gd name="connsiteX108" fmla="*/ 3993205 w 6955277"/>
              <a:gd name="connsiteY108" fmla="*/ 761405 h 1656350"/>
              <a:gd name="connsiteX109" fmla="*/ 4017524 w 6955277"/>
              <a:gd name="connsiteY109" fmla="*/ 756541 h 1656350"/>
              <a:gd name="connsiteX110" fmla="*/ 4036979 w 6955277"/>
              <a:gd name="connsiteY110" fmla="*/ 751678 h 1656350"/>
              <a:gd name="connsiteX111" fmla="*/ 4075890 w 6955277"/>
              <a:gd name="connsiteY111" fmla="*/ 746814 h 1656350"/>
              <a:gd name="connsiteX112" fmla="*/ 4095345 w 6955277"/>
              <a:gd name="connsiteY112" fmla="*/ 741950 h 1656350"/>
              <a:gd name="connsiteX113" fmla="*/ 4158575 w 6955277"/>
              <a:gd name="connsiteY113" fmla="*/ 727359 h 1656350"/>
              <a:gd name="connsiteX114" fmla="*/ 4173166 w 6955277"/>
              <a:gd name="connsiteY114" fmla="*/ 722495 h 1656350"/>
              <a:gd name="connsiteX115" fmla="*/ 4187758 w 6955277"/>
              <a:gd name="connsiteY115" fmla="*/ 712767 h 1656350"/>
              <a:gd name="connsiteX116" fmla="*/ 4265579 w 6955277"/>
              <a:gd name="connsiteY116" fmla="*/ 707903 h 1656350"/>
              <a:gd name="connsiteX117" fmla="*/ 4275307 w 6955277"/>
              <a:gd name="connsiteY117" fmla="*/ 693312 h 1656350"/>
              <a:gd name="connsiteX118" fmla="*/ 4421222 w 6955277"/>
              <a:gd name="connsiteY118" fmla="*/ 678720 h 1656350"/>
              <a:gd name="connsiteX119" fmla="*/ 4440677 w 6955277"/>
              <a:gd name="connsiteY119" fmla="*/ 668993 h 1656350"/>
              <a:gd name="connsiteX120" fmla="*/ 4557409 w 6955277"/>
              <a:gd name="connsiteY120" fmla="*/ 659265 h 1656350"/>
              <a:gd name="connsiteX121" fmla="*/ 4567136 w 6955277"/>
              <a:gd name="connsiteY121" fmla="*/ 644673 h 1656350"/>
              <a:gd name="connsiteX122" fmla="*/ 4581728 w 6955277"/>
              <a:gd name="connsiteY122" fmla="*/ 639810 h 1656350"/>
              <a:gd name="connsiteX123" fmla="*/ 4635230 w 6955277"/>
              <a:gd name="connsiteY123" fmla="*/ 634946 h 1656350"/>
              <a:gd name="connsiteX124" fmla="*/ 4669277 w 6955277"/>
              <a:gd name="connsiteY124" fmla="*/ 630082 h 1656350"/>
              <a:gd name="connsiteX125" fmla="*/ 4703324 w 6955277"/>
              <a:gd name="connsiteY125" fmla="*/ 610627 h 1656350"/>
              <a:gd name="connsiteX126" fmla="*/ 4732507 w 6955277"/>
              <a:gd name="connsiteY126" fmla="*/ 605763 h 1656350"/>
              <a:gd name="connsiteX127" fmla="*/ 4790873 w 6955277"/>
              <a:gd name="connsiteY127" fmla="*/ 591171 h 1656350"/>
              <a:gd name="connsiteX128" fmla="*/ 4844375 w 6955277"/>
              <a:gd name="connsiteY128" fmla="*/ 581444 h 1656350"/>
              <a:gd name="connsiteX129" fmla="*/ 4907605 w 6955277"/>
              <a:gd name="connsiteY129" fmla="*/ 557124 h 1656350"/>
              <a:gd name="connsiteX130" fmla="*/ 4990290 w 6955277"/>
              <a:gd name="connsiteY130" fmla="*/ 552261 h 1656350"/>
              <a:gd name="connsiteX131" fmla="*/ 5009745 w 6955277"/>
              <a:gd name="connsiteY131" fmla="*/ 523078 h 1656350"/>
              <a:gd name="connsiteX132" fmla="*/ 5024336 w 6955277"/>
              <a:gd name="connsiteY132" fmla="*/ 513350 h 1656350"/>
              <a:gd name="connsiteX133" fmla="*/ 5058383 w 6955277"/>
              <a:gd name="connsiteY133" fmla="*/ 503622 h 1656350"/>
              <a:gd name="connsiteX134" fmla="*/ 5072975 w 6955277"/>
              <a:gd name="connsiteY134" fmla="*/ 498759 h 1656350"/>
              <a:gd name="connsiteX135" fmla="*/ 5087566 w 6955277"/>
              <a:gd name="connsiteY135" fmla="*/ 489031 h 1656350"/>
              <a:gd name="connsiteX136" fmla="*/ 5136205 w 6955277"/>
              <a:gd name="connsiteY136" fmla="*/ 474439 h 1656350"/>
              <a:gd name="connsiteX137" fmla="*/ 5150796 w 6955277"/>
              <a:gd name="connsiteY137" fmla="*/ 469576 h 1656350"/>
              <a:gd name="connsiteX138" fmla="*/ 5179979 w 6955277"/>
              <a:gd name="connsiteY138" fmla="*/ 464712 h 1656350"/>
              <a:gd name="connsiteX139" fmla="*/ 5194571 w 6955277"/>
              <a:gd name="connsiteY139" fmla="*/ 459848 h 1656350"/>
              <a:gd name="connsiteX140" fmla="*/ 5267528 w 6955277"/>
              <a:gd name="connsiteY140" fmla="*/ 454984 h 1656350"/>
              <a:gd name="connsiteX141" fmla="*/ 5301575 w 6955277"/>
              <a:gd name="connsiteY141" fmla="*/ 450120 h 1656350"/>
              <a:gd name="connsiteX142" fmla="*/ 5321030 w 6955277"/>
              <a:gd name="connsiteY142" fmla="*/ 445256 h 1656350"/>
              <a:gd name="connsiteX143" fmla="*/ 5369668 w 6955277"/>
              <a:gd name="connsiteY143" fmla="*/ 440393 h 1656350"/>
              <a:gd name="connsiteX144" fmla="*/ 5437762 w 6955277"/>
              <a:gd name="connsiteY144" fmla="*/ 430665 h 1656350"/>
              <a:gd name="connsiteX145" fmla="*/ 5466945 w 6955277"/>
              <a:gd name="connsiteY145" fmla="*/ 425801 h 1656350"/>
              <a:gd name="connsiteX146" fmla="*/ 5500992 w 6955277"/>
              <a:gd name="connsiteY146" fmla="*/ 416073 h 1656350"/>
              <a:gd name="connsiteX147" fmla="*/ 5515583 w 6955277"/>
              <a:gd name="connsiteY147" fmla="*/ 411210 h 1656350"/>
              <a:gd name="connsiteX148" fmla="*/ 5564222 w 6955277"/>
              <a:gd name="connsiteY148" fmla="*/ 411211 h 1656350"/>
              <a:gd name="connsiteX149" fmla="*/ 5637179 w 6955277"/>
              <a:gd name="connsiteY149" fmla="*/ 386891 h 1656350"/>
              <a:gd name="connsiteX150" fmla="*/ 5666362 w 6955277"/>
              <a:gd name="connsiteY150" fmla="*/ 391754 h 1656350"/>
              <a:gd name="connsiteX151" fmla="*/ 5685817 w 6955277"/>
              <a:gd name="connsiteY151" fmla="*/ 382027 h 1656350"/>
              <a:gd name="connsiteX152" fmla="*/ 5724728 w 6955277"/>
              <a:gd name="connsiteY152" fmla="*/ 377163 h 1656350"/>
              <a:gd name="connsiteX153" fmla="*/ 5729592 w 6955277"/>
              <a:gd name="connsiteY153" fmla="*/ 362571 h 1656350"/>
              <a:gd name="connsiteX154" fmla="*/ 5744183 w 6955277"/>
              <a:gd name="connsiteY154" fmla="*/ 357707 h 1656350"/>
              <a:gd name="connsiteX155" fmla="*/ 5783094 w 6955277"/>
              <a:gd name="connsiteY155" fmla="*/ 352844 h 1656350"/>
              <a:gd name="connsiteX156" fmla="*/ 5812277 w 6955277"/>
              <a:gd name="connsiteY156" fmla="*/ 338252 h 1656350"/>
              <a:gd name="connsiteX157" fmla="*/ 5841460 w 6955277"/>
              <a:gd name="connsiteY157" fmla="*/ 328524 h 1656350"/>
              <a:gd name="connsiteX158" fmla="*/ 5885234 w 6955277"/>
              <a:gd name="connsiteY158" fmla="*/ 318797 h 1656350"/>
              <a:gd name="connsiteX159" fmla="*/ 5899826 w 6955277"/>
              <a:gd name="connsiteY159" fmla="*/ 309069 h 1656350"/>
              <a:gd name="connsiteX160" fmla="*/ 5997102 w 6955277"/>
              <a:gd name="connsiteY160" fmla="*/ 299341 h 1656350"/>
              <a:gd name="connsiteX161" fmla="*/ 6040877 w 6955277"/>
              <a:gd name="connsiteY161" fmla="*/ 284750 h 1656350"/>
              <a:gd name="connsiteX162" fmla="*/ 6055468 w 6955277"/>
              <a:gd name="connsiteY162" fmla="*/ 275022 h 1656350"/>
              <a:gd name="connsiteX163" fmla="*/ 6079788 w 6955277"/>
              <a:gd name="connsiteY163" fmla="*/ 270159 h 1656350"/>
              <a:gd name="connsiteX164" fmla="*/ 6128426 w 6955277"/>
              <a:gd name="connsiteY164" fmla="*/ 265295 h 1656350"/>
              <a:gd name="connsiteX165" fmla="*/ 6167336 w 6955277"/>
              <a:gd name="connsiteY165" fmla="*/ 260431 h 1656350"/>
              <a:gd name="connsiteX166" fmla="*/ 6206247 w 6955277"/>
              <a:gd name="connsiteY166" fmla="*/ 250703 h 1656350"/>
              <a:gd name="connsiteX167" fmla="*/ 6220839 w 6955277"/>
              <a:gd name="connsiteY167" fmla="*/ 240976 h 1656350"/>
              <a:gd name="connsiteX168" fmla="*/ 6274341 w 6955277"/>
              <a:gd name="connsiteY168" fmla="*/ 236112 h 1656350"/>
              <a:gd name="connsiteX169" fmla="*/ 6395936 w 6955277"/>
              <a:gd name="connsiteY169" fmla="*/ 221520 h 1656350"/>
              <a:gd name="connsiteX170" fmla="*/ 6410528 w 6955277"/>
              <a:gd name="connsiteY170" fmla="*/ 192337 h 1656350"/>
              <a:gd name="connsiteX171" fmla="*/ 6439711 w 6955277"/>
              <a:gd name="connsiteY171" fmla="*/ 187473 h 1656350"/>
              <a:gd name="connsiteX172" fmla="*/ 6488349 w 6955277"/>
              <a:gd name="connsiteY172" fmla="*/ 182610 h 1656350"/>
              <a:gd name="connsiteX173" fmla="*/ 6507805 w 6955277"/>
              <a:gd name="connsiteY173" fmla="*/ 177746 h 1656350"/>
              <a:gd name="connsiteX174" fmla="*/ 6522396 w 6955277"/>
              <a:gd name="connsiteY174" fmla="*/ 172882 h 1656350"/>
              <a:gd name="connsiteX175" fmla="*/ 6561307 w 6955277"/>
              <a:gd name="connsiteY175" fmla="*/ 163154 h 1656350"/>
              <a:gd name="connsiteX176" fmla="*/ 6566171 w 6955277"/>
              <a:gd name="connsiteY176" fmla="*/ 148563 h 1656350"/>
              <a:gd name="connsiteX177" fmla="*/ 6580762 w 6955277"/>
              <a:gd name="connsiteY177" fmla="*/ 143699 h 1656350"/>
              <a:gd name="connsiteX178" fmla="*/ 6605081 w 6955277"/>
              <a:gd name="connsiteY178" fmla="*/ 138835 h 1656350"/>
              <a:gd name="connsiteX179" fmla="*/ 6639128 w 6955277"/>
              <a:gd name="connsiteY179" fmla="*/ 119380 h 1656350"/>
              <a:gd name="connsiteX180" fmla="*/ 6643992 w 6955277"/>
              <a:gd name="connsiteY180" fmla="*/ 99924 h 1656350"/>
              <a:gd name="connsiteX181" fmla="*/ 6780179 w 6955277"/>
              <a:gd name="connsiteY181" fmla="*/ 99924 h 1656350"/>
              <a:gd name="connsiteX182" fmla="*/ 6785043 w 6955277"/>
              <a:gd name="connsiteY182" fmla="*/ 65878 h 1656350"/>
              <a:gd name="connsiteX183" fmla="*/ 6809362 w 6955277"/>
              <a:gd name="connsiteY183" fmla="*/ 61014 h 1656350"/>
              <a:gd name="connsiteX184" fmla="*/ 6828817 w 6955277"/>
              <a:gd name="connsiteY184" fmla="*/ 56150 h 1656350"/>
              <a:gd name="connsiteX185" fmla="*/ 6955277 w 6955277"/>
              <a:gd name="connsiteY185" fmla="*/ 2647 h 1656350"/>
              <a:gd name="connsiteX0" fmla="*/ 0 w 6955277"/>
              <a:gd name="connsiteY0" fmla="*/ 1656350 h 1656350"/>
              <a:gd name="connsiteX1" fmla="*/ 48639 w 6955277"/>
              <a:gd name="connsiteY1" fmla="*/ 1646622 h 1656350"/>
              <a:gd name="connsiteX2" fmla="*/ 77822 w 6955277"/>
              <a:gd name="connsiteY2" fmla="*/ 1632031 h 1656350"/>
              <a:gd name="connsiteX3" fmla="*/ 141051 w 6955277"/>
              <a:gd name="connsiteY3" fmla="*/ 1627167 h 1656350"/>
              <a:gd name="connsiteX4" fmla="*/ 170234 w 6955277"/>
              <a:gd name="connsiteY4" fmla="*/ 1602848 h 1656350"/>
              <a:gd name="connsiteX5" fmla="*/ 184826 w 6955277"/>
              <a:gd name="connsiteY5" fmla="*/ 1593120 h 1656350"/>
              <a:gd name="connsiteX6" fmla="*/ 238328 w 6955277"/>
              <a:gd name="connsiteY6" fmla="*/ 1593120 h 1656350"/>
              <a:gd name="connsiteX7" fmla="*/ 252919 w 6955277"/>
              <a:gd name="connsiteY7" fmla="*/ 1583393 h 1656350"/>
              <a:gd name="connsiteX8" fmla="*/ 301558 w 6955277"/>
              <a:gd name="connsiteY8" fmla="*/ 1578529 h 1656350"/>
              <a:gd name="connsiteX9" fmla="*/ 321013 w 6955277"/>
              <a:gd name="connsiteY9" fmla="*/ 1568801 h 1656350"/>
              <a:gd name="connsiteX10" fmla="*/ 369651 w 6955277"/>
              <a:gd name="connsiteY10" fmla="*/ 1549346 h 1656350"/>
              <a:gd name="connsiteX11" fmla="*/ 418290 w 6955277"/>
              <a:gd name="connsiteY11" fmla="*/ 1549346 h 1656350"/>
              <a:gd name="connsiteX12" fmla="*/ 432881 w 6955277"/>
              <a:gd name="connsiteY12" fmla="*/ 1534754 h 1656350"/>
              <a:gd name="connsiteX13" fmla="*/ 447473 w 6955277"/>
              <a:gd name="connsiteY13" fmla="*/ 1529890 h 1656350"/>
              <a:gd name="connsiteX14" fmla="*/ 515566 w 6955277"/>
              <a:gd name="connsiteY14" fmla="*/ 1529890 h 1656350"/>
              <a:gd name="connsiteX15" fmla="*/ 520430 w 6955277"/>
              <a:gd name="connsiteY15" fmla="*/ 1510435 h 1656350"/>
              <a:gd name="connsiteX16" fmla="*/ 612843 w 6955277"/>
              <a:gd name="connsiteY16" fmla="*/ 1510435 h 1656350"/>
              <a:gd name="connsiteX17" fmla="*/ 617707 w 6955277"/>
              <a:gd name="connsiteY17" fmla="*/ 1495844 h 1656350"/>
              <a:gd name="connsiteX18" fmla="*/ 666345 w 6955277"/>
              <a:gd name="connsiteY18" fmla="*/ 1490980 h 1656350"/>
              <a:gd name="connsiteX19" fmla="*/ 695528 w 6955277"/>
              <a:gd name="connsiteY19" fmla="*/ 1495844 h 1656350"/>
              <a:gd name="connsiteX20" fmla="*/ 753894 w 6955277"/>
              <a:gd name="connsiteY20" fmla="*/ 1486116 h 1656350"/>
              <a:gd name="connsiteX21" fmla="*/ 787941 w 6955277"/>
              <a:gd name="connsiteY21" fmla="*/ 1481252 h 1656350"/>
              <a:gd name="connsiteX22" fmla="*/ 792805 w 6955277"/>
              <a:gd name="connsiteY22" fmla="*/ 1466661 h 1656350"/>
              <a:gd name="connsiteX23" fmla="*/ 836579 w 6955277"/>
              <a:gd name="connsiteY23" fmla="*/ 1461797 h 1656350"/>
              <a:gd name="connsiteX24" fmla="*/ 851171 w 6955277"/>
              <a:gd name="connsiteY24" fmla="*/ 1456933 h 1656350"/>
              <a:gd name="connsiteX25" fmla="*/ 875490 w 6955277"/>
              <a:gd name="connsiteY25" fmla="*/ 1452069 h 1656350"/>
              <a:gd name="connsiteX26" fmla="*/ 894945 w 6955277"/>
              <a:gd name="connsiteY26" fmla="*/ 1447205 h 1656350"/>
              <a:gd name="connsiteX27" fmla="*/ 924128 w 6955277"/>
              <a:gd name="connsiteY27" fmla="*/ 1437478 h 1656350"/>
              <a:gd name="connsiteX28" fmla="*/ 933856 w 6955277"/>
              <a:gd name="connsiteY28" fmla="*/ 1422886 h 1656350"/>
              <a:gd name="connsiteX29" fmla="*/ 982494 w 6955277"/>
              <a:gd name="connsiteY29" fmla="*/ 1418022 h 1656350"/>
              <a:gd name="connsiteX30" fmla="*/ 997085 w 6955277"/>
              <a:gd name="connsiteY30" fmla="*/ 1413159 h 1656350"/>
              <a:gd name="connsiteX31" fmla="*/ 1011677 w 6955277"/>
              <a:gd name="connsiteY31" fmla="*/ 1403431 h 1656350"/>
              <a:gd name="connsiteX32" fmla="*/ 1118681 w 6955277"/>
              <a:gd name="connsiteY32" fmla="*/ 1398567 h 1656350"/>
              <a:gd name="connsiteX33" fmla="*/ 1147864 w 6955277"/>
              <a:gd name="connsiteY33" fmla="*/ 1388839 h 1656350"/>
              <a:gd name="connsiteX34" fmla="*/ 1240277 w 6955277"/>
              <a:gd name="connsiteY34" fmla="*/ 1374248 h 1656350"/>
              <a:gd name="connsiteX35" fmla="*/ 1269460 w 6955277"/>
              <a:gd name="connsiteY35" fmla="*/ 1364520 h 1656350"/>
              <a:gd name="connsiteX36" fmla="*/ 1303507 w 6955277"/>
              <a:gd name="connsiteY36" fmla="*/ 1354793 h 1656350"/>
              <a:gd name="connsiteX37" fmla="*/ 1332690 w 6955277"/>
              <a:gd name="connsiteY37" fmla="*/ 1340201 h 1656350"/>
              <a:gd name="connsiteX38" fmla="*/ 1400783 w 6955277"/>
              <a:gd name="connsiteY38" fmla="*/ 1330473 h 1656350"/>
              <a:gd name="connsiteX39" fmla="*/ 1429966 w 6955277"/>
              <a:gd name="connsiteY39" fmla="*/ 1320746 h 1656350"/>
              <a:gd name="connsiteX40" fmla="*/ 1444558 w 6955277"/>
              <a:gd name="connsiteY40" fmla="*/ 1315882 h 1656350"/>
              <a:gd name="connsiteX41" fmla="*/ 1532107 w 6955277"/>
              <a:gd name="connsiteY41" fmla="*/ 1301290 h 1656350"/>
              <a:gd name="connsiteX42" fmla="*/ 1561290 w 6955277"/>
              <a:gd name="connsiteY42" fmla="*/ 1291563 h 1656350"/>
              <a:gd name="connsiteX43" fmla="*/ 1600200 w 6955277"/>
              <a:gd name="connsiteY43" fmla="*/ 1286699 h 1656350"/>
              <a:gd name="connsiteX44" fmla="*/ 1634247 w 6955277"/>
              <a:gd name="connsiteY44" fmla="*/ 1281835 h 1656350"/>
              <a:gd name="connsiteX45" fmla="*/ 1697477 w 6955277"/>
              <a:gd name="connsiteY45" fmla="*/ 1272107 h 1656350"/>
              <a:gd name="connsiteX46" fmla="*/ 1712068 w 6955277"/>
              <a:gd name="connsiteY46" fmla="*/ 1262380 h 1656350"/>
              <a:gd name="connsiteX47" fmla="*/ 1736388 w 6955277"/>
              <a:gd name="connsiteY47" fmla="*/ 1257516 h 1656350"/>
              <a:gd name="connsiteX48" fmla="*/ 1823936 w 6955277"/>
              <a:gd name="connsiteY48" fmla="*/ 1252652 h 1656350"/>
              <a:gd name="connsiteX49" fmla="*/ 1828800 w 6955277"/>
              <a:gd name="connsiteY49" fmla="*/ 1228333 h 1656350"/>
              <a:gd name="connsiteX50" fmla="*/ 1843392 w 6955277"/>
              <a:gd name="connsiteY50" fmla="*/ 1223469 h 1656350"/>
              <a:gd name="connsiteX51" fmla="*/ 1867711 w 6955277"/>
              <a:gd name="connsiteY51" fmla="*/ 1218605 h 1656350"/>
              <a:gd name="connsiteX52" fmla="*/ 1945532 w 6955277"/>
              <a:gd name="connsiteY52" fmla="*/ 1213741 h 1656350"/>
              <a:gd name="connsiteX53" fmla="*/ 2033081 w 6955277"/>
              <a:gd name="connsiteY53" fmla="*/ 1208878 h 1656350"/>
              <a:gd name="connsiteX54" fmla="*/ 2091447 w 6955277"/>
              <a:gd name="connsiteY54" fmla="*/ 1189422 h 1656350"/>
              <a:gd name="connsiteX55" fmla="*/ 2106039 w 6955277"/>
              <a:gd name="connsiteY55" fmla="*/ 1179695 h 1656350"/>
              <a:gd name="connsiteX56" fmla="*/ 2140085 w 6955277"/>
              <a:gd name="connsiteY56" fmla="*/ 1174831 h 1656350"/>
              <a:gd name="connsiteX57" fmla="*/ 2188724 w 6955277"/>
              <a:gd name="connsiteY57" fmla="*/ 1160239 h 1656350"/>
              <a:gd name="connsiteX58" fmla="*/ 2222771 w 6955277"/>
              <a:gd name="connsiteY58" fmla="*/ 1155376 h 1656350"/>
              <a:gd name="connsiteX59" fmla="*/ 2237362 w 6955277"/>
              <a:gd name="connsiteY59" fmla="*/ 1150512 h 1656350"/>
              <a:gd name="connsiteX60" fmla="*/ 2305456 w 6955277"/>
              <a:gd name="connsiteY60" fmla="*/ 1140784 h 1656350"/>
              <a:gd name="connsiteX61" fmla="*/ 2349230 w 6955277"/>
              <a:gd name="connsiteY61" fmla="*/ 1131056 h 1656350"/>
              <a:gd name="connsiteX62" fmla="*/ 2363822 w 6955277"/>
              <a:gd name="connsiteY62" fmla="*/ 1126193 h 1656350"/>
              <a:gd name="connsiteX63" fmla="*/ 2431915 w 6955277"/>
              <a:gd name="connsiteY63" fmla="*/ 1116465 h 1656350"/>
              <a:gd name="connsiteX64" fmla="*/ 2436779 w 6955277"/>
              <a:gd name="connsiteY64" fmla="*/ 1101873 h 1656350"/>
              <a:gd name="connsiteX65" fmla="*/ 2465962 w 6955277"/>
              <a:gd name="connsiteY65" fmla="*/ 1092146 h 1656350"/>
              <a:gd name="connsiteX66" fmla="*/ 2572966 w 6955277"/>
              <a:gd name="connsiteY66" fmla="*/ 1092146 h 1656350"/>
              <a:gd name="connsiteX67" fmla="*/ 2587558 w 6955277"/>
              <a:gd name="connsiteY67" fmla="*/ 1082418 h 1656350"/>
              <a:gd name="connsiteX68" fmla="*/ 2602149 w 6955277"/>
              <a:gd name="connsiteY68" fmla="*/ 1077554 h 1656350"/>
              <a:gd name="connsiteX69" fmla="*/ 2616741 w 6955277"/>
              <a:gd name="connsiteY69" fmla="*/ 1067827 h 1656350"/>
              <a:gd name="connsiteX70" fmla="*/ 2645924 w 6955277"/>
              <a:gd name="connsiteY70" fmla="*/ 1062963 h 1656350"/>
              <a:gd name="connsiteX71" fmla="*/ 2704290 w 6955277"/>
              <a:gd name="connsiteY71" fmla="*/ 1043507 h 1656350"/>
              <a:gd name="connsiteX72" fmla="*/ 2718881 w 6955277"/>
              <a:gd name="connsiteY72" fmla="*/ 1038644 h 1656350"/>
              <a:gd name="connsiteX73" fmla="*/ 2733473 w 6955277"/>
              <a:gd name="connsiteY73" fmla="*/ 1033780 h 1656350"/>
              <a:gd name="connsiteX74" fmla="*/ 2752928 w 6955277"/>
              <a:gd name="connsiteY74" fmla="*/ 1028916 h 1656350"/>
              <a:gd name="connsiteX75" fmla="*/ 2777247 w 6955277"/>
              <a:gd name="connsiteY75" fmla="*/ 1024052 h 1656350"/>
              <a:gd name="connsiteX76" fmla="*/ 2830749 w 6955277"/>
              <a:gd name="connsiteY76" fmla="*/ 1019188 h 1656350"/>
              <a:gd name="connsiteX77" fmla="*/ 2864796 w 6955277"/>
              <a:gd name="connsiteY77" fmla="*/ 1014324 h 1656350"/>
              <a:gd name="connsiteX78" fmla="*/ 2879388 w 6955277"/>
              <a:gd name="connsiteY78" fmla="*/ 1009461 h 1656350"/>
              <a:gd name="connsiteX79" fmla="*/ 2898843 w 6955277"/>
              <a:gd name="connsiteY79" fmla="*/ 1004597 h 1656350"/>
              <a:gd name="connsiteX80" fmla="*/ 2913434 w 6955277"/>
              <a:gd name="connsiteY80" fmla="*/ 994869 h 1656350"/>
              <a:gd name="connsiteX81" fmla="*/ 2981528 w 6955277"/>
              <a:gd name="connsiteY81" fmla="*/ 985141 h 1656350"/>
              <a:gd name="connsiteX82" fmla="*/ 2986392 w 6955277"/>
              <a:gd name="connsiteY82" fmla="*/ 970550 h 1656350"/>
              <a:gd name="connsiteX83" fmla="*/ 3059349 w 6955277"/>
              <a:gd name="connsiteY83" fmla="*/ 965686 h 1656350"/>
              <a:gd name="connsiteX84" fmla="*/ 3107988 w 6955277"/>
              <a:gd name="connsiteY84" fmla="*/ 960822 h 1656350"/>
              <a:gd name="connsiteX85" fmla="*/ 3185809 w 6955277"/>
              <a:gd name="connsiteY85" fmla="*/ 951095 h 1656350"/>
              <a:gd name="connsiteX86" fmla="*/ 3229583 w 6955277"/>
              <a:gd name="connsiteY86" fmla="*/ 946231 h 1656350"/>
              <a:gd name="connsiteX87" fmla="*/ 3263630 w 6955277"/>
              <a:gd name="connsiteY87" fmla="*/ 936503 h 1656350"/>
              <a:gd name="connsiteX88" fmla="*/ 3302541 w 6955277"/>
              <a:gd name="connsiteY88" fmla="*/ 931639 h 1656350"/>
              <a:gd name="connsiteX89" fmla="*/ 3317132 w 6955277"/>
              <a:gd name="connsiteY89" fmla="*/ 926776 h 1656350"/>
              <a:gd name="connsiteX90" fmla="*/ 3321996 w 6955277"/>
              <a:gd name="connsiteY90" fmla="*/ 912184 h 1656350"/>
              <a:gd name="connsiteX91" fmla="*/ 3433864 w 6955277"/>
              <a:gd name="connsiteY91" fmla="*/ 907320 h 1656350"/>
              <a:gd name="connsiteX92" fmla="*/ 3438728 w 6955277"/>
              <a:gd name="connsiteY92" fmla="*/ 892729 h 1656350"/>
              <a:gd name="connsiteX93" fmla="*/ 3453319 w 6955277"/>
              <a:gd name="connsiteY93" fmla="*/ 883001 h 1656350"/>
              <a:gd name="connsiteX94" fmla="*/ 3540868 w 6955277"/>
              <a:gd name="connsiteY94" fmla="*/ 878137 h 1656350"/>
              <a:gd name="connsiteX95" fmla="*/ 3560324 w 6955277"/>
              <a:gd name="connsiteY95" fmla="*/ 873273 h 1656350"/>
              <a:gd name="connsiteX96" fmla="*/ 3589507 w 6955277"/>
              <a:gd name="connsiteY96" fmla="*/ 863546 h 1656350"/>
              <a:gd name="connsiteX97" fmla="*/ 3618690 w 6955277"/>
              <a:gd name="connsiteY97" fmla="*/ 858682 h 1656350"/>
              <a:gd name="connsiteX98" fmla="*/ 3715966 w 6955277"/>
              <a:gd name="connsiteY98" fmla="*/ 844090 h 1656350"/>
              <a:gd name="connsiteX99" fmla="*/ 3745149 w 6955277"/>
              <a:gd name="connsiteY99" fmla="*/ 834363 h 1656350"/>
              <a:gd name="connsiteX100" fmla="*/ 3750013 w 6955277"/>
              <a:gd name="connsiteY100" fmla="*/ 819771 h 1656350"/>
              <a:gd name="connsiteX101" fmla="*/ 3764605 w 6955277"/>
              <a:gd name="connsiteY101" fmla="*/ 814907 h 1656350"/>
              <a:gd name="connsiteX102" fmla="*/ 3798651 w 6955277"/>
              <a:gd name="connsiteY102" fmla="*/ 810044 h 1656350"/>
              <a:gd name="connsiteX103" fmla="*/ 3822971 w 6955277"/>
              <a:gd name="connsiteY103" fmla="*/ 805180 h 1656350"/>
              <a:gd name="connsiteX104" fmla="*/ 3852154 w 6955277"/>
              <a:gd name="connsiteY104" fmla="*/ 795452 h 1656350"/>
              <a:gd name="connsiteX105" fmla="*/ 3915383 w 6955277"/>
              <a:gd name="connsiteY105" fmla="*/ 790588 h 1656350"/>
              <a:gd name="connsiteX106" fmla="*/ 3959158 w 6955277"/>
              <a:gd name="connsiteY106" fmla="*/ 785724 h 1656350"/>
              <a:gd name="connsiteX107" fmla="*/ 3964022 w 6955277"/>
              <a:gd name="connsiteY107" fmla="*/ 771133 h 1656350"/>
              <a:gd name="connsiteX108" fmla="*/ 3993205 w 6955277"/>
              <a:gd name="connsiteY108" fmla="*/ 761405 h 1656350"/>
              <a:gd name="connsiteX109" fmla="*/ 4017524 w 6955277"/>
              <a:gd name="connsiteY109" fmla="*/ 756541 h 1656350"/>
              <a:gd name="connsiteX110" fmla="*/ 4036979 w 6955277"/>
              <a:gd name="connsiteY110" fmla="*/ 751678 h 1656350"/>
              <a:gd name="connsiteX111" fmla="*/ 4075890 w 6955277"/>
              <a:gd name="connsiteY111" fmla="*/ 746814 h 1656350"/>
              <a:gd name="connsiteX112" fmla="*/ 4095345 w 6955277"/>
              <a:gd name="connsiteY112" fmla="*/ 741950 h 1656350"/>
              <a:gd name="connsiteX113" fmla="*/ 4158575 w 6955277"/>
              <a:gd name="connsiteY113" fmla="*/ 727359 h 1656350"/>
              <a:gd name="connsiteX114" fmla="*/ 4173166 w 6955277"/>
              <a:gd name="connsiteY114" fmla="*/ 722495 h 1656350"/>
              <a:gd name="connsiteX115" fmla="*/ 4187758 w 6955277"/>
              <a:gd name="connsiteY115" fmla="*/ 712767 h 1656350"/>
              <a:gd name="connsiteX116" fmla="*/ 4265579 w 6955277"/>
              <a:gd name="connsiteY116" fmla="*/ 707903 h 1656350"/>
              <a:gd name="connsiteX117" fmla="*/ 4275307 w 6955277"/>
              <a:gd name="connsiteY117" fmla="*/ 693312 h 1656350"/>
              <a:gd name="connsiteX118" fmla="*/ 4421222 w 6955277"/>
              <a:gd name="connsiteY118" fmla="*/ 678720 h 1656350"/>
              <a:gd name="connsiteX119" fmla="*/ 4440677 w 6955277"/>
              <a:gd name="connsiteY119" fmla="*/ 668993 h 1656350"/>
              <a:gd name="connsiteX120" fmla="*/ 4557409 w 6955277"/>
              <a:gd name="connsiteY120" fmla="*/ 659265 h 1656350"/>
              <a:gd name="connsiteX121" fmla="*/ 4567136 w 6955277"/>
              <a:gd name="connsiteY121" fmla="*/ 644673 h 1656350"/>
              <a:gd name="connsiteX122" fmla="*/ 4581728 w 6955277"/>
              <a:gd name="connsiteY122" fmla="*/ 639810 h 1656350"/>
              <a:gd name="connsiteX123" fmla="*/ 4635230 w 6955277"/>
              <a:gd name="connsiteY123" fmla="*/ 634946 h 1656350"/>
              <a:gd name="connsiteX124" fmla="*/ 4669277 w 6955277"/>
              <a:gd name="connsiteY124" fmla="*/ 630082 h 1656350"/>
              <a:gd name="connsiteX125" fmla="*/ 4703324 w 6955277"/>
              <a:gd name="connsiteY125" fmla="*/ 610627 h 1656350"/>
              <a:gd name="connsiteX126" fmla="*/ 4732507 w 6955277"/>
              <a:gd name="connsiteY126" fmla="*/ 605763 h 1656350"/>
              <a:gd name="connsiteX127" fmla="*/ 4790873 w 6955277"/>
              <a:gd name="connsiteY127" fmla="*/ 591171 h 1656350"/>
              <a:gd name="connsiteX128" fmla="*/ 4844375 w 6955277"/>
              <a:gd name="connsiteY128" fmla="*/ 581444 h 1656350"/>
              <a:gd name="connsiteX129" fmla="*/ 4907605 w 6955277"/>
              <a:gd name="connsiteY129" fmla="*/ 557124 h 1656350"/>
              <a:gd name="connsiteX130" fmla="*/ 4990290 w 6955277"/>
              <a:gd name="connsiteY130" fmla="*/ 552261 h 1656350"/>
              <a:gd name="connsiteX131" fmla="*/ 5009745 w 6955277"/>
              <a:gd name="connsiteY131" fmla="*/ 523078 h 1656350"/>
              <a:gd name="connsiteX132" fmla="*/ 5024336 w 6955277"/>
              <a:gd name="connsiteY132" fmla="*/ 513350 h 1656350"/>
              <a:gd name="connsiteX133" fmla="*/ 5058383 w 6955277"/>
              <a:gd name="connsiteY133" fmla="*/ 503622 h 1656350"/>
              <a:gd name="connsiteX134" fmla="*/ 5072975 w 6955277"/>
              <a:gd name="connsiteY134" fmla="*/ 498759 h 1656350"/>
              <a:gd name="connsiteX135" fmla="*/ 5087566 w 6955277"/>
              <a:gd name="connsiteY135" fmla="*/ 489031 h 1656350"/>
              <a:gd name="connsiteX136" fmla="*/ 5136205 w 6955277"/>
              <a:gd name="connsiteY136" fmla="*/ 474439 h 1656350"/>
              <a:gd name="connsiteX137" fmla="*/ 5150796 w 6955277"/>
              <a:gd name="connsiteY137" fmla="*/ 469576 h 1656350"/>
              <a:gd name="connsiteX138" fmla="*/ 5179979 w 6955277"/>
              <a:gd name="connsiteY138" fmla="*/ 464712 h 1656350"/>
              <a:gd name="connsiteX139" fmla="*/ 5194571 w 6955277"/>
              <a:gd name="connsiteY139" fmla="*/ 459848 h 1656350"/>
              <a:gd name="connsiteX140" fmla="*/ 5267528 w 6955277"/>
              <a:gd name="connsiteY140" fmla="*/ 454984 h 1656350"/>
              <a:gd name="connsiteX141" fmla="*/ 5301575 w 6955277"/>
              <a:gd name="connsiteY141" fmla="*/ 450120 h 1656350"/>
              <a:gd name="connsiteX142" fmla="*/ 5321030 w 6955277"/>
              <a:gd name="connsiteY142" fmla="*/ 445256 h 1656350"/>
              <a:gd name="connsiteX143" fmla="*/ 5369668 w 6955277"/>
              <a:gd name="connsiteY143" fmla="*/ 440393 h 1656350"/>
              <a:gd name="connsiteX144" fmla="*/ 5437762 w 6955277"/>
              <a:gd name="connsiteY144" fmla="*/ 430665 h 1656350"/>
              <a:gd name="connsiteX145" fmla="*/ 5466945 w 6955277"/>
              <a:gd name="connsiteY145" fmla="*/ 425801 h 1656350"/>
              <a:gd name="connsiteX146" fmla="*/ 5500992 w 6955277"/>
              <a:gd name="connsiteY146" fmla="*/ 416073 h 1656350"/>
              <a:gd name="connsiteX147" fmla="*/ 5515583 w 6955277"/>
              <a:gd name="connsiteY147" fmla="*/ 411210 h 1656350"/>
              <a:gd name="connsiteX148" fmla="*/ 5564222 w 6955277"/>
              <a:gd name="connsiteY148" fmla="*/ 411211 h 1656350"/>
              <a:gd name="connsiteX149" fmla="*/ 5637179 w 6955277"/>
              <a:gd name="connsiteY149" fmla="*/ 386891 h 1656350"/>
              <a:gd name="connsiteX150" fmla="*/ 5666362 w 6955277"/>
              <a:gd name="connsiteY150" fmla="*/ 391754 h 1656350"/>
              <a:gd name="connsiteX151" fmla="*/ 5685817 w 6955277"/>
              <a:gd name="connsiteY151" fmla="*/ 382027 h 1656350"/>
              <a:gd name="connsiteX152" fmla="*/ 5724728 w 6955277"/>
              <a:gd name="connsiteY152" fmla="*/ 377163 h 1656350"/>
              <a:gd name="connsiteX153" fmla="*/ 5729592 w 6955277"/>
              <a:gd name="connsiteY153" fmla="*/ 362571 h 1656350"/>
              <a:gd name="connsiteX154" fmla="*/ 5744183 w 6955277"/>
              <a:gd name="connsiteY154" fmla="*/ 357707 h 1656350"/>
              <a:gd name="connsiteX155" fmla="*/ 5783094 w 6955277"/>
              <a:gd name="connsiteY155" fmla="*/ 352844 h 1656350"/>
              <a:gd name="connsiteX156" fmla="*/ 5812277 w 6955277"/>
              <a:gd name="connsiteY156" fmla="*/ 338252 h 1656350"/>
              <a:gd name="connsiteX157" fmla="*/ 5841460 w 6955277"/>
              <a:gd name="connsiteY157" fmla="*/ 328524 h 1656350"/>
              <a:gd name="connsiteX158" fmla="*/ 5885234 w 6955277"/>
              <a:gd name="connsiteY158" fmla="*/ 318797 h 1656350"/>
              <a:gd name="connsiteX159" fmla="*/ 5899826 w 6955277"/>
              <a:gd name="connsiteY159" fmla="*/ 309069 h 1656350"/>
              <a:gd name="connsiteX160" fmla="*/ 5997102 w 6955277"/>
              <a:gd name="connsiteY160" fmla="*/ 299341 h 1656350"/>
              <a:gd name="connsiteX161" fmla="*/ 6040877 w 6955277"/>
              <a:gd name="connsiteY161" fmla="*/ 284750 h 1656350"/>
              <a:gd name="connsiteX162" fmla="*/ 6055468 w 6955277"/>
              <a:gd name="connsiteY162" fmla="*/ 275022 h 1656350"/>
              <a:gd name="connsiteX163" fmla="*/ 6079788 w 6955277"/>
              <a:gd name="connsiteY163" fmla="*/ 270159 h 1656350"/>
              <a:gd name="connsiteX164" fmla="*/ 6128426 w 6955277"/>
              <a:gd name="connsiteY164" fmla="*/ 265295 h 1656350"/>
              <a:gd name="connsiteX165" fmla="*/ 6167336 w 6955277"/>
              <a:gd name="connsiteY165" fmla="*/ 260431 h 1656350"/>
              <a:gd name="connsiteX166" fmla="*/ 6206247 w 6955277"/>
              <a:gd name="connsiteY166" fmla="*/ 250703 h 1656350"/>
              <a:gd name="connsiteX167" fmla="*/ 6220839 w 6955277"/>
              <a:gd name="connsiteY167" fmla="*/ 240976 h 1656350"/>
              <a:gd name="connsiteX168" fmla="*/ 6274341 w 6955277"/>
              <a:gd name="connsiteY168" fmla="*/ 236112 h 1656350"/>
              <a:gd name="connsiteX169" fmla="*/ 6395936 w 6955277"/>
              <a:gd name="connsiteY169" fmla="*/ 221520 h 1656350"/>
              <a:gd name="connsiteX170" fmla="*/ 6410528 w 6955277"/>
              <a:gd name="connsiteY170" fmla="*/ 192337 h 1656350"/>
              <a:gd name="connsiteX171" fmla="*/ 6439711 w 6955277"/>
              <a:gd name="connsiteY171" fmla="*/ 187473 h 1656350"/>
              <a:gd name="connsiteX172" fmla="*/ 6488349 w 6955277"/>
              <a:gd name="connsiteY172" fmla="*/ 182610 h 1656350"/>
              <a:gd name="connsiteX173" fmla="*/ 6507805 w 6955277"/>
              <a:gd name="connsiteY173" fmla="*/ 177746 h 1656350"/>
              <a:gd name="connsiteX174" fmla="*/ 6522396 w 6955277"/>
              <a:gd name="connsiteY174" fmla="*/ 172882 h 1656350"/>
              <a:gd name="connsiteX175" fmla="*/ 6561307 w 6955277"/>
              <a:gd name="connsiteY175" fmla="*/ 163154 h 1656350"/>
              <a:gd name="connsiteX176" fmla="*/ 6566171 w 6955277"/>
              <a:gd name="connsiteY176" fmla="*/ 148563 h 1656350"/>
              <a:gd name="connsiteX177" fmla="*/ 6580762 w 6955277"/>
              <a:gd name="connsiteY177" fmla="*/ 143699 h 1656350"/>
              <a:gd name="connsiteX178" fmla="*/ 6605081 w 6955277"/>
              <a:gd name="connsiteY178" fmla="*/ 138835 h 1656350"/>
              <a:gd name="connsiteX179" fmla="*/ 6639128 w 6955277"/>
              <a:gd name="connsiteY179" fmla="*/ 119380 h 1656350"/>
              <a:gd name="connsiteX180" fmla="*/ 6643992 w 6955277"/>
              <a:gd name="connsiteY180" fmla="*/ 99924 h 1656350"/>
              <a:gd name="connsiteX181" fmla="*/ 6780179 w 6955277"/>
              <a:gd name="connsiteY181" fmla="*/ 99924 h 1656350"/>
              <a:gd name="connsiteX182" fmla="*/ 6785043 w 6955277"/>
              <a:gd name="connsiteY182" fmla="*/ 65878 h 1656350"/>
              <a:gd name="connsiteX183" fmla="*/ 6809362 w 6955277"/>
              <a:gd name="connsiteY183" fmla="*/ 61014 h 1656350"/>
              <a:gd name="connsiteX184" fmla="*/ 6828817 w 6955277"/>
              <a:gd name="connsiteY184" fmla="*/ 56150 h 1656350"/>
              <a:gd name="connsiteX185" fmla="*/ 6955277 w 6955277"/>
              <a:gd name="connsiteY185" fmla="*/ 2647 h 1656350"/>
              <a:gd name="connsiteX0" fmla="*/ 0 w 6955277"/>
              <a:gd name="connsiteY0" fmla="*/ 1656350 h 1656350"/>
              <a:gd name="connsiteX1" fmla="*/ 48639 w 6955277"/>
              <a:gd name="connsiteY1" fmla="*/ 1646622 h 1656350"/>
              <a:gd name="connsiteX2" fmla="*/ 77822 w 6955277"/>
              <a:gd name="connsiteY2" fmla="*/ 1632031 h 1656350"/>
              <a:gd name="connsiteX3" fmla="*/ 141051 w 6955277"/>
              <a:gd name="connsiteY3" fmla="*/ 1627167 h 1656350"/>
              <a:gd name="connsiteX4" fmla="*/ 170234 w 6955277"/>
              <a:gd name="connsiteY4" fmla="*/ 1602848 h 1656350"/>
              <a:gd name="connsiteX5" fmla="*/ 184826 w 6955277"/>
              <a:gd name="connsiteY5" fmla="*/ 1593120 h 1656350"/>
              <a:gd name="connsiteX6" fmla="*/ 238328 w 6955277"/>
              <a:gd name="connsiteY6" fmla="*/ 1593120 h 1656350"/>
              <a:gd name="connsiteX7" fmla="*/ 252919 w 6955277"/>
              <a:gd name="connsiteY7" fmla="*/ 1583393 h 1656350"/>
              <a:gd name="connsiteX8" fmla="*/ 301558 w 6955277"/>
              <a:gd name="connsiteY8" fmla="*/ 1578529 h 1656350"/>
              <a:gd name="connsiteX9" fmla="*/ 321013 w 6955277"/>
              <a:gd name="connsiteY9" fmla="*/ 1568801 h 1656350"/>
              <a:gd name="connsiteX10" fmla="*/ 369651 w 6955277"/>
              <a:gd name="connsiteY10" fmla="*/ 1549346 h 1656350"/>
              <a:gd name="connsiteX11" fmla="*/ 418290 w 6955277"/>
              <a:gd name="connsiteY11" fmla="*/ 1549346 h 1656350"/>
              <a:gd name="connsiteX12" fmla="*/ 432881 w 6955277"/>
              <a:gd name="connsiteY12" fmla="*/ 1534754 h 1656350"/>
              <a:gd name="connsiteX13" fmla="*/ 447473 w 6955277"/>
              <a:gd name="connsiteY13" fmla="*/ 1529890 h 1656350"/>
              <a:gd name="connsiteX14" fmla="*/ 515566 w 6955277"/>
              <a:gd name="connsiteY14" fmla="*/ 1529890 h 1656350"/>
              <a:gd name="connsiteX15" fmla="*/ 520430 w 6955277"/>
              <a:gd name="connsiteY15" fmla="*/ 1510435 h 1656350"/>
              <a:gd name="connsiteX16" fmla="*/ 612843 w 6955277"/>
              <a:gd name="connsiteY16" fmla="*/ 1510435 h 1656350"/>
              <a:gd name="connsiteX17" fmla="*/ 617707 w 6955277"/>
              <a:gd name="connsiteY17" fmla="*/ 1495844 h 1656350"/>
              <a:gd name="connsiteX18" fmla="*/ 666345 w 6955277"/>
              <a:gd name="connsiteY18" fmla="*/ 1490980 h 1656350"/>
              <a:gd name="connsiteX19" fmla="*/ 695528 w 6955277"/>
              <a:gd name="connsiteY19" fmla="*/ 1495844 h 1656350"/>
              <a:gd name="connsiteX20" fmla="*/ 753894 w 6955277"/>
              <a:gd name="connsiteY20" fmla="*/ 1486116 h 1656350"/>
              <a:gd name="connsiteX21" fmla="*/ 787941 w 6955277"/>
              <a:gd name="connsiteY21" fmla="*/ 1481252 h 1656350"/>
              <a:gd name="connsiteX22" fmla="*/ 792805 w 6955277"/>
              <a:gd name="connsiteY22" fmla="*/ 1466661 h 1656350"/>
              <a:gd name="connsiteX23" fmla="*/ 836579 w 6955277"/>
              <a:gd name="connsiteY23" fmla="*/ 1461797 h 1656350"/>
              <a:gd name="connsiteX24" fmla="*/ 851171 w 6955277"/>
              <a:gd name="connsiteY24" fmla="*/ 1456933 h 1656350"/>
              <a:gd name="connsiteX25" fmla="*/ 875490 w 6955277"/>
              <a:gd name="connsiteY25" fmla="*/ 1452069 h 1656350"/>
              <a:gd name="connsiteX26" fmla="*/ 894945 w 6955277"/>
              <a:gd name="connsiteY26" fmla="*/ 1447205 h 1656350"/>
              <a:gd name="connsiteX27" fmla="*/ 924128 w 6955277"/>
              <a:gd name="connsiteY27" fmla="*/ 1437478 h 1656350"/>
              <a:gd name="connsiteX28" fmla="*/ 933856 w 6955277"/>
              <a:gd name="connsiteY28" fmla="*/ 1422886 h 1656350"/>
              <a:gd name="connsiteX29" fmla="*/ 982494 w 6955277"/>
              <a:gd name="connsiteY29" fmla="*/ 1418022 h 1656350"/>
              <a:gd name="connsiteX30" fmla="*/ 997085 w 6955277"/>
              <a:gd name="connsiteY30" fmla="*/ 1413159 h 1656350"/>
              <a:gd name="connsiteX31" fmla="*/ 1011677 w 6955277"/>
              <a:gd name="connsiteY31" fmla="*/ 1403431 h 1656350"/>
              <a:gd name="connsiteX32" fmla="*/ 1118681 w 6955277"/>
              <a:gd name="connsiteY32" fmla="*/ 1398567 h 1656350"/>
              <a:gd name="connsiteX33" fmla="*/ 1147864 w 6955277"/>
              <a:gd name="connsiteY33" fmla="*/ 1388839 h 1656350"/>
              <a:gd name="connsiteX34" fmla="*/ 1240277 w 6955277"/>
              <a:gd name="connsiteY34" fmla="*/ 1374248 h 1656350"/>
              <a:gd name="connsiteX35" fmla="*/ 1269460 w 6955277"/>
              <a:gd name="connsiteY35" fmla="*/ 1364520 h 1656350"/>
              <a:gd name="connsiteX36" fmla="*/ 1303507 w 6955277"/>
              <a:gd name="connsiteY36" fmla="*/ 1354793 h 1656350"/>
              <a:gd name="connsiteX37" fmla="*/ 1332690 w 6955277"/>
              <a:gd name="connsiteY37" fmla="*/ 1340201 h 1656350"/>
              <a:gd name="connsiteX38" fmla="*/ 1400783 w 6955277"/>
              <a:gd name="connsiteY38" fmla="*/ 1330473 h 1656350"/>
              <a:gd name="connsiteX39" fmla="*/ 1429966 w 6955277"/>
              <a:gd name="connsiteY39" fmla="*/ 1320746 h 1656350"/>
              <a:gd name="connsiteX40" fmla="*/ 1444558 w 6955277"/>
              <a:gd name="connsiteY40" fmla="*/ 1315882 h 1656350"/>
              <a:gd name="connsiteX41" fmla="*/ 1532107 w 6955277"/>
              <a:gd name="connsiteY41" fmla="*/ 1301290 h 1656350"/>
              <a:gd name="connsiteX42" fmla="*/ 1561290 w 6955277"/>
              <a:gd name="connsiteY42" fmla="*/ 1291563 h 1656350"/>
              <a:gd name="connsiteX43" fmla="*/ 1600200 w 6955277"/>
              <a:gd name="connsiteY43" fmla="*/ 1286699 h 1656350"/>
              <a:gd name="connsiteX44" fmla="*/ 1634247 w 6955277"/>
              <a:gd name="connsiteY44" fmla="*/ 1281835 h 1656350"/>
              <a:gd name="connsiteX45" fmla="*/ 1697477 w 6955277"/>
              <a:gd name="connsiteY45" fmla="*/ 1272107 h 1656350"/>
              <a:gd name="connsiteX46" fmla="*/ 1712068 w 6955277"/>
              <a:gd name="connsiteY46" fmla="*/ 1262380 h 1656350"/>
              <a:gd name="connsiteX47" fmla="*/ 1736388 w 6955277"/>
              <a:gd name="connsiteY47" fmla="*/ 1257516 h 1656350"/>
              <a:gd name="connsiteX48" fmla="*/ 1823936 w 6955277"/>
              <a:gd name="connsiteY48" fmla="*/ 1252652 h 1656350"/>
              <a:gd name="connsiteX49" fmla="*/ 1828800 w 6955277"/>
              <a:gd name="connsiteY49" fmla="*/ 1228333 h 1656350"/>
              <a:gd name="connsiteX50" fmla="*/ 1843392 w 6955277"/>
              <a:gd name="connsiteY50" fmla="*/ 1223469 h 1656350"/>
              <a:gd name="connsiteX51" fmla="*/ 1867711 w 6955277"/>
              <a:gd name="connsiteY51" fmla="*/ 1218605 h 1656350"/>
              <a:gd name="connsiteX52" fmla="*/ 1945532 w 6955277"/>
              <a:gd name="connsiteY52" fmla="*/ 1213741 h 1656350"/>
              <a:gd name="connsiteX53" fmla="*/ 2033081 w 6955277"/>
              <a:gd name="connsiteY53" fmla="*/ 1208878 h 1656350"/>
              <a:gd name="connsiteX54" fmla="*/ 2091447 w 6955277"/>
              <a:gd name="connsiteY54" fmla="*/ 1189422 h 1656350"/>
              <a:gd name="connsiteX55" fmla="*/ 2106039 w 6955277"/>
              <a:gd name="connsiteY55" fmla="*/ 1179695 h 1656350"/>
              <a:gd name="connsiteX56" fmla="*/ 2140085 w 6955277"/>
              <a:gd name="connsiteY56" fmla="*/ 1174831 h 1656350"/>
              <a:gd name="connsiteX57" fmla="*/ 2188724 w 6955277"/>
              <a:gd name="connsiteY57" fmla="*/ 1160239 h 1656350"/>
              <a:gd name="connsiteX58" fmla="*/ 2222771 w 6955277"/>
              <a:gd name="connsiteY58" fmla="*/ 1155376 h 1656350"/>
              <a:gd name="connsiteX59" fmla="*/ 2237362 w 6955277"/>
              <a:gd name="connsiteY59" fmla="*/ 1150512 h 1656350"/>
              <a:gd name="connsiteX60" fmla="*/ 2305456 w 6955277"/>
              <a:gd name="connsiteY60" fmla="*/ 1140784 h 1656350"/>
              <a:gd name="connsiteX61" fmla="*/ 2349230 w 6955277"/>
              <a:gd name="connsiteY61" fmla="*/ 1131056 h 1656350"/>
              <a:gd name="connsiteX62" fmla="*/ 2363822 w 6955277"/>
              <a:gd name="connsiteY62" fmla="*/ 1126193 h 1656350"/>
              <a:gd name="connsiteX63" fmla="*/ 2431915 w 6955277"/>
              <a:gd name="connsiteY63" fmla="*/ 1116465 h 1656350"/>
              <a:gd name="connsiteX64" fmla="*/ 2436779 w 6955277"/>
              <a:gd name="connsiteY64" fmla="*/ 1101873 h 1656350"/>
              <a:gd name="connsiteX65" fmla="*/ 2465962 w 6955277"/>
              <a:gd name="connsiteY65" fmla="*/ 1092146 h 1656350"/>
              <a:gd name="connsiteX66" fmla="*/ 2572966 w 6955277"/>
              <a:gd name="connsiteY66" fmla="*/ 1092146 h 1656350"/>
              <a:gd name="connsiteX67" fmla="*/ 2587558 w 6955277"/>
              <a:gd name="connsiteY67" fmla="*/ 1082418 h 1656350"/>
              <a:gd name="connsiteX68" fmla="*/ 2602149 w 6955277"/>
              <a:gd name="connsiteY68" fmla="*/ 1077554 h 1656350"/>
              <a:gd name="connsiteX69" fmla="*/ 2616741 w 6955277"/>
              <a:gd name="connsiteY69" fmla="*/ 1067827 h 1656350"/>
              <a:gd name="connsiteX70" fmla="*/ 2645924 w 6955277"/>
              <a:gd name="connsiteY70" fmla="*/ 1062963 h 1656350"/>
              <a:gd name="connsiteX71" fmla="*/ 2704290 w 6955277"/>
              <a:gd name="connsiteY71" fmla="*/ 1043507 h 1656350"/>
              <a:gd name="connsiteX72" fmla="*/ 2718881 w 6955277"/>
              <a:gd name="connsiteY72" fmla="*/ 1038644 h 1656350"/>
              <a:gd name="connsiteX73" fmla="*/ 2733473 w 6955277"/>
              <a:gd name="connsiteY73" fmla="*/ 1033780 h 1656350"/>
              <a:gd name="connsiteX74" fmla="*/ 2752928 w 6955277"/>
              <a:gd name="connsiteY74" fmla="*/ 1028916 h 1656350"/>
              <a:gd name="connsiteX75" fmla="*/ 2777247 w 6955277"/>
              <a:gd name="connsiteY75" fmla="*/ 1024052 h 1656350"/>
              <a:gd name="connsiteX76" fmla="*/ 2830749 w 6955277"/>
              <a:gd name="connsiteY76" fmla="*/ 1019188 h 1656350"/>
              <a:gd name="connsiteX77" fmla="*/ 2864796 w 6955277"/>
              <a:gd name="connsiteY77" fmla="*/ 1014324 h 1656350"/>
              <a:gd name="connsiteX78" fmla="*/ 2879388 w 6955277"/>
              <a:gd name="connsiteY78" fmla="*/ 1009461 h 1656350"/>
              <a:gd name="connsiteX79" fmla="*/ 2898843 w 6955277"/>
              <a:gd name="connsiteY79" fmla="*/ 1004597 h 1656350"/>
              <a:gd name="connsiteX80" fmla="*/ 2913434 w 6955277"/>
              <a:gd name="connsiteY80" fmla="*/ 994869 h 1656350"/>
              <a:gd name="connsiteX81" fmla="*/ 2981528 w 6955277"/>
              <a:gd name="connsiteY81" fmla="*/ 985141 h 1656350"/>
              <a:gd name="connsiteX82" fmla="*/ 2986392 w 6955277"/>
              <a:gd name="connsiteY82" fmla="*/ 970550 h 1656350"/>
              <a:gd name="connsiteX83" fmla="*/ 3059349 w 6955277"/>
              <a:gd name="connsiteY83" fmla="*/ 965686 h 1656350"/>
              <a:gd name="connsiteX84" fmla="*/ 3107988 w 6955277"/>
              <a:gd name="connsiteY84" fmla="*/ 960822 h 1656350"/>
              <a:gd name="connsiteX85" fmla="*/ 3185809 w 6955277"/>
              <a:gd name="connsiteY85" fmla="*/ 951095 h 1656350"/>
              <a:gd name="connsiteX86" fmla="*/ 3229583 w 6955277"/>
              <a:gd name="connsiteY86" fmla="*/ 946231 h 1656350"/>
              <a:gd name="connsiteX87" fmla="*/ 3263630 w 6955277"/>
              <a:gd name="connsiteY87" fmla="*/ 936503 h 1656350"/>
              <a:gd name="connsiteX88" fmla="*/ 3302541 w 6955277"/>
              <a:gd name="connsiteY88" fmla="*/ 931639 h 1656350"/>
              <a:gd name="connsiteX89" fmla="*/ 3317132 w 6955277"/>
              <a:gd name="connsiteY89" fmla="*/ 926776 h 1656350"/>
              <a:gd name="connsiteX90" fmla="*/ 3321996 w 6955277"/>
              <a:gd name="connsiteY90" fmla="*/ 912184 h 1656350"/>
              <a:gd name="connsiteX91" fmla="*/ 3433864 w 6955277"/>
              <a:gd name="connsiteY91" fmla="*/ 907320 h 1656350"/>
              <a:gd name="connsiteX92" fmla="*/ 3438728 w 6955277"/>
              <a:gd name="connsiteY92" fmla="*/ 892729 h 1656350"/>
              <a:gd name="connsiteX93" fmla="*/ 3453319 w 6955277"/>
              <a:gd name="connsiteY93" fmla="*/ 883001 h 1656350"/>
              <a:gd name="connsiteX94" fmla="*/ 3540868 w 6955277"/>
              <a:gd name="connsiteY94" fmla="*/ 878137 h 1656350"/>
              <a:gd name="connsiteX95" fmla="*/ 3560324 w 6955277"/>
              <a:gd name="connsiteY95" fmla="*/ 873273 h 1656350"/>
              <a:gd name="connsiteX96" fmla="*/ 3589507 w 6955277"/>
              <a:gd name="connsiteY96" fmla="*/ 863546 h 1656350"/>
              <a:gd name="connsiteX97" fmla="*/ 3618690 w 6955277"/>
              <a:gd name="connsiteY97" fmla="*/ 858682 h 1656350"/>
              <a:gd name="connsiteX98" fmla="*/ 3715966 w 6955277"/>
              <a:gd name="connsiteY98" fmla="*/ 844090 h 1656350"/>
              <a:gd name="connsiteX99" fmla="*/ 3745149 w 6955277"/>
              <a:gd name="connsiteY99" fmla="*/ 834363 h 1656350"/>
              <a:gd name="connsiteX100" fmla="*/ 3750013 w 6955277"/>
              <a:gd name="connsiteY100" fmla="*/ 819771 h 1656350"/>
              <a:gd name="connsiteX101" fmla="*/ 3764605 w 6955277"/>
              <a:gd name="connsiteY101" fmla="*/ 814907 h 1656350"/>
              <a:gd name="connsiteX102" fmla="*/ 3798651 w 6955277"/>
              <a:gd name="connsiteY102" fmla="*/ 810044 h 1656350"/>
              <a:gd name="connsiteX103" fmla="*/ 3822971 w 6955277"/>
              <a:gd name="connsiteY103" fmla="*/ 805180 h 1656350"/>
              <a:gd name="connsiteX104" fmla="*/ 3852154 w 6955277"/>
              <a:gd name="connsiteY104" fmla="*/ 795452 h 1656350"/>
              <a:gd name="connsiteX105" fmla="*/ 3915383 w 6955277"/>
              <a:gd name="connsiteY105" fmla="*/ 790588 h 1656350"/>
              <a:gd name="connsiteX106" fmla="*/ 3959158 w 6955277"/>
              <a:gd name="connsiteY106" fmla="*/ 785724 h 1656350"/>
              <a:gd name="connsiteX107" fmla="*/ 3964022 w 6955277"/>
              <a:gd name="connsiteY107" fmla="*/ 771133 h 1656350"/>
              <a:gd name="connsiteX108" fmla="*/ 3993205 w 6955277"/>
              <a:gd name="connsiteY108" fmla="*/ 761405 h 1656350"/>
              <a:gd name="connsiteX109" fmla="*/ 4017524 w 6955277"/>
              <a:gd name="connsiteY109" fmla="*/ 756541 h 1656350"/>
              <a:gd name="connsiteX110" fmla="*/ 4036979 w 6955277"/>
              <a:gd name="connsiteY110" fmla="*/ 751678 h 1656350"/>
              <a:gd name="connsiteX111" fmla="*/ 4075890 w 6955277"/>
              <a:gd name="connsiteY111" fmla="*/ 746814 h 1656350"/>
              <a:gd name="connsiteX112" fmla="*/ 4095345 w 6955277"/>
              <a:gd name="connsiteY112" fmla="*/ 741950 h 1656350"/>
              <a:gd name="connsiteX113" fmla="*/ 4158575 w 6955277"/>
              <a:gd name="connsiteY113" fmla="*/ 727359 h 1656350"/>
              <a:gd name="connsiteX114" fmla="*/ 4173166 w 6955277"/>
              <a:gd name="connsiteY114" fmla="*/ 722495 h 1656350"/>
              <a:gd name="connsiteX115" fmla="*/ 4187758 w 6955277"/>
              <a:gd name="connsiteY115" fmla="*/ 712767 h 1656350"/>
              <a:gd name="connsiteX116" fmla="*/ 4265579 w 6955277"/>
              <a:gd name="connsiteY116" fmla="*/ 707903 h 1656350"/>
              <a:gd name="connsiteX117" fmla="*/ 4275307 w 6955277"/>
              <a:gd name="connsiteY117" fmla="*/ 693312 h 1656350"/>
              <a:gd name="connsiteX118" fmla="*/ 4421222 w 6955277"/>
              <a:gd name="connsiteY118" fmla="*/ 678720 h 1656350"/>
              <a:gd name="connsiteX119" fmla="*/ 4440677 w 6955277"/>
              <a:gd name="connsiteY119" fmla="*/ 668993 h 1656350"/>
              <a:gd name="connsiteX120" fmla="*/ 4557409 w 6955277"/>
              <a:gd name="connsiteY120" fmla="*/ 659265 h 1656350"/>
              <a:gd name="connsiteX121" fmla="*/ 4567136 w 6955277"/>
              <a:gd name="connsiteY121" fmla="*/ 644673 h 1656350"/>
              <a:gd name="connsiteX122" fmla="*/ 4586592 w 6955277"/>
              <a:gd name="connsiteY122" fmla="*/ 625218 h 1656350"/>
              <a:gd name="connsiteX123" fmla="*/ 4635230 w 6955277"/>
              <a:gd name="connsiteY123" fmla="*/ 634946 h 1656350"/>
              <a:gd name="connsiteX124" fmla="*/ 4669277 w 6955277"/>
              <a:gd name="connsiteY124" fmla="*/ 630082 h 1656350"/>
              <a:gd name="connsiteX125" fmla="*/ 4703324 w 6955277"/>
              <a:gd name="connsiteY125" fmla="*/ 610627 h 1656350"/>
              <a:gd name="connsiteX126" fmla="*/ 4732507 w 6955277"/>
              <a:gd name="connsiteY126" fmla="*/ 605763 h 1656350"/>
              <a:gd name="connsiteX127" fmla="*/ 4790873 w 6955277"/>
              <a:gd name="connsiteY127" fmla="*/ 591171 h 1656350"/>
              <a:gd name="connsiteX128" fmla="*/ 4844375 w 6955277"/>
              <a:gd name="connsiteY128" fmla="*/ 581444 h 1656350"/>
              <a:gd name="connsiteX129" fmla="*/ 4907605 w 6955277"/>
              <a:gd name="connsiteY129" fmla="*/ 557124 h 1656350"/>
              <a:gd name="connsiteX130" fmla="*/ 4990290 w 6955277"/>
              <a:gd name="connsiteY130" fmla="*/ 552261 h 1656350"/>
              <a:gd name="connsiteX131" fmla="*/ 5009745 w 6955277"/>
              <a:gd name="connsiteY131" fmla="*/ 523078 h 1656350"/>
              <a:gd name="connsiteX132" fmla="*/ 5024336 w 6955277"/>
              <a:gd name="connsiteY132" fmla="*/ 513350 h 1656350"/>
              <a:gd name="connsiteX133" fmla="*/ 5058383 w 6955277"/>
              <a:gd name="connsiteY133" fmla="*/ 503622 h 1656350"/>
              <a:gd name="connsiteX134" fmla="*/ 5072975 w 6955277"/>
              <a:gd name="connsiteY134" fmla="*/ 498759 h 1656350"/>
              <a:gd name="connsiteX135" fmla="*/ 5087566 w 6955277"/>
              <a:gd name="connsiteY135" fmla="*/ 489031 h 1656350"/>
              <a:gd name="connsiteX136" fmla="*/ 5136205 w 6955277"/>
              <a:gd name="connsiteY136" fmla="*/ 474439 h 1656350"/>
              <a:gd name="connsiteX137" fmla="*/ 5150796 w 6955277"/>
              <a:gd name="connsiteY137" fmla="*/ 469576 h 1656350"/>
              <a:gd name="connsiteX138" fmla="*/ 5179979 w 6955277"/>
              <a:gd name="connsiteY138" fmla="*/ 464712 h 1656350"/>
              <a:gd name="connsiteX139" fmla="*/ 5194571 w 6955277"/>
              <a:gd name="connsiteY139" fmla="*/ 459848 h 1656350"/>
              <a:gd name="connsiteX140" fmla="*/ 5267528 w 6955277"/>
              <a:gd name="connsiteY140" fmla="*/ 454984 h 1656350"/>
              <a:gd name="connsiteX141" fmla="*/ 5301575 w 6955277"/>
              <a:gd name="connsiteY141" fmla="*/ 450120 h 1656350"/>
              <a:gd name="connsiteX142" fmla="*/ 5321030 w 6955277"/>
              <a:gd name="connsiteY142" fmla="*/ 445256 h 1656350"/>
              <a:gd name="connsiteX143" fmla="*/ 5369668 w 6955277"/>
              <a:gd name="connsiteY143" fmla="*/ 440393 h 1656350"/>
              <a:gd name="connsiteX144" fmla="*/ 5437762 w 6955277"/>
              <a:gd name="connsiteY144" fmla="*/ 430665 h 1656350"/>
              <a:gd name="connsiteX145" fmla="*/ 5466945 w 6955277"/>
              <a:gd name="connsiteY145" fmla="*/ 425801 h 1656350"/>
              <a:gd name="connsiteX146" fmla="*/ 5500992 w 6955277"/>
              <a:gd name="connsiteY146" fmla="*/ 416073 h 1656350"/>
              <a:gd name="connsiteX147" fmla="*/ 5515583 w 6955277"/>
              <a:gd name="connsiteY147" fmla="*/ 411210 h 1656350"/>
              <a:gd name="connsiteX148" fmla="*/ 5564222 w 6955277"/>
              <a:gd name="connsiteY148" fmla="*/ 411211 h 1656350"/>
              <a:gd name="connsiteX149" fmla="*/ 5637179 w 6955277"/>
              <a:gd name="connsiteY149" fmla="*/ 386891 h 1656350"/>
              <a:gd name="connsiteX150" fmla="*/ 5666362 w 6955277"/>
              <a:gd name="connsiteY150" fmla="*/ 391754 h 1656350"/>
              <a:gd name="connsiteX151" fmla="*/ 5685817 w 6955277"/>
              <a:gd name="connsiteY151" fmla="*/ 382027 h 1656350"/>
              <a:gd name="connsiteX152" fmla="*/ 5724728 w 6955277"/>
              <a:gd name="connsiteY152" fmla="*/ 377163 h 1656350"/>
              <a:gd name="connsiteX153" fmla="*/ 5729592 w 6955277"/>
              <a:gd name="connsiteY153" fmla="*/ 362571 h 1656350"/>
              <a:gd name="connsiteX154" fmla="*/ 5744183 w 6955277"/>
              <a:gd name="connsiteY154" fmla="*/ 357707 h 1656350"/>
              <a:gd name="connsiteX155" fmla="*/ 5783094 w 6955277"/>
              <a:gd name="connsiteY155" fmla="*/ 352844 h 1656350"/>
              <a:gd name="connsiteX156" fmla="*/ 5812277 w 6955277"/>
              <a:gd name="connsiteY156" fmla="*/ 338252 h 1656350"/>
              <a:gd name="connsiteX157" fmla="*/ 5841460 w 6955277"/>
              <a:gd name="connsiteY157" fmla="*/ 328524 h 1656350"/>
              <a:gd name="connsiteX158" fmla="*/ 5885234 w 6955277"/>
              <a:gd name="connsiteY158" fmla="*/ 318797 h 1656350"/>
              <a:gd name="connsiteX159" fmla="*/ 5899826 w 6955277"/>
              <a:gd name="connsiteY159" fmla="*/ 309069 h 1656350"/>
              <a:gd name="connsiteX160" fmla="*/ 5997102 w 6955277"/>
              <a:gd name="connsiteY160" fmla="*/ 299341 h 1656350"/>
              <a:gd name="connsiteX161" fmla="*/ 6040877 w 6955277"/>
              <a:gd name="connsiteY161" fmla="*/ 284750 h 1656350"/>
              <a:gd name="connsiteX162" fmla="*/ 6055468 w 6955277"/>
              <a:gd name="connsiteY162" fmla="*/ 275022 h 1656350"/>
              <a:gd name="connsiteX163" fmla="*/ 6079788 w 6955277"/>
              <a:gd name="connsiteY163" fmla="*/ 270159 h 1656350"/>
              <a:gd name="connsiteX164" fmla="*/ 6128426 w 6955277"/>
              <a:gd name="connsiteY164" fmla="*/ 265295 h 1656350"/>
              <a:gd name="connsiteX165" fmla="*/ 6167336 w 6955277"/>
              <a:gd name="connsiteY165" fmla="*/ 260431 h 1656350"/>
              <a:gd name="connsiteX166" fmla="*/ 6206247 w 6955277"/>
              <a:gd name="connsiteY166" fmla="*/ 250703 h 1656350"/>
              <a:gd name="connsiteX167" fmla="*/ 6220839 w 6955277"/>
              <a:gd name="connsiteY167" fmla="*/ 240976 h 1656350"/>
              <a:gd name="connsiteX168" fmla="*/ 6274341 w 6955277"/>
              <a:gd name="connsiteY168" fmla="*/ 236112 h 1656350"/>
              <a:gd name="connsiteX169" fmla="*/ 6395936 w 6955277"/>
              <a:gd name="connsiteY169" fmla="*/ 221520 h 1656350"/>
              <a:gd name="connsiteX170" fmla="*/ 6410528 w 6955277"/>
              <a:gd name="connsiteY170" fmla="*/ 192337 h 1656350"/>
              <a:gd name="connsiteX171" fmla="*/ 6439711 w 6955277"/>
              <a:gd name="connsiteY171" fmla="*/ 187473 h 1656350"/>
              <a:gd name="connsiteX172" fmla="*/ 6488349 w 6955277"/>
              <a:gd name="connsiteY172" fmla="*/ 182610 h 1656350"/>
              <a:gd name="connsiteX173" fmla="*/ 6507805 w 6955277"/>
              <a:gd name="connsiteY173" fmla="*/ 177746 h 1656350"/>
              <a:gd name="connsiteX174" fmla="*/ 6522396 w 6955277"/>
              <a:gd name="connsiteY174" fmla="*/ 172882 h 1656350"/>
              <a:gd name="connsiteX175" fmla="*/ 6561307 w 6955277"/>
              <a:gd name="connsiteY175" fmla="*/ 163154 h 1656350"/>
              <a:gd name="connsiteX176" fmla="*/ 6566171 w 6955277"/>
              <a:gd name="connsiteY176" fmla="*/ 148563 h 1656350"/>
              <a:gd name="connsiteX177" fmla="*/ 6580762 w 6955277"/>
              <a:gd name="connsiteY177" fmla="*/ 143699 h 1656350"/>
              <a:gd name="connsiteX178" fmla="*/ 6605081 w 6955277"/>
              <a:gd name="connsiteY178" fmla="*/ 138835 h 1656350"/>
              <a:gd name="connsiteX179" fmla="*/ 6639128 w 6955277"/>
              <a:gd name="connsiteY179" fmla="*/ 119380 h 1656350"/>
              <a:gd name="connsiteX180" fmla="*/ 6643992 w 6955277"/>
              <a:gd name="connsiteY180" fmla="*/ 99924 h 1656350"/>
              <a:gd name="connsiteX181" fmla="*/ 6780179 w 6955277"/>
              <a:gd name="connsiteY181" fmla="*/ 99924 h 1656350"/>
              <a:gd name="connsiteX182" fmla="*/ 6785043 w 6955277"/>
              <a:gd name="connsiteY182" fmla="*/ 65878 h 1656350"/>
              <a:gd name="connsiteX183" fmla="*/ 6809362 w 6955277"/>
              <a:gd name="connsiteY183" fmla="*/ 61014 h 1656350"/>
              <a:gd name="connsiteX184" fmla="*/ 6828817 w 6955277"/>
              <a:gd name="connsiteY184" fmla="*/ 56150 h 1656350"/>
              <a:gd name="connsiteX185" fmla="*/ 6955277 w 6955277"/>
              <a:gd name="connsiteY185" fmla="*/ 2647 h 1656350"/>
              <a:gd name="connsiteX0" fmla="*/ 0 w 6955277"/>
              <a:gd name="connsiteY0" fmla="*/ 1656350 h 1656350"/>
              <a:gd name="connsiteX1" fmla="*/ 48639 w 6955277"/>
              <a:gd name="connsiteY1" fmla="*/ 1646622 h 1656350"/>
              <a:gd name="connsiteX2" fmla="*/ 77822 w 6955277"/>
              <a:gd name="connsiteY2" fmla="*/ 1632031 h 1656350"/>
              <a:gd name="connsiteX3" fmla="*/ 141051 w 6955277"/>
              <a:gd name="connsiteY3" fmla="*/ 1627167 h 1656350"/>
              <a:gd name="connsiteX4" fmla="*/ 170234 w 6955277"/>
              <a:gd name="connsiteY4" fmla="*/ 1602848 h 1656350"/>
              <a:gd name="connsiteX5" fmla="*/ 184826 w 6955277"/>
              <a:gd name="connsiteY5" fmla="*/ 1593120 h 1656350"/>
              <a:gd name="connsiteX6" fmla="*/ 238328 w 6955277"/>
              <a:gd name="connsiteY6" fmla="*/ 1593120 h 1656350"/>
              <a:gd name="connsiteX7" fmla="*/ 252919 w 6955277"/>
              <a:gd name="connsiteY7" fmla="*/ 1583393 h 1656350"/>
              <a:gd name="connsiteX8" fmla="*/ 301558 w 6955277"/>
              <a:gd name="connsiteY8" fmla="*/ 1578529 h 1656350"/>
              <a:gd name="connsiteX9" fmla="*/ 321013 w 6955277"/>
              <a:gd name="connsiteY9" fmla="*/ 1568801 h 1656350"/>
              <a:gd name="connsiteX10" fmla="*/ 369651 w 6955277"/>
              <a:gd name="connsiteY10" fmla="*/ 1549346 h 1656350"/>
              <a:gd name="connsiteX11" fmla="*/ 418290 w 6955277"/>
              <a:gd name="connsiteY11" fmla="*/ 1549346 h 1656350"/>
              <a:gd name="connsiteX12" fmla="*/ 432881 w 6955277"/>
              <a:gd name="connsiteY12" fmla="*/ 1534754 h 1656350"/>
              <a:gd name="connsiteX13" fmla="*/ 447473 w 6955277"/>
              <a:gd name="connsiteY13" fmla="*/ 1529890 h 1656350"/>
              <a:gd name="connsiteX14" fmla="*/ 515566 w 6955277"/>
              <a:gd name="connsiteY14" fmla="*/ 1529890 h 1656350"/>
              <a:gd name="connsiteX15" fmla="*/ 520430 w 6955277"/>
              <a:gd name="connsiteY15" fmla="*/ 1510435 h 1656350"/>
              <a:gd name="connsiteX16" fmla="*/ 612843 w 6955277"/>
              <a:gd name="connsiteY16" fmla="*/ 1510435 h 1656350"/>
              <a:gd name="connsiteX17" fmla="*/ 617707 w 6955277"/>
              <a:gd name="connsiteY17" fmla="*/ 1495844 h 1656350"/>
              <a:gd name="connsiteX18" fmla="*/ 666345 w 6955277"/>
              <a:gd name="connsiteY18" fmla="*/ 1490980 h 1656350"/>
              <a:gd name="connsiteX19" fmla="*/ 695528 w 6955277"/>
              <a:gd name="connsiteY19" fmla="*/ 1495844 h 1656350"/>
              <a:gd name="connsiteX20" fmla="*/ 753894 w 6955277"/>
              <a:gd name="connsiteY20" fmla="*/ 1486116 h 1656350"/>
              <a:gd name="connsiteX21" fmla="*/ 787941 w 6955277"/>
              <a:gd name="connsiteY21" fmla="*/ 1481252 h 1656350"/>
              <a:gd name="connsiteX22" fmla="*/ 792805 w 6955277"/>
              <a:gd name="connsiteY22" fmla="*/ 1466661 h 1656350"/>
              <a:gd name="connsiteX23" fmla="*/ 836579 w 6955277"/>
              <a:gd name="connsiteY23" fmla="*/ 1461797 h 1656350"/>
              <a:gd name="connsiteX24" fmla="*/ 851171 w 6955277"/>
              <a:gd name="connsiteY24" fmla="*/ 1456933 h 1656350"/>
              <a:gd name="connsiteX25" fmla="*/ 875490 w 6955277"/>
              <a:gd name="connsiteY25" fmla="*/ 1452069 h 1656350"/>
              <a:gd name="connsiteX26" fmla="*/ 894945 w 6955277"/>
              <a:gd name="connsiteY26" fmla="*/ 1447205 h 1656350"/>
              <a:gd name="connsiteX27" fmla="*/ 924128 w 6955277"/>
              <a:gd name="connsiteY27" fmla="*/ 1437478 h 1656350"/>
              <a:gd name="connsiteX28" fmla="*/ 933856 w 6955277"/>
              <a:gd name="connsiteY28" fmla="*/ 1422886 h 1656350"/>
              <a:gd name="connsiteX29" fmla="*/ 982494 w 6955277"/>
              <a:gd name="connsiteY29" fmla="*/ 1418022 h 1656350"/>
              <a:gd name="connsiteX30" fmla="*/ 997085 w 6955277"/>
              <a:gd name="connsiteY30" fmla="*/ 1413159 h 1656350"/>
              <a:gd name="connsiteX31" fmla="*/ 1011677 w 6955277"/>
              <a:gd name="connsiteY31" fmla="*/ 1403431 h 1656350"/>
              <a:gd name="connsiteX32" fmla="*/ 1118681 w 6955277"/>
              <a:gd name="connsiteY32" fmla="*/ 1398567 h 1656350"/>
              <a:gd name="connsiteX33" fmla="*/ 1147864 w 6955277"/>
              <a:gd name="connsiteY33" fmla="*/ 1388839 h 1656350"/>
              <a:gd name="connsiteX34" fmla="*/ 1240277 w 6955277"/>
              <a:gd name="connsiteY34" fmla="*/ 1374248 h 1656350"/>
              <a:gd name="connsiteX35" fmla="*/ 1269460 w 6955277"/>
              <a:gd name="connsiteY35" fmla="*/ 1364520 h 1656350"/>
              <a:gd name="connsiteX36" fmla="*/ 1303507 w 6955277"/>
              <a:gd name="connsiteY36" fmla="*/ 1354793 h 1656350"/>
              <a:gd name="connsiteX37" fmla="*/ 1332690 w 6955277"/>
              <a:gd name="connsiteY37" fmla="*/ 1340201 h 1656350"/>
              <a:gd name="connsiteX38" fmla="*/ 1400783 w 6955277"/>
              <a:gd name="connsiteY38" fmla="*/ 1330473 h 1656350"/>
              <a:gd name="connsiteX39" fmla="*/ 1429966 w 6955277"/>
              <a:gd name="connsiteY39" fmla="*/ 1320746 h 1656350"/>
              <a:gd name="connsiteX40" fmla="*/ 1444558 w 6955277"/>
              <a:gd name="connsiteY40" fmla="*/ 1315882 h 1656350"/>
              <a:gd name="connsiteX41" fmla="*/ 1532107 w 6955277"/>
              <a:gd name="connsiteY41" fmla="*/ 1301290 h 1656350"/>
              <a:gd name="connsiteX42" fmla="*/ 1561290 w 6955277"/>
              <a:gd name="connsiteY42" fmla="*/ 1291563 h 1656350"/>
              <a:gd name="connsiteX43" fmla="*/ 1600200 w 6955277"/>
              <a:gd name="connsiteY43" fmla="*/ 1286699 h 1656350"/>
              <a:gd name="connsiteX44" fmla="*/ 1634247 w 6955277"/>
              <a:gd name="connsiteY44" fmla="*/ 1281835 h 1656350"/>
              <a:gd name="connsiteX45" fmla="*/ 1697477 w 6955277"/>
              <a:gd name="connsiteY45" fmla="*/ 1272107 h 1656350"/>
              <a:gd name="connsiteX46" fmla="*/ 1712068 w 6955277"/>
              <a:gd name="connsiteY46" fmla="*/ 1262380 h 1656350"/>
              <a:gd name="connsiteX47" fmla="*/ 1736388 w 6955277"/>
              <a:gd name="connsiteY47" fmla="*/ 1257516 h 1656350"/>
              <a:gd name="connsiteX48" fmla="*/ 1823936 w 6955277"/>
              <a:gd name="connsiteY48" fmla="*/ 1252652 h 1656350"/>
              <a:gd name="connsiteX49" fmla="*/ 1828800 w 6955277"/>
              <a:gd name="connsiteY49" fmla="*/ 1228333 h 1656350"/>
              <a:gd name="connsiteX50" fmla="*/ 1843392 w 6955277"/>
              <a:gd name="connsiteY50" fmla="*/ 1223469 h 1656350"/>
              <a:gd name="connsiteX51" fmla="*/ 1867711 w 6955277"/>
              <a:gd name="connsiteY51" fmla="*/ 1218605 h 1656350"/>
              <a:gd name="connsiteX52" fmla="*/ 1945532 w 6955277"/>
              <a:gd name="connsiteY52" fmla="*/ 1213741 h 1656350"/>
              <a:gd name="connsiteX53" fmla="*/ 2033081 w 6955277"/>
              <a:gd name="connsiteY53" fmla="*/ 1208878 h 1656350"/>
              <a:gd name="connsiteX54" fmla="*/ 2091447 w 6955277"/>
              <a:gd name="connsiteY54" fmla="*/ 1189422 h 1656350"/>
              <a:gd name="connsiteX55" fmla="*/ 2106039 w 6955277"/>
              <a:gd name="connsiteY55" fmla="*/ 1179695 h 1656350"/>
              <a:gd name="connsiteX56" fmla="*/ 2140085 w 6955277"/>
              <a:gd name="connsiteY56" fmla="*/ 1174831 h 1656350"/>
              <a:gd name="connsiteX57" fmla="*/ 2188724 w 6955277"/>
              <a:gd name="connsiteY57" fmla="*/ 1160239 h 1656350"/>
              <a:gd name="connsiteX58" fmla="*/ 2222771 w 6955277"/>
              <a:gd name="connsiteY58" fmla="*/ 1155376 h 1656350"/>
              <a:gd name="connsiteX59" fmla="*/ 2237362 w 6955277"/>
              <a:gd name="connsiteY59" fmla="*/ 1150512 h 1656350"/>
              <a:gd name="connsiteX60" fmla="*/ 2305456 w 6955277"/>
              <a:gd name="connsiteY60" fmla="*/ 1140784 h 1656350"/>
              <a:gd name="connsiteX61" fmla="*/ 2349230 w 6955277"/>
              <a:gd name="connsiteY61" fmla="*/ 1131056 h 1656350"/>
              <a:gd name="connsiteX62" fmla="*/ 2363822 w 6955277"/>
              <a:gd name="connsiteY62" fmla="*/ 1126193 h 1656350"/>
              <a:gd name="connsiteX63" fmla="*/ 2431915 w 6955277"/>
              <a:gd name="connsiteY63" fmla="*/ 1116465 h 1656350"/>
              <a:gd name="connsiteX64" fmla="*/ 2436779 w 6955277"/>
              <a:gd name="connsiteY64" fmla="*/ 1101873 h 1656350"/>
              <a:gd name="connsiteX65" fmla="*/ 2465962 w 6955277"/>
              <a:gd name="connsiteY65" fmla="*/ 1092146 h 1656350"/>
              <a:gd name="connsiteX66" fmla="*/ 2572966 w 6955277"/>
              <a:gd name="connsiteY66" fmla="*/ 1092146 h 1656350"/>
              <a:gd name="connsiteX67" fmla="*/ 2587558 w 6955277"/>
              <a:gd name="connsiteY67" fmla="*/ 1082418 h 1656350"/>
              <a:gd name="connsiteX68" fmla="*/ 2602149 w 6955277"/>
              <a:gd name="connsiteY68" fmla="*/ 1077554 h 1656350"/>
              <a:gd name="connsiteX69" fmla="*/ 2616741 w 6955277"/>
              <a:gd name="connsiteY69" fmla="*/ 1067827 h 1656350"/>
              <a:gd name="connsiteX70" fmla="*/ 2645924 w 6955277"/>
              <a:gd name="connsiteY70" fmla="*/ 1062963 h 1656350"/>
              <a:gd name="connsiteX71" fmla="*/ 2704290 w 6955277"/>
              <a:gd name="connsiteY71" fmla="*/ 1043507 h 1656350"/>
              <a:gd name="connsiteX72" fmla="*/ 2718881 w 6955277"/>
              <a:gd name="connsiteY72" fmla="*/ 1038644 h 1656350"/>
              <a:gd name="connsiteX73" fmla="*/ 2733473 w 6955277"/>
              <a:gd name="connsiteY73" fmla="*/ 1033780 h 1656350"/>
              <a:gd name="connsiteX74" fmla="*/ 2752928 w 6955277"/>
              <a:gd name="connsiteY74" fmla="*/ 1028916 h 1656350"/>
              <a:gd name="connsiteX75" fmla="*/ 2777247 w 6955277"/>
              <a:gd name="connsiteY75" fmla="*/ 1024052 h 1656350"/>
              <a:gd name="connsiteX76" fmla="*/ 2830749 w 6955277"/>
              <a:gd name="connsiteY76" fmla="*/ 1019188 h 1656350"/>
              <a:gd name="connsiteX77" fmla="*/ 2864796 w 6955277"/>
              <a:gd name="connsiteY77" fmla="*/ 1014324 h 1656350"/>
              <a:gd name="connsiteX78" fmla="*/ 2879388 w 6955277"/>
              <a:gd name="connsiteY78" fmla="*/ 1009461 h 1656350"/>
              <a:gd name="connsiteX79" fmla="*/ 2898843 w 6955277"/>
              <a:gd name="connsiteY79" fmla="*/ 1004597 h 1656350"/>
              <a:gd name="connsiteX80" fmla="*/ 2913434 w 6955277"/>
              <a:gd name="connsiteY80" fmla="*/ 994869 h 1656350"/>
              <a:gd name="connsiteX81" fmla="*/ 2981528 w 6955277"/>
              <a:gd name="connsiteY81" fmla="*/ 985141 h 1656350"/>
              <a:gd name="connsiteX82" fmla="*/ 2986392 w 6955277"/>
              <a:gd name="connsiteY82" fmla="*/ 970550 h 1656350"/>
              <a:gd name="connsiteX83" fmla="*/ 3059349 w 6955277"/>
              <a:gd name="connsiteY83" fmla="*/ 965686 h 1656350"/>
              <a:gd name="connsiteX84" fmla="*/ 3107988 w 6955277"/>
              <a:gd name="connsiteY84" fmla="*/ 960822 h 1656350"/>
              <a:gd name="connsiteX85" fmla="*/ 3185809 w 6955277"/>
              <a:gd name="connsiteY85" fmla="*/ 951095 h 1656350"/>
              <a:gd name="connsiteX86" fmla="*/ 3229583 w 6955277"/>
              <a:gd name="connsiteY86" fmla="*/ 946231 h 1656350"/>
              <a:gd name="connsiteX87" fmla="*/ 3263630 w 6955277"/>
              <a:gd name="connsiteY87" fmla="*/ 936503 h 1656350"/>
              <a:gd name="connsiteX88" fmla="*/ 3302541 w 6955277"/>
              <a:gd name="connsiteY88" fmla="*/ 931639 h 1656350"/>
              <a:gd name="connsiteX89" fmla="*/ 3317132 w 6955277"/>
              <a:gd name="connsiteY89" fmla="*/ 926776 h 1656350"/>
              <a:gd name="connsiteX90" fmla="*/ 3321996 w 6955277"/>
              <a:gd name="connsiteY90" fmla="*/ 912184 h 1656350"/>
              <a:gd name="connsiteX91" fmla="*/ 3433864 w 6955277"/>
              <a:gd name="connsiteY91" fmla="*/ 907320 h 1656350"/>
              <a:gd name="connsiteX92" fmla="*/ 3438728 w 6955277"/>
              <a:gd name="connsiteY92" fmla="*/ 892729 h 1656350"/>
              <a:gd name="connsiteX93" fmla="*/ 3453319 w 6955277"/>
              <a:gd name="connsiteY93" fmla="*/ 883001 h 1656350"/>
              <a:gd name="connsiteX94" fmla="*/ 3540868 w 6955277"/>
              <a:gd name="connsiteY94" fmla="*/ 878137 h 1656350"/>
              <a:gd name="connsiteX95" fmla="*/ 3560324 w 6955277"/>
              <a:gd name="connsiteY95" fmla="*/ 873273 h 1656350"/>
              <a:gd name="connsiteX96" fmla="*/ 3589507 w 6955277"/>
              <a:gd name="connsiteY96" fmla="*/ 863546 h 1656350"/>
              <a:gd name="connsiteX97" fmla="*/ 3618690 w 6955277"/>
              <a:gd name="connsiteY97" fmla="*/ 858682 h 1656350"/>
              <a:gd name="connsiteX98" fmla="*/ 3715966 w 6955277"/>
              <a:gd name="connsiteY98" fmla="*/ 844090 h 1656350"/>
              <a:gd name="connsiteX99" fmla="*/ 3745149 w 6955277"/>
              <a:gd name="connsiteY99" fmla="*/ 834363 h 1656350"/>
              <a:gd name="connsiteX100" fmla="*/ 3750013 w 6955277"/>
              <a:gd name="connsiteY100" fmla="*/ 819771 h 1656350"/>
              <a:gd name="connsiteX101" fmla="*/ 3764605 w 6955277"/>
              <a:gd name="connsiteY101" fmla="*/ 814907 h 1656350"/>
              <a:gd name="connsiteX102" fmla="*/ 3798651 w 6955277"/>
              <a:gd name="connsiteY102" fmla="*/ 810044 h 1656350"/>
              <a:gd name="connsiteX103" fmla="*/ 3822971 w 6955277"/>
              <a:gd name="connsiteY103" fmla="*/ 805180 h 1656350"/>
              <a:gd name="connsiteX104" fmla="*/ 3852154 w 6955277"/>
              <a:gd name="connsiteY104" fmla="*/ 795452 h 1656350"/>
              <a:gd name="connsiteX105" fmla="*/ 3915383 w 6955277"/>
              <a:gd name="connsiteY105" fmla="*/ 790588 h 1656350"/>
              <a:gd name="connsiteX106" fmla="*/ 3959158 w 6955277"/>
              <a:gd name="connsiteY106" fmla="*/ 785724 h 1656350"/>
              <a:gd name="connsiteX107" fmla="*/ 3964022 w 6955277"/>
              <a:gd name="connsiteY107" fmla="*/ 771133 h 1656350"/>
              <a:gd name="connsiteX108" fmla="*/ 3993205 w 6955277"/>
              <a:gd name="connsiteY108" fmla="*/ 761405 h 1656350"/>
              <a:gd name="connsiteX109" fmla="*/ 4017524 w 6955277"/>
              <a:gd name="connsiteY109" fmla="*/ 756541 h 1656350"/>
              <a:gd name="connsiteX110" fmla="*/ 4036979 w 6955277"/>
              <a:gd name="connsiteY110" fmla="*/ 751678 h 1656350"/>
              <a:gd name="connsiteX111" fmla="*/ 4075890 w 6955277"/>
              <a:gd name="connsiteY111" fmla="*/ 746814 h 1656350"/>
              <a:gd name="connsiteX112" fmla="*/ 4095345 w 6955277"/>
              <a:gd name="connsiteY112" fmla="*/ 741950 h 1656350"/>
              <a:gd name="connsiteX113" fmla="*/ 4158575 w 6955277"/>
              <a:gd name="connsiteY113" fmla="*/ 727359 h 1656350"/>
              <a:gd name="connsiteX114" fmla="*/ 4173166 w 6955277"/>
              <a:gd name="connsiteY114" fmla="*/ 722495 h 1656350"/>
              <a:gd name="connsiteX115" fmla="*/ 4187758 w 6955277"/>
              <a:gd name="connsiteY115" fmla="*/ 712767 h 1656350"/>
              <a:gd name="connsiteX116" fmla="*/ 4265579 w 6955277"/>
              <a:gd name="connsiteY116" fmla="*/ 707903 h 1656350"/>
              <a:gd name="connsiteX117" fmla="*/ 4275307 w 6955277"/>
              <a:gd name="connsiteY117" fmla="*/ 693312 h 1656350"/>
              <a:gd name="connsiteX118" fmla="*/ 4421222 w 6955277"/>
              <a:gd name="connsiteY118" fmla="*/ 678720 h 1656350"/>
              <a:gd name="connsiteX119" fmla="*/ 4440677 w 6955277"/>
              <a:gd name="connsiteY119" fmla="*/ 668993 h 1656350"/>
              <a:gd name="connsiteX120" fmla="*/ 4557409 w 6955277"/>
              <a:gd name="connsiteY120" fmla="*/ 659265 h 1656350"/>
              <a:gd name="connsiteX121" fmla="*/ 4576863 w 6955277"/>
              <a:gd name="connsiteY121" fmla="*/ 639809 h 1656350"/>
              <a:gd name="connsiteX122" fmla="*/ 4586592 w 6955277"/>
              <a:gd name="connsiteY122" fmla="*/ 625218 h 1656350"/>
              <a:gd name="connsiteX123" fmla="*/ 4635230 w 6955277"/>
              <a:gd name="connsiteY123" fmla="*/ 634946 h 1656350"/>
              <a:gd name="connsiteX124" fmla="*/ 4669277 w 6955277"/>
              <a:gd name="connsiteY124" fmla="*/ 630082 h 1656350"/>
              <a:gd name="connsiteX125" fmla="*/ 4703324 w 6955277"/>
              <a:gd name="connsiteY125" fmla="*/ 610627 h 1656350"/>
              <a:gd name="connsiteX126" fmla="*/ 4732507 w 6955277"/>
              <a:gd name="connsiteY126" fmla="*/ 605763 h 1656350"/>
              <a:gd name="connsiteX127" fmla="*/ 4790873 w 6955277"/>
              <a:gd name="connsiteY127" fmla="*/ 591171 h 1656350"/>
              <a:gd name="connsiteX128" fmla="*/ 4844375 w 6955277"/>
              <a:gd name="connsiteY128" fmla="*/ 581444 h 1656350"/>
              <a:gd name="connsiteX129" fmla="*/ 4907605 w 6955277"/>
              <a:gd name="connsiteY129" fmla="*/ 557124 h 1656350"/>
              <a:gd name="connsiteX130" fmla="*/ 4990290 w 6955277"/>
              <a:gd name="connsiteY130" fmla="*/ 552261 h 1656350"/>
              <a:gd name="connsiteX131" fmla="*/ 5009745 w 6955277"/>
              <a:gd name="connsiteY131" fmla="*/ 523078 h 1656350"/>
              <a:gd name="connsiteX132" fmla="*/ 5024336 w 6955277"/>
              <a:gd name="connsiteY132" fmla="*/ 513350 h 1656350"/>
              <a:gd name="connsiteX133" fmla="*/ 5058383 w 6955277"/>
              <a:gd name="connsiteY133" fmla="*/ 503622 h 1656350"/>
              <a:gd name="connsiteX134" fmla="*/ 5072975 w 6955277"/>
              <a:gd name="connsiteY134" fmla="*/ 498759 h 1656350"/>
              <a:gd name="connsiteX135" fmla="*/ 5087566 w 6955277"/>
              <a:gd name="connsiteY135" fmla="*/ 489031 h 1656350"/>
              <a:gd name="connsiteX136" fmla="*/ 5136205 w 6955277"/>
              <a:gd name="connsiteY136" fmla="*/ 474439 h 1656350"/>
              <a:gd name="connsiteX137" fmla="*/ 5150796 w 6955277"/>
              <a:gd name="connsiteY137" fmla="*/ 469576 h 1656350"/>
              <a:gd name="connsiteX138" fmla="*/ 5179979 w 6955277"/>
              <a:gd name="connsiteY138" fmla="*/ 464712 h 1656350"/>
              <a:gd name="connsiteX139" fmla="*/ 5194571 w 6955277"/>
              <a:gd name="connsiteY139" fmla="*/ 459848 h 1656350"/>
              <a:gd name="connsiteX140" fmla="*/ 5267528 w 6955277"/>
              <a:gd name="connsiteY140" fmla="*/ 454984 h 1656350"/>
              <a:gd name="connsiteX141" fmla="*/ 5301575 w 6955277"/>
              <a:gd name="connsiteY141" fmla="*/ 450120 h 1656350"/>
              <a:gd name="connsiteX142" fmla="*/ 5321030 w 6955277"/>
              <a:gd name="connsiteY142" fmla="*/ 445256 h 1656350"/>
              <a:gd name="connsiteX143" fmla="*/ 5369668 w 6955277"/>
              <a:gd name="connsiteY143" fmla="*/ 440393 h 1656350"/>
              <a:gd name="connsiteX144" fmla="*/ 5437762 w 6955277"/>
              <a:gd name="connsiteY144" fmla="*/ 430665 h 1656350"/>
              <a:gd name="connsiteX145" fmla="*/ 5466945 w 6955277"/>
              <a:gd name="connsiteY145" fmla="*/ 425801 h 1656350"/>
              <a:gd name="connsiteX146" fmla="*/ 5500992 w 6955277"/>
              <a:gd name="connsiteY146" fmla="*/ 416073 h 1656350"/>
              <a:gd name="connsiteX147" fmla="*/ 5515583 w 6955277"/>
              <a:gd name="connsiteY147" fmla="*/ 411210 h 1656350"/>
              <a:gd name="connsiteX148" fmla="*/ 5564222 w 6955277"/>
              <a:gd name="connsiteY148" fmla="*/ 411211 h 1656350"/>
              <a:gd name="connsiteX149" fmla="*/ 5637179 w 6955277"/>
              <a:gd name="connsiteY149" fmla="*/ 386891 h 1656350"/>
              <a:gd name="connsiteX150" fmla="*/ 5666362 w 6955277"/>
              <a:gd name="connsiteY150" fmla="*/ 391754 h 1656350"/>
              <a:gd name="connsiteX151" fmla="*/ 5685817 w 6955277"/>
              <a:gd name="connsiteY151" fmla="*/ 382027 h 1656350"/>
              <a:gd name="connsiteX152" fmla="*/ 5724728 w 6955277"/>
              <a:gd name="connsiteY152" fmla="*/ 377163 h 1656350"/>
              <a:gd name="connsiteX153" fmla="*/ 5729592 w 6955277"/>
              <a:gd name="connsiteY153" fmla="*/ 362571 h 1656350"/>
              <a:gd name="connsiteX154" fmla="*/ 5744183 w 6955277"/>
              <a:gd name="connsiteY154" fmla="*/ 357707 h 1656350"/>
              <a:gd name="connsiteX155" fmla="*/ 5783094 w 6955277"/>
              <a:gd name="connsiteY155" fmla="*/ 352844 h 1656350"/>
              <a:gd name="connsiteX156" fmla="*/ 5812277 w 6955277"/>
              <a:gd name="connsiteY156" fmla="*/ 338252 h 1656350"/>
              <a:gd name="connsiteX157" fmla="*/ 5841460 w 6955277"/>
              <a:gd name="connsiteY157" fmla="*/ 328524 h 1656350"/>
              <a:gd name="connsiteX158" fmla="*/ 5885234 w 6955277"/>
              <a:gd name="connsiteY158" fmla="*/ 318797 h 1656350"/>
              <a:gd name="connsiteX159" fmla="*/ 5899826 w 6955277"/>
              <a:gd name="connsiteY159" fmla="*/ 309069 h 1656350"/>
              <a:gd name="connsiteX160" fmla="*/ 5997102 w 6955277"/>
              <a:gd name="connsiteY160" fmla="*/ 299341 h 1656350"/>
              <a:gd name="connsiteX161" fmla="*/ 6040877 w 6955277"/>
              <a:gd name="connsiteY161" fmla="*/ 284750 h 1656350"/>
              <a:gd name="connsiteX162" fmla="*/ 6055468 w 6955277"/>
              <a:gd name="connsiteY162" fmla="*/ 275022 h 1656350"/>
              <a:gd name="connsiteX163" fmla="*/ 6079788 w 6955277"/>
              <a:gd name="connsiteY163" fmla="*/ 270159 h 1656350"/>
              <a:gd name="connsiteX164" fmla="*/ 6128426 w 6955277"/>
              <a:gd name="connsiteY164" fmla="*/ 265295 h 1656350"/>
              <a:gd name="connsiteX165" fmla="*/ 6167336 w 6955277"/>
              <a:gd name="connsiteY165" fmla="*/ 260431 h 1656350"/>
              <a:gd name="connsiteX166" fmla="*/ 6206247 w 6955277"/>
              <a:gd name="connsiteY166" fmla="*/ 250703 h 1656350"/>
              <a:gd name="connsiteX167" fmla="*/ 6220839 w 6955277"/>
              <a:gd name="connsiteY167" fmla="*/ 240976 h 1656350"/>
              <a:gd name="connsiteX168" fmla="*/ 6274341 w 6955277"/>
              <a:gd name="connsiteY168" fmla="*/ 236112 h 1656350"/>
              <a:gd name="connsiteX169" fmla="*/ 6395936 w 6955277"/>
              <a:gd name="connsiteY169" fmla="*/ 221520 h 1656350"/>
              <a:gd name="connsiteX170" fmla="*/ 6410528 w 6955277"/>
              <a:gd name="connsiteY170" fmla="*/ 192337 h 1656350"/>
              <a:gd name="connsiteX171" fmla="*/ 6439711 w 6955277"/>
              <a:gd name="connsiteY171" fmla="*/ 187473 h 1656350"/>
              <a:gd name="connsiteX172" fmla="*/ 6488349 w 6955277"/>
              <a:gd name="connsiteY172" fmla="*/ 182610 h 1656350"/>
              <a:gd name="connsiteX173" fmla="*/ 6507805 w 6955277"/>
              <a:gd name="connsiteY173" fmla="*/ 177746 h 1656350"/>
              <a:gd name="connsiteX174" fmla="*/ 6522396 w 6955277"/>
              <a:gd name="connsiteY174" fmla="*/ 172882 h 1656350"/>
              <a:gd name="connsiteX175" fmla="*/ 6561307 w 6955277"/>
              <a:gd name="connsiteY175" fmla="*/ 163154 h 1656350"/>
              <a:gd name="connsiteX176" fmla="*/ 6566171 w 6955277"/>
              <a:gd name="connsiteY176" fmla="*/ 148563 h 1656350"/>
              <a:gd name="connsiteX177" fmla="*/ 6580762 w 6955277"/>
              <a:gd name="connsiteY177" fmla="*/ 143699 h 1656350"/>
              <a:gd name="connsiteX178" fmla="*/ 6605081 w 6955277"/>
              <a:gd name="connsiteY178" fmla="*/ 138835 h 1656350"/>
              <a:gd name="connsiteX179" fmla="*/ 6639128 w 6955277"/>
              <a:gd name="connsiteY179" fmla="*/ 119380 h 1656350"/>
              <a:gd name="connsiteX180" fmla="*/ 6643992 w 6955277"/>
              <a:gd name="connsiteY180" fmla="*/ 99924 h 1656350"/>
              <a:gd name="connsiteX181" fmla="*/ 6780179 w 6955277"/>
              <a:gd name="connsiteY181" fmla="*/ 99924 h 1656350"/>
              <a:gd name="connsiteX182" fmla="*/ 6785043 w 6955277"/>
              <a:gd name="connsiteY182" fmla="*/ 65878 h 1656350"/>
              <a:gd name="connsiteX183" fmla="*/ 6809362 w 6955277"/>
              <a:gd name="connsiteY183" fmla="*/ 61014 h 1656350"/>
              <a:gd name="connsiteX184" fmla="*/ 6828817 w 6955277"/>
              <a:gd name="connsiteY184" fmla="*/ 56150 h 1656350"/>
              <a:gd name="connsiteX185" fmla="*/ 6955277 w 6955277"/>
              <a:gd name="connsiteY185" fmla="*/ 2647 h 1656350"/>
              <a:gd name="connsiteX0" fmla="*/ 0 w 6955277"/>
              <a:gd name="connsiteY0" fmla="*/ 1656350 h 1656350"/>
              <a:gd name="connsiteX1" fmla="*/ 48639 w 6955277"/>
              <a:gd name="connsiteY1" fmla="*/ 1646622 h 1656350"/>
              <a:gd name="connsiteX2" fmla="*/ 77822 w 6955277"/>
              <a:gd name="connsiteY2" fmla="*/ 1632031 h 1656350"/>
              <a:gd name="connsiteX3" fmla="*/ 141051 w 6955277"/>
              <a:gd name="connsiteY3" fmla="*/ 1627167 h 1656350"/>
              <a:gd name="connsiteX4" fmla="*/ 170234 w 6955277"/>
              <a:gd name="connsiteY4" fmla="*/ 1602848 h 1656350"/>
              <a:gd name="connsiteX5" fmla="*/ 184826 w 6955277"/>
              <a:gd name="connsiteY5" fmla="*/ 1593120 h 1656350"/>
              <a:gd name="connsiteX6" fmla="*/ 238328 w 6955277"/>
              <a:gd name="connsiteY6" fmla="*/ 1593120 h 1656350"/>
              <a:gd name="connsiteX7" fmla="*/ 252919 w 6955277"/>
              <a:gd name="connsiteY7" fmla="*/ 1583393 h 1656350"/>
              <a:gd name="connsiteX8" fmla="*/ 301558 w 6955277"/>
              <a:gd name="connsiteY8" fmla="*/ 1578529 h 1656350"/>
              <a:gd name="connsiteX9" fmla="*/ 321013 w 6955277"/>
              <a:gd name="connsiteY9" fmla="*/ 1568801 h 1656350"/>
              <a:gd name="connsiteX10" fmla="*/ 369651 w 6955277"/>
              <a:gd name="connsiteY10" fmla="*/ 1549346 h 1656350"/>
              <a:gd name="connsiteX11" fmla="*/ 418290 w 6955277"/>
              <a:gd name="connsiteY11" fmla="*/ 1549346 h 1656350"/>
              <a:gd name="connsiteX12" fmla="*/ 432881 w 6955277"/>
              <a:gd name="connsiteY12" fmla="*/ 1534754 h 1656350"/>
              <a:gd name="connsiteX13" fmla="*/ 447473 w 6955277"/>
              <a:gd name="connsiteY13" fmla="*/ 1529890 h 1656350"/>
              <a:gd name="connsiteX14" fmla="*/ 515566 w 6955277"/>
              <a:gd name="connsiteY14" fmla="*/ 1529890 h 1656350"/>
              <a:gd name="connsiteX15" fmla="*/ 520430 w 6955277"/>
              <a:gd name="connsiteY15" fmla="*/ 1510435 h 1656350"/>
              <a:gd name="connsiteX16" fmla="*/ 612843 w 6955277"/>
              <a:gd name="connsiteY16" fmla="*/ 1510435 h 1656350"/>
              <a:gd name="connsiteX17" fmla="*/ 617707 w 6955277"/>
              <a:gd name="connsiteY17" fmla="*/ 1495844 h 1656350"/>
              <a:gd name="connsiteX18" fmla="*/ 666345 w 6955277"/>
              <a:gd name="connsiteY18" fmla="*/ 1490980 h 1656350"/>
              <a:gd name="connsiteX19" fmla="*/ 695528 w 6955277"/>
              <a:gd name="connsiteY19" fmla="*/ 1495844 h 1656350"/>
              <a:gd name="connsiteX20" fmla="*/ 753894 w 6955277"/>
              <a:gd name="connsiteY20" fmla="*/ 1486116 h 1656350"/>
              <a:gd name="connsiteX21" fmla="*/ 787941 w 6955277"/>
              <a:gd name="connsiteY21" fmla="*/ 1481252 h 1656350"/>
              <a:gd name="connsiteX22" fmla="*/ 792805 w 6955277"/>
              <a:gd name="connsiteY22" fmla="*/ 1466661 h 1656350"/>
              <a:gd name="connsiteX23" fmla="*/ 836579 w 6955277"/>
              <a:gd name="connsiteY23" fmla="*/ 1461797 h 1656350"/>
              <a:gd name="connsiteX24" fmla="*/ 851171 w 6955277"/>
              <a:gd name="connsiteY24" fmla="*/ 1456933 h 1656350"/>
              <a:gd name="connsiteX25" fmla="*/ 875490 w 6955277"/>
              <a:gd name="connsiteY25" fmla="*/ 1452069 h 1656350"/>
              <a:gd name="connsiteX26" fmla="*/ 894945 w 6955277"/>
              <a:gd name="connsiteY26" fmla="*/ 1447205 h 1656350"/>
              <a:gd name="connsiteX27" fmla="*/ 924128 w 6955277"/>
              <a:gd name="connsiteY27" fmla="*/ 1437478 h 1656350"/>
              <a:gd name="connsiteX28" fmla="*/ 933856 w 6955277"/>
              <a:gd name="connsiteY28" fmla="*/ 1422886 h 1656350"/>
              <a:gd name="connsiteX29" fmla="*/ 982494 w 6955277"/>
              <a:gd name="connsiteY29" fmla="*/ 1418022 h 1656350"/>
              <a:gd name="connsiteX30" fmla="*/ 997085 w 6955277"/>
              <a:gd name="connsiteY30" fmla="*/ 1413159 h 1656350"/>
              <a:gd name="connsiteX31" fmla="*/ 1011677 w 6955277"/>
              <a:gd name="connsiteY31" fmla="*/ 1403431 h 1656350"/>
              <a:gd name="connsiteX32" fmla="*/ 1118681 w 6955277"/>
              <a:gd name="connsiteY32" fmla="*/ 1398567 h 1656350"/>
              <a:gd name="connsiteX33" fmla="*/ 1147864 w 6955277"/>
              <a:gd name="connsiteY33" fmla="*/ 1388839 h 1656350"/>
              <a:gd name="connsiteX34" fmla="*/ 1240277 w 6955277"/>
              <a:gd name="connsiteY34" fmla="*/ 1374248 h 1656350"/>
              <a:gd name="connsiteX35" fmla="*/ 1269460 w 6955277"/>
              <a:gd name="connsiteY35" fmla="*/ 1364520 h 1656350"/>
              <a:gd name="connsiteX36" fmla="*/ 1303507 w 6955277"/>
              <a:gd name="connsiteY36" fmla="*/ 1354793 h 1656350"/>
              <a:gd name="connsiteX37" fmla="*/ 1332690 w 6955277"/>
              <a:gd name="connsiteY37" fmla="*/ 1340201 h 1656350"/>
              <a:gd name="connsiteX38" fmla="*/ 1400783 w 6955277"/>
              <a:gd name="connsiteY38" fmla="*/ 1330473 h 1656350"/>
              <a:gd name="connsiteX39" fmla="*/ 1429966 w 6955277"/>
              <a:gd name="connsiteY39" fmla="*/ 1320746 h 1656350"/>
              <a:gd name="connsiteX40" fmla="*/ 1444558 w 6955277"/>
              <a:gd name="connsiteY40" fmla="*/ 1315882 h 1656350"/>
              <a:gd name="connsiteX41" fmla="*/ 1532107 w 6955277"/>
              <a:gd name="connsiteY41" fmla="*/ 1301290 h 1656350"/>
              <a:gd name="connsiteX42" fmla="*/ 1561290 w 6955277"/>
              <a:gd name="connsiteY42" fmla="*/ 1291563 h 1656350"/>
              <a:gd name="connsiteX43" fmla="*/ 1600200 w 6955277"/>
              <a:gd name="connsiteY43" fmla="*/ 1286699 h 1656350"/>
              <a:gd name="connsiteX44" fmla="*/ 1634247 w 6955277"/>
              <a:gd name="connsiteY44" fmla="*/ 1281835 h 1656350"/>
              <a:gd name="connsiteX45" fmla="*/ 1697477 w 6955277"/>
              <a:gd name="connsiteY45" fmla="*/ 1272107 h 1656350"/>
              <a:gd name="connsiteX46" fmla="*/ 1712068 w 6955277"/>
              <a:gd name="connsiteY46" fmla="*/ 1262380 h 1656350"/>
              <a:gd name="connsiteX47" fmla="*/ 1736388 w 6955277"/>
              <a:gd name="connsiteY47" fmla="*/ 1257516 h 1656350"/>
              <a:gd name="connsiteX48" fmla="*/ 1823936 w 6955277"/>
              <a:gd name="connsiteY48" fmla="*/ 1252652 h 1656350"/>
              <a:gd name="connsiteX49" fmla="*/ 1828800 w 6955277"/>
              <a:gd name="connsiteY49" fmla="*/ 1228333 h 1656350"/>
              <a:gd name="connsiteX50" fmla="*/ 1843392 w 6955277"/>
              <a:gd name="connsiteY50" fmla="*/ 1223469 h 1656350"/>
              <a:gd name="connsiteX51" fmla="*/ 1867711 w 6955277"/>
              <a:gd name="connsiteY51" fmla="*/ 1218605 h 1656350"/>
              <a:gd name="connsiteX52" fmla="*/ 1945532 w 6955277"/>
              <a:gd name="connsiteY52" fmla="*/ 1213741 h 1656350"/>
              <a:gd name="connsiteX53" fmla="*/ 2018490 w 6955277"/>
              <a:gd name="connsiteY53" fmla="*/ 1199150 h 1656350"/>
              <a:gd name="connsiteX54" fmla="*/ 2091447 w 6955277"/>
              <a:gd name="connsiteY54" fmla="*/ 1189422 h 1656350"/>
              <a:gd name="connsiteX55" fmla="*/ 2106039 w 6955277"/>
              <a:gd name="connsiteY55" fmla="*/ 1179695 h 1656350"/>
              <a:gd name="connsiteX56" fmla="*/ 2140085 w 6955277"/>
              <a:gd name="connsiteY56" fmla="*/ 1174831 h 1656350"/>
              <a:gd name="connsiteX57" fmla="*/ 2188724 w 6955277"/>
              <a:gd name="connsiteY57" fmla="*/ 1160239 h 1656350"/>
              <a:gd name="connsiteX58" fmla="*/ 2222771 w 6955277"/>
              <a:gd name="connsiteY58" fmla="*/ 1155376 h 1656350"/>
              <a:gd name="connsiteX59" fmla="*/ 2237362 w 6955277"/>
              <a:gd name="connsiteY59" fmla="*/ 1150512 h 1656350"/>
              <a:gd name="connsiteX60" fmla="*/ 2305456 w 6955277"/>
              <a:gd name="connsiteY60" fmla="*/ 1140784 h 1656350"/>
              <a:gd name="connsiteX61" fmla="*/ 2349230 w 6955277"/>
              <a:gd name="connsiteY61" fmla="*/ 1131056 h 1656350"/>
              <a:gd name="connsiteX62" fmla="*/ 2363822 w 6955277"/>
              <a:gd name="connsiteY62" fmla="*/ 1126193 h 1656350"/>
              <a:gd name="connsiteX63" fmla="*/ 2431915 w 6955277"/>
              <a:gd name="connsiteY63" fmla="*/ 1116465 h 1656350"/>
              <a:gd name="connsiteX64" fmla="*/ 2436779 w 6955277"/>
              <a:gd name="connsiteY64" fmla="*/ 1101873 h 1656350"/>
              <a:gd name="connsiteX65" fmla="*/ 2465962 w 6955277"/>
              <a:gd name="connsiteY65" fmla="*/ 1092146 h 1656350"/>
              <a:gd name="connsiteX66" fmla="*/ 2572966 w 6955277"/>
              <a:gd name="connsiteY66" fmla="*/ 1092146 h 1656350"/>
              <a:gd name="connsiteX67" fmla="*/ 2587558 w 6955277"/>
              <a:gd name="connsiteY67" fmla="*/ 1082418 h 1656350"/>
              <a:gd name="connsiteX68" fmla="*/ 2602149 w 6955277"/>
              <a:gd name="connsiteY68" fmla="*/ 1077554 h 1656350"/>
              <a:gd name="connsiteX69" fmla="*/ 2616741 w 6955277"/>
              <a:gd name="connsiteY69" fmla="*/ 1067827 h 1656350"/>
              <a:gd name="connsiteX70" fmla="*/ 2645924 w 6955277"/>
              <a:gd name="connsiteY70" fmla="*/ 1062963 h 1656350"/>
              <a:gd name="connsiteX71" fmla="*/ 2704290 w 6955277"/>
              <a:gd name="connsiteY71" fmla="*/ 1043507 h 1656350"/>
              <a:gd name="connsiteX72" fmla="*/ 2718881 w 6955277"/>
              <a:gd name="connsiteY72" fmla="*/ 1038644 h 1656350"/>
              <a:gd name="connsiteX73" fmla="*/ 2733473 w 6955277"/>
              <a:gd name="connsiteY73" fmla="*/ 1033780 h 1656350"/>
              <a:gd name="connsiteX74" fmla="*/ 2752928 w 6955277"/>
              <a:gd name="connsiteY74" fmla="*/ 1028916 h 1656350"/>
              <a:gd name="connsiteX75" fmla="*/ 2777247 w 6955277"/>
              <a:gd name="connsiteY75" fmla="*/ 1024052 h 1656350"/>
              <a:gd name="connsiteX76" fmla="*/ 2830749 w 6955277"/>
              <a:gd name="connsiteY76" fmla="*/ 1019188 h 1656350"/>
              <a:gd name="connsiteX77" fmla="*/ 2864796 w 6955277"/>
              <a:gd name="connsiteY77" fmla="*/ 1014324 h 1656350"/>
              <a:gd name="connsiteX78" fmla="*/ 2879388 w 6955277"/>
              <a:gd name="connsiteY78" fmla="*/ 1009461 h 1656350"/>
              <a:gd name="connsiteX79" fmla="*/ 2898843 w 6955277"/>
              <a:gd name="connsiteY79" fmla="*/ 1004597 h 1656350"/>
              <a:gd name="connsiteX80" fmla="*/ 2913434 w 6955277"/>
              <a:gd name="connsiteY80" fmla="*/ 994869 h 1656350"/>
              <a:gd name="connsiteX81" fmla="*/ 2981528 w 6955277"/>
              <a:gd name="connsiteY81" fmla="*/ 985141 h 1656350"/>
              <a:gd name="connsiteX82" fmla="*/ 2986392 w 6955277"/>
              <a:gd name="connsiteY82" fmla="*/ 970550 h 1656350"/>
              <a:gd name="connsiteX83" fmla="*/ 3059349 w 6955277"/>
              <a:gd name="connsiteY83" fmla="*/ 965686 h 1656350"/>
              <a:gd name="connsiteX84" fmla="*/ 3107988 w 6955277"/>
              <a:gd name="connsiteY84" fmla="*/ 960822 h 1656350"/>
              <a:gd name="connsiteX85" fmla="*/ 3185809 w 6955277"/>
              <a:gd name="connsiteY85" fmla="*/ 951095 h 1656350"/>
              <a:gd name="connsiteX86" fmla="*/ 3229583 w 6955277"/>
              <a:gd name="connsiteY86" fmla="*/ 946231 h 1656350"/>
              <a:gd name="connsiteX87" fmla="*/ 3263630 w 6955277"/>
              <a:gd name="connsiteY87" fmla="*/ 936503 h 1656350"/>
              <a:gd name="connsiteX88" fmla="*/ 3302541 w 6955277"/>
              <a:gd name="connsiteY88" fmla="*/ 931639 h 1656350"/>
              <a:gd name="connsiteX89" fmla="*/ 3317132 w 6955277"/>
              <a:gd name="connsiteY89" fmla="*/ 926776 h 1656350"/>
              <a:gd name="connsiteX90" fmla="*/ 3321996 w 6955277"/>
              <a:gd name="connsiteY90" fmla="*/ 912184 h 1656350"/>
              <a:gd name="connsiteX91" fmla="*/ 3433864 w 6955277"/>
              <a:gd name="connsiteY91" fmla="*/ 907320 h 1656350"/>
              <a:gd name="connsiteX92" fmla="*/ 3438728 w 6955277"/>
              <a:gd name="connsiteY92" fmla="*/ 892729 h 1656350"/>
              <a:gd name="connsiteX93" fmla="*/ 3453319 w 6955277"/>
              <a:gd name="connsiteY93" fmla="*/ 883001 h 1656350"/>
              <a:gd name="connsiteX94" fmla="*/ 3540868 w 6955277"/>
              <a:gd name="connsiteY94" fmla="*/ 878137 h 1656350"/>
              <a:gd name="connsiteX95" fmla="*/ 3560324 w 6955277"/>
              <a:gd name="connsiteY95" fmla="*/ 873273 h 1656350"/>
              <a:gd name="connsiteX96" fmla="*/ 3589507 w 6955277"/>
              <a:gd name="connsiteY96" fmla="*/ 863546 h 1656350"/>
              <a:gd name="connsiteX97" fmla="*/ 3618690 w 6955277"/>
              <a:gd name="connsiteY97" fmla="*/ 858682 h 1656350"/>
              <a:gd name="connsiteX98" fmla="*/ 3715966 w 6955277"/>
              <a:gd name="connsiteY98" fmla="*/ 844090 h 1656350"/>
              <a:gd name="connsiteX99" fmla="*/ 3745149 w 6955277"/>
              <a:gd name="connsiteY99" fmla="*/ 834363 h 1656350"/>
              <a:gd name="connsiteX100" fmla="*/ 3750013 w 6955277"/>
              <a:gd name="connsiteY100" fmla="*/ 819771 h 1656350"/>
              <a:gd name="connsiteX101" fmla="*/ 3764605 w 6955277"/>
              <a:gd name="connsiteY101" fmla="*/ 814907 h 1656350"/>
              <a:gd name="connsiteX102" fmla="*/ 3798651 w 6955277"/>
              <a:gd name="connsiteY102" fmla="*/ 810044 h 1656350"/>
              <a:gd name="connsiteX103" fmla="*/ 3822971 w 6955277"/>
              <a:gd name="connsiteY103" fmla="*/ 805180 h 1656350"/>
              <a:gd name="connsiteX104" fmla="*/ 3852154 w 6955277"/>
              <a:gd name="connsiteY104" fmla="*/ 795452 h 1656350"/>
              <a:gd name="connsiteX105" fmla="*/ 3915383 w 6955277"/>
              <a:gd name="connsiteY105" fmla="*/ 790588 h 1656350"/>
              <a:gd name="connsiteX106" fmla="*/ 3959158 w 6955277"/>
              <a:gd name="connsiteY106" fmla="*/ 785724 h 1656350"/>
              <a:gd name="connsiteX107" fmla="*/ 3964022 w 6955277"/>
              <a:gd name="connsiteY107" fmla="*/ 771133 h 1656350"/>
              <a:gd name="connsiteX108" fmla="*/ 3993205 w 6955277"/>
              <a:gd name="connsiteY108" fmla="*/ 761405 h 1656350"/>
              <a:gd name="connsiteX109" fmla="*/ 4017524 w 6955277"/>
              <a:gd name="connsiteY109" fmla="*/ 756541 h 1656350"/>
              <a:gd name="connsiteX110" fmla="*/ 4036979 w 6955277"/>
              <a:gd name="connsiteY110" fmla="*/ 751678 h 1656350"/>
              <a:gd name="connsiteX111" fmla="*/ 4075890 w 6955277"/>
              <a:gd name="connsiteY111" fmla="*/ 746814 h 1656350"/>
              <a:gd name="connsiteX112" fmla="*/ 4095345 w 6955277"/>
              <a:gd name="connsiteY112" fmla="*/ 741950 h 1656350"/>
              <a:gd name="connsiteX113" fmla="*/ 4158575 w 6955277"/>
              <a:gd name="connsiteY113" fmla="*/ 727359 h 1656350"/>
              <a:gd name="connsiteX114" fmla="*/ 4173166 w 6955277"/>
              <a:gd name="connsiteY114" fmla="*/ 722495 h 1656350"/>
              <a:gd name="connsiteX115" fmla="*/ 4187758 w 6955277"/>
              <a:gd name="connsiteY115" fmla="*/ 712767 h 1656350"/>
              <a:gd name="connsiteX116" fmla="*/ 4265579 w 6955277"/>
              <a:gd name="connsiteY116" fmla="*/ 707903 h 1656350"/>
              <a:gd name="connsiteX117" fmla="*/ 4275307 w 6955277"/>
              <a:gd name="connsiteY117" fmla="*/ 693312 h 1656350"/>
              <a:gd name="connsiteX118" fmla="*/ 4421222 w 6955277"/>
              <a:gd name="connsiteY118" fmla="*/ 678720 h 1656350"/>
              <a:gd name="connsiteX119" fmla="*/ 4440677 w 6955277"/>
              <a:gd name="connsiteY119" fmla="*/ 668993 h 1656350"/>
              <a:gd name="connsiteX120" fmla="*/ 4557409 w 6955277"/>
              <a:gd name="connsiteY120" fmla="*/ 659265 h 1656350"/>
              <a:gd name="connsiteX121" fmla="*/ 4576863 w 6955277"/>
              <a:gd name="connsiteY121" fmla="*/ 639809 h 1656350"/>
              <a:gd name="connsiteX122" fmla="*/ 4586592 w 6955277"/>
              <a:gd name="connsiteY122" fmla="*/ 625218 h 1656350"/>
              <a:gd name="connsiteX123" fmla="*/ 4635230 w 6955277"/>
              <a:gd name="connsiteY123" fmla="*/ 634946 h 1656350"/>
              <a:gd name="connsiteX124" fmla="*/ 4669277 w 6955277"/>
              <a:gd name="connsiteY124" fmla="*/ 630082 h 1656350"/>
              <a:gd name="connsiteX125" fmla="*/ 4703324 w 6955277"/>
              <a:gd name="connsiteY125" fmla="*/ 610627 h 1656350"/>
              <a:gd name="connsiteX126" fmla="*/ 4732507 w 6955277"/>
              <a:gd name="connsiteY126" fmla="*/ 605763 h 1656350"/>
              <a:gd name="connsiteX127" fmla="*/ 4790873 w 6955277"/>
              <a:gd name="connsiteY127" fmla="*/ 591171 h 1656350"/>
              <a:gd name="connsiteX128" fmla="*/ 4844375 w 6955277"/>
              <a:gd name="connsiteY128" fmla="*/ 581444 h 1656350"/>
              <a:gd name="connsiteX129" fmla="*/ 4907605 w 6955277"/>
              <a:gd name="connsiteY129" fmla="*/ 557124 h 1656350"/>
              <a:gd name="connsiteX130" fmla="*/ 4990290 w 6955277"/>
              <a:gd name="connsiteY130" fmla="*/ 552261 h 1656350"/>
              <a:gd name="connsiteX131" fmla="*/ 5009745 w 6955277"/>
              <a:gd name="connsiteY131" fmla="*/ 523078 h 1656350"/>
              <a:gd name="connsiteX132" fmla="*/ 5024336 w 6955277"/>
              <a:gd name="connsiteY132" fmla="*/ 513350 h 1656350"/>
              <a:gd name="connsiteX133" fmla="*/ 5058383 w 6955277"/>
              <a:gd name="connsiteY133" fmla="*/ 503622 h 1656350"/>
              <a:gd name="connsiteX134" fmla="*/ 5072975 w 6955277"/>
              <a:gd name="connsiteY134" fmla="*/ 498759 h 1656350"/>
              <a:gd name="connsiteX135" fmla="*/ 5087566 w 6955277"/>
              <a:gd name="connsiteY135" fmla="*/ 489031 h 1656350"/>
              <a:gd name="connsiteX136" fmla="*/ 5136205 w 6955277"/>
              <a:gd name="connsiteY136" fmla="*/ 474439 h 1656350"/>
              <a:gd name="connsiteX137" fmla="*/ 5150796 w 6955277"/>
              <a:gd name="connsiteY137" fmla="*/ 469576 h 1656350"/>
              <a:gd name="connsiteX138" fmla="*/ 5179979 w 6955277"/>
              <a:gd name="connsiteY138" fmla="*/ 464712 h 1656350"/>
              <a:gd name="connsiteX139" fmla="*/ 5194571 w 6955277"/>
              <a:gd name="connsiteY139" fmla="*/ 459848 h 1656350"/>
              <a:gd name="connsiteX140" fmla="*/ 5267528 w 6955277"/>
              <a:gd name="connsiteY140" fmla="*/ 454984 h 1656350"/>
              <a:gd name="connsiteX141" fmla="*/ 5301575 w 6955277"/>
              <a:gd name="connsiteY141" fmla="*/ 450120 h 1656350"/>
              <a:gd name="connsiteX142" fmla="*/ 5321030 w 6955277"/>
              <a:gd name="connsiteY142" fmla="*/ 445256 h 1656350"/>
              <a:gd name="connsiteX143" fmla="*/ 5369668 w 6955277"/>
              <a:gd name="connsiteY143" fmla="*/ 440393 h 1656350"/>
              <a:gd name="connsiteX144" fmla="*/ 5437762 w 6955277"/>
              <a:gd name="connsiteY144" fmla="*/ 430665 h 1656350"/>
              <a:gd name="connsiteX145" fmla="*/ 5466945 w 6955277"/>
              <a:gd name="connsiteY145" fmla="*/ 425801 h 1656350"/>
              <a:gd name="connsiteX146" fmla="*/ 5500992 w 6955277"/>
              <a:gd name="connsiteY146" fmla="*/ 416073 h 1656350"/>
              <a:gd name="connsiteX147" fmla="*/ 5515583 w 6955277"/>
              <a:gd name="connsiteY147" fmla="*/ 411210 h 1656350"/>
              <a:gd name="connsiteX148" fmla="*/ 5564222 w 6955277"/>
              <a:gd name="connsiteY148" fmla="*/ 411211 h 1656350"/>
              <a:gd name="connsiteX149" fmla="*/ 5637179 w 6955277"/>
              <a:gd name="connsiteY149" fmla="*/ 386891 h 1656350"/>
              <a:gd name="connsiteX150" fmla="*/ 5666362 w 6955277"/>
              <a:gd name="connsiteY150" fmla="*/ 391754 h 1656350"/>
              <a:gd name="connsiteX151" fmla="*/ 5685817 w 6955277"/>
              <a:gd name="connsiteY151" fmla="*/ 382027 h 1656350"/>
              <a:gd name="connsiteX152" fmla="*/ 5724728 w 6955277"/>
              <a:gd name="connsiteY152" fmla="*/ 377163 h 1656350"/>
              <a:gd name="connsiteX153" fmla="*/ 5729592 w 6955277"/>
              <a:gd name="connsiteY153" fmla="*/ 362571 h 1656350"/>
              <a:gd name="connsiteX154" fmla="*/ 5744183 w 6955277"/>
              <a:gd name="connsiteY154" fmla="*/ 357707 h 1656350"/>
              <a:gd name="connsiteX155" fmla="*/ 5783094 w 6955277"/>
              <a:gd name="connsiteY155" fmla="*/ 352844 h 1656350"/>
              <a:gd name="connsiteX156" fmla="*/ 5812277 w 6955277"/>
              <a:gd name="connsiteY156" fmla="*/ 338252 h 1656350"/>
              <a:gd name="connsiteX157" fmla="*/ 5841460 w 6955277"/>
              <a:gd name="connsiteY157" fmla="*/ 328524 h 1656350"/>
              <a:gd name="connsiteX158" fmla="*/ 5885234 w 6955277"/>
              <a:gd name="connsiteY158" fmla="*/ 318797 h 1656350"/>
              <a:gd name="connsiteX159" fmla="*/ 5899826 w 6955277"/>
              <a:gd name="connsiteY159" fmla="*/ 309069 h 1656350"/>
              <a:gd name="connsiteX160" fmla="*/ 5997102 w 6955277"/>
              <a:gd name="connsiteY160" fmla="*/ 299341 h 1656350"/>
              <a:gd name="connsiteX161" fmla="*/ 6040877 w 6955277"/>
              <a:gd name="connsiteY161" fmla="*/ 284750 h 1656350"/>
              <a:gd name="connsiteX162" fmla="*/ 6055468 w 6955277"/>
              <a:gd name="connsiteY162" fmla="*/ 275022 h 1656350"/>
              <a:gd name="connsiteX163" fmla="*/ 6079788 w 6955277"/>
              <a:gd name="connsiteY163" fmla="*/ 270159 h 1656350"/>
              <a:gd name="connsiteX164" fmla="*/ 6128426 w 6955277"/>
              <a:gd name="connsiteY164" fmla="*/ 265295 h 1656350"/>
              <a:gd name="connsiteX165" fmla="*/ 6167336 w 6955277"/>
              <a:gd name="connsiteY165" fmla="*/ 260431 h 1656350"/>
              <a:gd name="connsiteX166" fmla="*/ 6206247 w 6955277"/>
              <a:gd name="connsiteY166" fmla="*/ 250703 h 1656350"/>
              <a:gd name="connsiteX167" fmla="*/ 6220839 w 6955277"/>
              <a:gd name="connsiteY167" fmla="*/ 240976 h 1656350"/>
              <a:gd name="connsiteX168" fmla="*/ 6274341 w 6955277"/>
              <a:gd name="connsiteY168" fmla="*/ 236112 h 1656350"/>
              <a:gd name="connsiteX169" fmla="*/ 6395936 w 6955277"/>
              <a:gd name="connsiteY169" fmla="*/ 221520 h 1656350"/>
              <a:gd name="connsiteX170" fmla="*/ 6410528 w 6955277"/>
              <a:gd name="connsiteY170" fmla="*/ 192337 h 1656350"/>
              <a:gd name="connsiteX171" fmla="*/ 6439711 w 6955277"/>
              <a:gd name="connsiteY171" fmla="*/ 187473 h 1656350"/>
              <a:gd name="connsiteX172" fmla="*/ 6488349 w 6955277"/>
              <a:gd name="connsiteY172" fmla="*/ 182610 h 1656350"/>
              <a:gd name="connsiteX173" fmla="*/ 6507805 w 6955277"/>
              <a:gd name="connsiteY173" fmla="*/ 177746 h 1656350"/>
              <a:gd name="connsiteX174" fmla="*/ 6522396 w 6955277"/>
              <a:gd name="connsiteY174" fmla="*/ 172882 h 1656350"/>
              <a:gd name="connsiteX175" fmla="*/ 6561307 w 6955277"/>
              <a:gd name="connsiteY175" fmla="*/ 163154 h 1656350"/>
              <a:gd name="connsiteX176" fmla="*/ 6566171 w 6955277"/>
              <a:gd name="connsiteY176" fmla="*/ 148563 h 1656350"/>
              <a:gd name="connsiteX177" fmla="*/ 6580762 w 6955277"/>
              <a:gd name="connsiteY177" fmla="*/ 143699 h 1656350"/>
              <a:gd name="connsiteX178" fmla="*/ 6605081 w 6955277"/>
              <a:gd name="connsiteY178" fmla="*/ 138835 h 1656350"/>
              <a:gd name="connsiteX179" fmla="*/ 6639128 w 6955277"/>
              <a:gd name="connsiteY179" fmla="*/ 119380 h 1656350"/>
              <a:gd name="connsiteX180" fmla="*/ 6643992 w 6955277"/>
              <a:gd name="connsiteY180" fmla="*/ 99924 h 1656350"/>
              <a:gd name="connsiteX181" fmla="*/ 6780179 w 6955277"/>
              <a:gd name="connsiteY181" fmla="*/ 99924 h 1656350"/>
              <a:gd name="connsiteX182" fmla="*/ 6785043 w 6955277"/>
              <a:gd name="connsiteY182" fmla="*/ 65878 h 1656350"/>
              <a:gd name="connsiteX183" fmla="*/ 6809362 w 6955277"/>
              <a:gd name="connsiteY183" fmla="*/ 61014 h 1656350"/>
              <a:gd name="connsiteX184" fmla="*/ 6828817 w 6955277"/>
              <a:gd name="connsiteY184" fmla="*/ 56150 h 1656350"/>
              <a:gd name="connsiteX185" fmla="*/ 6955277 w 6955277"/>
              <a:gd name="connsiteY185" fmla="*/ 2647 h 1656350"/>
              <a:gd name="connsiteX0" fmla="*/ 0 w 6955277"/>
              <a:gd name="connsiteY0" fmla="*/ 1656350 h 1656350"/>
              <a:gd name="connsiteX1" fmla="*/ 48639 w 6955277"/>
              <a:gd name="connsiteY1" fmla="*/ 1646622 h 1656350"/>
              <a:gd name="connsiteX2" fmla="*/ 77822 w 6955277"/>
              <a:gd name="connsiteY2" fmla="*/ 1632031 h 1656350"/>
              <a:gd name="connsiteX3" fmla="*/ 141051 w 6955277"/>
              <a:gd name="connsiteY3" fmla="*/ 1627167 h 1656350"/>
              <a:gd name="connsiteX4" fmla="*/ 170234 w 6955277"/>
              <a:gd name="connsiteY4" fmla="*/ 1602848 h 1656350"/>
              <a:gd name="connsiteX5" fmla="*/ 184826 w 6955277"/>
              <a:gd name="connsiteY5" fmla="*/ 1593120 h 1656350"/>
              <a:gd name="connsiteX6" fmla="*/ 238328 w 6955277"/>
              <a:gd name="connsiteY6" fmla="*/ 1593120 h 1656350"/>
              <a:gd name="connsiteX7" fmla="*/ 252919 w 6955277"/>
              <a:gd name="connsiteY7" fmla="*/ 1583393 h 1656350"/>
              <a:gd name="connsiteX8" fmla="*/ 301558 w 6955277"/>
              <a:gd name="connsiteY8" fmla="*/ 1578529 h 1656350"/>
              <a:gd name="connsiteX9" fmla="*/ 321013 w 6955277"/>
              <a:gd name="connsiteY9" fmla="*/ 1568801 h 1656350"/>
              <a:gd name="connsiteX10" fmla="*/ 369651 w 6955277"/>
              <a:gd name="connsiteY10" fmla="*/ 1549346 h 1656350"/>
              <a:gd name="connsiteX11" fmla="*/ 418290 w 6955277"/>
              <a:gd name="connsiteY11" fmla="*/ 1549346 h 1656350"/>
              <a:gd name="connsiteX12" fmla="*/ 432881 w 6955277"/>
              <a:gd name="connsiteY12" fmla="*/ 1534754 h 1656350"/>
              <a:gd name="connsiteX13" fmla="*/ 447473 w 6955277"/>
              <a:gd name="connsiteY13" fmla="*/ 1529890 h 1656350"/>
              <a:gd name="connsiteX14" fmla="*/ 515566 w 6955277"/>
              <a:gd name="connsiteY14" fmla="*/ 1529890 h 1656350"/>
              <a:gd name="connsiteX15" fmla="*/ 520430 w 6955277"/>
              <a:gd name="connsiteY15" fmla="*/ 1510435 h 1656350"/>
              <a:gd name="connsiteX16" fmla="*/ 612843 w 6955277"/>
              <a:gd name="connsiteY16" fmla="*/ 1510435 h 1656350"/>
              <a:gd name="connsiteX17" fmla="*/ 617707 w 6955277"/>
              <a:gd name="connsiteY17" fmla="*/ 1495844 h 1656350"/>
              <a:gd name="connsiteX18" fmla="*/ 666345 w 6955277"/>
              <a:gd name="connsiteY18" fmla="*/ 1490980 h 1656350"/>
              <a:gd name="connsiteX19" fmla="*/ 695528 w 6955277"/>
              <a:gd name="connsiteY19" fmla="*/ 1495844 h 1656350"/>
              <a:gd name="connsiteX20" fmla="*/ 753894 w 6955277"/>
              <a:gd name="connsiteY20" fmla="*/ 1486116 h 1656350"/>
              <a:gd name="connsiteX21" fmla="*/ 787941 w 6955277"/>
              <a:gd name="connsiteY21" fmla="*/ 1481252 h 1656350"/>
              <a:gd name="connsiteX22" fmla="*/ 792805 w 6955277"/>
              <a:gd name="connsiteY22" fmla="*/ 1466661 h 1656350"/>
              <a:gd name="connsiteX23" fmla="*/ 836579 w 6955277"/>
              <a:gd name="connsiteY23" fmla="*/ 1461797 h 1656350"/>
              <a:gd name="connsiteX24" fmla="*/ 851171 w 6955277"/>
              <a:gd name="connsiteY24" fmla="*/ 1456933 h 1656350"/>
              <a:gd name="connsiteX25" fmla="*/ 875490 w 6955277"/>
              <a:gd name="connsiteY25" fmla="*/ 1452069 h 1656350"/>
              <a:gd name="connsiteX26" fmla="*/ 894945 w 6955277"/>
              <a:gd name="connsiteY26" fmla="*/ 1447205 h 1656350"/>
              <a:gd name="connsiteX27" fmla="*/ 924128 w 6955277"/>
              <a:gd name="connsiteY27" fmla="*/ 1437478 h 1656350"/>
              <a:gd name="connsiteX28" fmla="*/ 933856 w 6955277"/>
              <a:gd name="connsiteY28" fmla="*/ 1422886 h 1656350"/>
              <a:gd name="connsiteX29" fmla="*/ 982494 w 6955277"/>
              <a:gd name="connsiteY29" fmla="*/ 1418022 h 1656350"/>
              <a:gd name="connsiteX30" fmla="*/ 997085 w 6955277"/>
              <a:gd name="connsiteY30" fmla="*/ 1413159 h 1656350"/>
              <a:gd name="connsiteX31" fmla="*/ 1011677 w 6955277"/>
              <a:gd name="connsiteY31" fmla="*/ 1403431 h 1656350"/>
              <a:gd name="connsiteX32" fmla="*/ 1118681 w 6955277"/>
              <a:gd name="connsiteY32" fmla="*/ 1398567 h 1656350"/>
              <a:gd name="connsiteX33" fmla="*/ 1147864 w 6955277"/>
              <a:gd name="connsiteY33" fmla="*/ 1388839 h 1656350"/>
              <a:gd name="connsiteX34" fmla="*/ 1240277 w 6955277"/>
              <a:gd name="connsiteY34" fmla="*/ 1374248 h 1656350"/>
              <a:gd name="connsiteX35" fmla="*/ 1269460 w 6955277"/>
              <a:gd name="connsiteY35" fmla="*/ 1364520 h 1656350"/>
              <a:gd name="connsiteX36" fmla="*/ 1303507 w 6955277"/>
              <a:gd name="connsiteY36" fmla="*/ 1354793 h 1656350"/>
              <a:gd name="connsiteX37" fmla="*/ 1332690 w 6955277"/>
              <a:gd name="connsiteY37" fmla="*/ 1340201 h 1656350"/>
              <a:gd name="connsiteX38" fmla="*/ 1400783 w 6955277"/>
              <a:gd name="connsiteY38" fmla="*/ 1330473 h 1656350"/>
              <a:gd name="connsiteX39" fmla="*/ 1429966 w 6955277"/>
              <a:gd name="connsiteY39" fmla="*/ 1320746 h 1656350"/>
              <a:gd name="connsiteX40" fmla="*/ 1444558 w 6955277"/>
              <a:gd name="connsiteY40" fmla="*/ 1315882 h 1656350"/>
              <a:gd name="connsiteX41" fmla="*/ 1532107 w 6955277"/>
              <a:gd name="connsiteY41" fmla="*/ 1301290 h 1656350"/>
              <a:gd name="connsiteX42" fmla="*/ 1561290 w 6955277"/>
              <a:gd name="connsiteY42" fmla="*/ 1291563 h 1656350"/>
              <a:gd name="connsiteX43" fmla="*/ 1600200 w 6955277"/>
              <a:gd name="connsiteY43" fmla="*/ 1286699 h 1656350"/>
              <a:gd name="connsiteX44" fmla="*/ 1634247 w 6955277"/>
              <a:gd name="connsiteY44" fmla="*/ 1281835 h 1656350"/>
              <a:gd name="connsiteX45" fmla="*/ 1697477 w 6955277"/>
              <a:gd name="connsiteY45" fmla="*/ 1272107 h 1656350"/>
              <a:gd name="connsiteX46" fmla="*/ 1712068 w 6955277"/>
              <a:gd name="connsiteY46" fmla="*/ 1262380 h 1656350"/>
              <a:gd name="connsiteX47" fmla="*/ 1736388 w 6955277"/>
              <a:gd name="connsiteY47" fmla="*/ 1257516 h 1656350"/>
              <a:gd name="connsiteX48" fmla="*/ 1823936 w 6955277"/>
              <a:gd name="connsiteY48" fmla="*/ 1252652 h 1656350"/>
              <a:gd name="connsiteX49" fmla="*/ 1828800 w 6955277"/>
              <a:gd name="connsiteY49" fmla="*/ 1228333 h 1656350"/>
              <a:gd name="connsiteX50" fmla="*/ 1843392 w 6955277"/>
              <a:gd name="connsiteY50" fmla="*/ 1223469 h 1656350"/>
              <a:gd name="connsiteX51" fmla="*/ 1867711 w 6955277"/>
              <a:gd name="connsiteY51" fmla="*/ 1218605 h 1656350"/>
              <a:gd name="connsiteX52" fmla="*/ 1945532 w 6955277"/>
              <a:gd name="connsiteY52" fmla="*/ 1213741 h 1656350"/>
              <a:gd name="connsiteX53" fmla="*/ 2018490 w 6955277"/>
              <a:gd name="connsiteY53" fmla="*/ 1199150 h 1656350"/>
              <a:gd name="connsiteX54" fmla="*/ 2091447 w 6955277"/>
              <a:gd name="connsiteY54" fmla="*/ 1189422 h 1656350"/>
              <a:gd name="connsiteX55" fmla="*/ 2106039 w 6955277"/>
              <a:gd name="connsiteY55" fmla="*/ 1179695 h 1656350"/>
              <a:gd name="connsiteX56" fmla="*/ 2140085 w 6955277"/>
              <a:gd name="connsiteY56" fmla="*/ 1174831 h 1656350"/>
              <a:gd name="connsiteX57" fmla="*/ 2188724 w 6955277"/>
              <a:gd name="connsiteY57" fmla="*/ 1160239 h 1656350"/>
              <a:gd name="connsiteX58" fmla="*/ 2222771 w 6955277"/>
              <a:gd name="connsiteY58" fmla="*/ 1155376 h 1656350"/>
              <a:gd name="connsiteX59" fmla="*/ 2237362 w 6955277"/>
              <a:gd name="connsiteY59" fmla="*/ 1150512 h 1656350"/>
              <a:gd name="connsiteX60" fmla="*/ 2305456 w 6955277"/>
              <a:gd name="connsiteY60" fmla="*/ 1140784 h 1656350"/>
              <a:gd name="connsiteX61" fmla="*/ 2349230 w 6955277"/>
              <a:gd name="connsiteY61" fmla="*/ 1131056 h 1656350"/>
              <a:gd name="connsiteX62" fmla="*/ 2363822 w 6955277"/>
              <a:gd name="connsiteY62" fmla="*/ 1126193 h 1656350"/>
              <a:gd name="connsiteX63" fmla="*/ 2431915 w 6955277"/>
              <a:gd name="connsiteY63" fmla="*/ 1116465 h 1656350"/>
              <a:gd name="connsiteX64" fmla="*/ 2436779 w 6955277"/>
              <a:gd name="connsiteY64" fmla="*/ 1101873 h 1656350"/>
              <a:gd name="connsiteX65" fmla="*/ 2465962 w 6955277"/>
              <a:gd name="connsiteY65" fmla="*/ 1092146 h 1656350"/>
              <a:gd name="connsiteX66" fmla="*/ 2572966 w 6955277"/>
              <a:gd name="connsiteY66" fmla="*/ 1092146 h 1656350"/>
              <a:gd name="connsiteX67" fmla="*/ 2587558 w 6955277"/>
              <a:gd name="connsiteY67" fmla="*/ 1082418 h 1656350"/>
              <a:gd name="connsiteX68" fmla="*/ 2602149 w 6955277"/>
              <a:gd name="connsiteY68" fmla="*/ 1077554 h 1656350"/>
              <a:gd name="connsiteX69" fmla="*/ 2616741 w 6955277"/>
              <a:gd name="connsiteY69" fmla="*/ 1067827 h 1656350"/>
              <a:gd name="connsiteX70" fmla="*/ 2645924 w 6955277"/>
              <a:gd name="connsiteY70" fmla="*/ 1062963 h 1656350"/>
              <a:gd name="connsiteX71" fmla="*/ 2704290 w 6955277"/>
              <a:gd name="connsiteY71" fmla="*/ 1043507 h 1656350"/>
              <a:gd name="connsiteX72" fmla="*/ 2718881 w 6955277"/>
              <a:gd name="connsiteY72" fmla="*/ 1038644 h 1656350"/>
              <a:gd name="connsiteX73" fmla="*/ 2733473 w 6955277"/>
              <a:gd name="connsiteY73" fmla="*/ 1033780 h 1656350"/>
              <a:gd name="connsiteX74" fmla="*/ 2752928 w 6955277"/>
              <a:gd name="connsiteY74" fmla="*/ 1028916 h 1656350"/>
              <a:gd name="connsiteX75" fmla="*/ 2777247 w 6955277"/>
              <a:gd name="connsiteY75" fmla="*/ 1024052 h 1656350"/>
              <a:gd name="connsiteX76" fmla="*/ 2830749 w 6955277"/>
              <a:gd name="connsiteY76" fmla="*/ 1019188 h 1656350"/>
              <a:gd name="connsiteX77" fmla="*/ 2864796 w 6955277"/>
              <a:gd name="connsiteY77" fmla="*/ 1014324 h 1656350"/>
              <a:gd name="connsiteX78" fmla="*/ 2879388 w 6955277"/>
              <a:gd name="connsiteY78" fmla="*/ 1009461 h 1656350"/>
              <a:gd name="connsiteX79" fmla="*/ 2898843 w 6955277"/>
              <a:gd name="connsiteY79" fmla="*/ 1004597 h 1656350"/>
              <a:gd name="connsiteX80" fmla="*/ 2913434 w 6955277"/>
              <a:gd name="connsiteY80" fmla="*/ 994869 h 1656350"/>
              <a:gd name="connsiteX81" fmla="*/ 2981528 w 6955277"/>
              <a:gd name="connsiteY81" fmla="*/ 985141 h 1656350"/>
              <a:gd name="connsiteX82" fmla="*/ 2986392 w 6955277"/>
              <a:gd name="connsiteY82" fmla="*/ 970550 h 1656350"/>
              <a:gd name="connsiteX83" fmla="*/ 3059349 w 6955277"/>
              <a:gd name="connsiteY83" fmla="*/ 965686 h 1656350"/>
              <a:gd name="connsiteX84" fmla="*/ 3107988 w 6955277"/>
              <a:gd name="connsiteY84" fmla="*/ 960822 h 1656350"/>
              <a:gd name="connsiteX85" fmla="*/ 3185809 w 6955277"/>
              <a:gd name="connsiteY85" fmla="*/ 951095 h 1656350"/>
              <a:gd name="connsiteX86" fmla="*/ 3229583 w 6955277"/>
              <a:gd name="connsiteY86" fmla="*/ 946231 h 1656350"/>
              <a:gd name="connsiteX87" fmla="*/ 3263630 w 6955277"/>
              <a:gd name="connsiteY87" fmla="*/ 936503 h 1656350"/>
              <a:gd name="connsiteX88" fmla="*/ 3302541 w 6955277"/>
              <a:gd name="connsiteY88" fmla="*/ 931639 h 1656350"/>
              <a:gd name="connsiteX89" fmla="*/ 3317132 w 6955277"/>
              <a:gd name="connsiteY89" fmla="*/ 926776 h 1656350"/>
              <a:gd name="connsiteX90" fmla="*/ 3321996 w 6955277"/>
              <a:gd name="connsiteY90" fmla="*/ 912184 h 1656350"/>
              <a:gd name="connsiteX91" fmla="*/ 3433864 w 6955277"/>
              <a:gd name="connsiteY91" fmla="*/ 907320 h 1656350"/>
              <a:gd name="connsiteX92" fmla="*/ 3438728 w 6955277"/>
              <a:gd name="connsiteY92" fmla="*/ 892729 h 1656350"/>
              <a:gd name="connsiteX93" fmla="*/ 3453319 w 6955277"/>
              <a:gd name="connsiteY93" fmla="*/ 883001 h 1656350"/>
              <a:gd name="connsiteX94" fmla="*/ 3540868 w 6955277"/>
              <a:gd name="connsiteY94" fmla="*/ 878137 h 1656350"/>
              <a:gd name="connsiteX95" fmla="*/ 3560324 w 6955277"/>
              <a:gd name="connsiteY95" fmla="*/ 873273 h 1656350"/>
              <a:gd name="connsiteX96" fmla="*/ 3589507 w 6955277"/>
              <a:gd name="connsiteY96" fmla="*/ 863546 h 1656350"/>
              <a:gd name="connsiteX97" fmla="*/ 3618690 w 6955277"/>
              <a:gd name="connsiteY97" fmla="*/ 858682 h 1656350"/>
              <a:gd name="connsiteX98" fmla="*/ 3715966 w 6955277"/>
              <a:gd name="connsiteY98" fmla="*/ 844090 h 1656350"/>
              <a:gd name="connsiteX99" fmla="*/ 3745149 w 6955277"/>
              <a:gd name="connsiteY99" fmla="*/ 834363 h 1656350"/>
              <a:gd name="connsiteX100" fmla="*/ 3750013 w 6955277"/>
              <a:gd name="connsiteY100" fmla="*/ 819771 h 1656350"/>
              <a:gd name="connsiteX101" fmla="*/ 3764605 w 6955277"/>
              <a:gd name="connsiteY101" fmla="*/ 814907 h 1656350"/>
              <a:gd name="connsiteX102" fmla="*/ 3798651 w 6955277"/>
              <a:gd name="connsiteY102" fmla="*/ 810044 h 1656350"/>
              <a:gd name="connsiteX103" fmla="*/ 3822971 w 6955277"/>
              <a:gd name="connsiteY103" fmla="*/ 805180 h 1656350"/>
              <a:gd name="connsiteX104" fmla="*/ 3852154 w 6955277"/>
              <a:gd name="connsiteY104" fmla="*/ 795452 h 1656350"/>
              <a:gd name="connsiteX105" fmla="*/ 3915383 w 6955277"/>
              <a:gd name="connsiteY105" fmla="*/ 790588 h 1656350"/>
              <a:gd name="connsiteX106" fmla="*/ 3959158 w 6955277"/>
              <a:gd name="connsiteY106" fmla="*/ 785724 h 1656350"/>
              <a:gd name="connsiteX107" fmla="*/ 3964022 w 6955277"/>
              <a:gd name="connsiteY107" fmla="*/ 771133 h 1656350"/>
              <a:gd name="connsiteX108" fmla="*/ 3993205 w 6955277"/>
              <a:gd name="connsiteY108" fmla="*/ 761405 h 1656350"/>
              <a:gd name="connsiteX109" fmla="*/ 4017524 w 6955277"/>
              <a:gd name="connsiteY109" fmla="*/ 756541 h 1656350"/>
              <a:gd name="connsiteX110" fmla="*/ 4036979 w 6955277"/>
              <a:gd name="connsiteY110" fmla="*/ 751678 h 1656350"/>
              <a:gd name="connsiteX111" fmla="*/ 4075890 w 6955277"/>
              <a:gd name="connsiteY111" fmla="*/ 746814 h 1656350"/>
              <a:gd name="connsiteX112" fmla="*/ 4095345 w 6955277"/>
              <a:gd name="connsiteY112" fmla="*/ 741950 h 1656350"/>
              <a:gd name="connsiteX113" fmla="*/ 4158575 w 6955277"/>
              <a:gd name="connsiteY113" fmla="*/ 727359 h 1656350"/>
              <a:gd name="connsiteX114" fmla="*/ 4173166 w 6955277"/>
              <a:gd name="connsiteY114" fmla="*/ 722495 h 1656350"/>
              <a:gd name="connsiteX115" fmla="*/ 4187758 w 6955277"/>
              <a:gd name="connsiteY115" fmla="*/ 712767 h 1656350"/>
              <a:gd name="connsiteX116" fmla="*/ 4265579 w 6955277"/>
              <a:gd name="connsiteY116" fmla="*/ 707903 h 1656350"/>
              <a:gd name="connsiteX117" fmla="*/ 4275307 w 6955277"/>
              <a:gd name="connsiteY117" fmla="*/ 693312 h 1656350"/>
              <a:gd name="connsiteX118" fmla="*/ 4421222 w 6955277"/>
              <a:gd name="connsiteY118" fmla="*/ 678720 h 1656350"/>
              <a:gd name="connsiteX119" fmla="*/ 4440677 w 6955277"/>
              <a:gd name="connsiteY119" fmla="*/ 668993 h 1656350"/>
              <a:gd name="connsiteX120" fmla="*/ 4557409 w 6955277"/>
              <a:gd name="connsiteY120" fmla="*/ 659265 h 1656350"/>
              <a:gd name="connsiteX121" fmla="*/ 4576863 w 6955277"/>
              <a:gd name="connsiteY121" fmla="*/ 639809 h 1656350"/>
              <a:gd name="connsiteX122" fmla="*/ 4586592 w 6955277"/>
              <a:gd name="connsiteY122" fmla="*/ 625218 h 1656350"/>
              <a:gd name="connsiteX123" fmla="*/ 4635230 w 6955277"/>
              <a:gd name="connsiteY123" fmla="*/ 634946 h 1656350"/>
              <a:gd name="connsiteX124" fmla="*/ 4669277 w 6955277"/>
              <a:gd name="connsiteY124" fmla="*/ 630082 h 1656350"/>
              <a:gd name="connsiteX125" fmla="*/ 4703324 w 6955277"/>
              <a:gd name="connsiteY125" fmla="*/ 610627 h 1656350"/>
              <a:gd name="connsiteX126" fmla="*/ 4732507 w 6955277"/>
              <a:gd name="connsiteY126" fmla="*/ 605763 h 1656350"/>
              <a:gd name="connsiteX127" fmla="*/ 4790873 w 6955277"/>
              <a:gd name="connsiteY127" fmla="*/ 591171 h 1656350"/>
              <a:gd name="connsiteX128" fmla="*/ 4844375 w 6955277"/>
              <a:gd name="connsiteY128" fmla="*/ 581444 h 1656350"/>
              <a:gd name="connsiteX129" fmla="*/ 4907605 w 6955277"/>
              <a:gd name="connsiteY129" fmla="*/ 557124 h 1656350"/>
              <a:gd name="connsiteX130" fmla="*/ 4990290 w 6955277"/>
              <a:gd name="connsiteY130" fmla="*/ 552261 h 1656350"/>
              <a:gd name="connsiteX131" fmla="*/ 5009745 w 6955277"/>
              <a:gd name="connsiteY131" fmla="*/ 523078 h 1656350"/>
              <a:gd name="connsiteX132" fmla="*/ 5024336 w 6955277"/>
              <a:gd name="connsiteY132" fmla="*/ 513350 h 1656350"/>
              <a:gd name="connsiteX133" fmla="*/ 5058383 w 6955277"/>
              <a:gd name="connsiteY133" fmla="*/ 503622 h 1656350"/>
              <a:gd name="connsiteX134" fmla="*/ 5072975 w 6955277"/>
              <a:gd name="connsiteY134" fmla="*/ 498759 h 1656350"/>
              <a:gd name="connsiteX135" fmla="*/ 5087566 w 6955277"/>
              <a:gd name="connsiteY135" fmla="*/ 489031 h 1656350"/>
              <a:gd name="connsiteX136" fmla="*/ 5136205 w 6955277"/>
              <a:gd name="connsiteY136" fmla="*/ 474439 h 1656350"/>
              <a:gd name="connsiteX137" fmla="*/ 5150796 w 6955277"/>
              <a:gd name="connsiteY137" fmla="*/ 469576 h 1656350"/>
              <a:gd name="connsiteX138" fmla="*/ 5179979 w 6955277"/>
              <a:gd name="connsiteY138" fmla="*/ 464712 h 1656350"/>
              <a:gd name="connsiteX139" fmla="*/ 5194571 w 6955277"/>
              <a:gd name="connsiteY139" fmla="*/ 459848 h 1656350"/>
              <a:gd name="connsiteX140" fmla="*/ 5267528 w 6955277"/>
              <a:gd name="connsiteY140" fmla="*/ 454984 h 1656350"/>
              <a:gd name="connsiteX141" fmla="*/ 5301575 w 6955277"/>
              <a:gd name="connsiteY141" fmla="*/ 450120 h 1656350"/>
              <a:gd name="connsiteX142" fmla="*/ 5321030 w 6955277"/>
              <a:gd name="connsiteY142" fmla="*/ 445256 h 1656350"/>
              <a:gd name="connsiteX143" fmla="*/ 5369668 w 6955277"/>
              <a:gd name="connsiteY143" fmla="*/ 440393 h 1656350"/>
              <a:gd name="connsiteX144" fmla="*/ 5437762 w 6955277"/>
              <a:gd name="connsiteY144" fmla="*/ 430665 h 1656350"/>
              <a:gd name="connsiteX145" fmla="*/ 5466945 w 6955277"/>
              <a:gd name="connsiteY145" fmla="*/ 425801 h 1656350"/>
              <a:gd name="connsiteX146" fmla="*/ 5500992 w 6955277"/>
              <a:gd name="connsiteY146" fmla="*/ 416073 h 1656350"/>
              <a:gd name="connsiteX147" fmla="*/ 5515583 w 6955277"/>
              <a:gd name="connsiteY147" fmla="*/ 411210 h 1656350"/>
              <a:gd name="connsiteX148" fmla="*/ 5564222 w 6955277"/>
              <a:gd name="connsiteY148" fmla="*/ 411211 h 1656350"/>
              <a:gd name="connsiteX149" fmla="*/ 5637179 w 6955277"/>
              <a:gd name="connsiteY149" fmla="*/ 386891 h 1656350"/>
              <a:gd name="connsiteX150" fmla="*/ 5666362 w 6955277"/>
              <a:gd name="connsiteY150" fmla="*/ 391754 h 1656350"/>
              <a:gd name="connsiteX151" fmla="*/ 5685817 w 6955277"/>
              <a:gd name="connsiteY151" fmla="*/ 382027 h 1656350"/>
              <a:gd name="connsiteX152" fmla="*/ 5724728 w 6955277"/>
              <a:gd name="connsiteY152" fmla="*/ 377163 h 1656350"/>
              <a:gd name="connsiteX153" fmla="*/ 5729592 w 6955277"/>
              <a:gd name="connsiteY153" fmla="*/ 362571 h 1656350"/>
              <a:gd name="connsiteX154" fmla="*/ 5744183 w 6955277"/>
              <a:gd name="connsiteY154" fmla="*/ 357707 h 1656350"/>
              <a:gd name="connsiteX155" fmla="*/ 5783094 w 6955277"/>
              <a:gd name="connsiteY155" fmla="*/ 352844 h 1656350"/>
              <a:gd name="connsiteX156" fmla="*/ 5812277 w 6955277"/>
              <a:gd name="connsiteY156" fmla="*/ 338252 h 1656350"/>
              <a:gd name="connsiteX157" fmla="*/ 5841460 w 6955277"/>
              <a:gd name="connsiteY157" fmla="*/ 328524 h 1656350"/>
              <a:gd name="connsiteX158" fmla="*/ 5885234 w 6955277"/>
              <a:gd name="connsiteY158" fmla="*/ 318797 h 1656350"/>
              <a:gd name="connsiteX159" fmla="*/ 5899826 w 6955277"/>
              <a:gd name="connsiteY159" fmla="*/ 309069 h 1656350"/>
              <a:gd name="connsiteX160" fmla="*/ 5997102 w 6955277"/>
              <a:gd name="connsiteY160" fmla="*/ 299341 h 1656350"/>
              <a:gd name="connsiteX161" fmla="*/ 6040877 w 6955277"/>
              <a:gd name="connsiteY161" fmla="*/ 284750 h 1656350"/>
              <a:gd name="connsiteX162" fmla="*/ 6055468 w 6955277"/>
              <a:gd name="connsiteY162" fmla="*/ 275022 h 1656350"/>
              <a:gd name="connsiteX163" fmla="*/ 6079788 w 6955277"/>
              <a:gd name="connsiteY163" fmla="*/ 270159 h 1656350"/>
              <a:gd name="connsiteX164" fmla="*/ 6128426 w 6955277"/>
              <a:gd name="connsiteY164" fmla="*/ 265295 h 1656350"/>
              <a:gd name="connsiteX165" fmla="*/ 6167336 w 6955277"/>
              <a:gd name="connsiteY165" fmla="*/ 260431 h 1656350"/>
              <a:gd name="connsiteX166" fmla="*/ 6206247 w 6955277"/>
              <a:gd name="connsiteY166" fmla="*/ 250703 h 1656350"/>
              <a:gd name="connsiteX167" fmla="*/ 6220839 w 6955277"/>
              <a:gd name="connsiteY167" fmla="*/ 240976 h 1656350"/>
              <a:gd name="connsiteX168" fmla="*/ 6274341 w 6955277"/>
              <a:gd name="connsiteY168" fmla="*/ 236112 h 1656350"/>
              <a:gd name="connsiteX169" fmla="*/ 6395936 w 6955277"/>
              <a:gd name="connsiteY169" fmla="*/ 221520 h 1656350"/>
              <a:gd name="connsiteX170" fmla="*/ 6410528 w 6955277"/>
              <a:gd name="connsiteY170" fmla="*/ 192337 h 1656350"/>
              <a:gd name="connsiteX171" fmla="*/ 6439711 w 6955277"/>
              <a:gd name="connsiteY171" fmla="*/ 187473 h 1656350"/>
              <a:gd name="connsiteX172" fmla="*/ 6488349 w 6955277"/>
              <a:gd name="connsiteY172" fmla="*/ 182610 h 1656350"/>
              <a:gd name="connsiteX173" fmla="*/ 6507805 w 6955277"/>
              <a:gd name="connsiteY173" fmla="*/ 177746 h 1656350"/>
              <a:gd name="connsiteX174" fmla="*/ 6522396 w 6955277"/>
              <a:gd name="connsiteY174" fmla="*/ 172882 h 1656350"/>
              <a:gd name="connsiteX175" fmla="*/ 6561307 w 6955277"/>
              <a:gd name="connsiteY175" fmla="*/ 163154 h 1656350"/>
              <a:gd name="connsiteX176" fmla="*/ 6566171 w 6955277"/>
              <a:gd name="connsiteY176" fmla="*/ 148563 h 1656350"/>
              <a:gd name="connsiteX177" fmla="*/ 6580762 w 6955277"/>
              <a:gd name="connsiteY177" fmla="*/ 143699 h 1656350"/>
              <a:gd name="connsiteX178" fmla="*/ 6605081 w 6955277"/>
              <a:gd name="connsiteY178" fmla="*/ 138835 h 1656350"/>
              <a:gd name="connsiteX179" fmla="*/ 6639128 w 6955277"/>
              <a:gd name="connsiteY179" fmla="*/ 119380 h 1656350"/>
              <a:gd name="connsiteX180" fmla="*/ 6643992 w 6955277"/>
              <a:gd name="connsiteY180" fmla="*/ 99924 h 1656350"/>
              <a:gd name="connsiteX181" fmla="*/ 6780179 w 6955277"/>
              <a:gd name="connsiteY181" fmla="*/ 99924 h 1656350"/>
              <a:gd name="connsiteX182" fmla="*/ 6785043 w 6955277"/>
              <a:gd name="connsiteY182" fmla="*/ 65878 h 1656350"/>
              <a:gd name="connsiteX183" fmla="*/ 6809362 w 6955277"/>
              <a:gd name="connsiteY183" fmla="*/ 61014 h 1656350"/>
              <a:gd name="connsiteX184" fmla="*/ 6828817 w 6955277"/>
              <a:gd name="connsiteY184" fmla="*/ 56150 h 1656350"/>
              <a:gd name="connsiteX185" fmla="*/ 6955277 w 6955277"/>
              <a:gd name="connsiteY185" fmla="*/ 2647 h 1656350"/>
              <a:gd name="connsiteX0" fmla="*/ 0 w 6955277"/>
              <a:gd name="connsiteY0" fmla="*/ 1656350 h 1656350"/>
              <a:gd name="connsiteX1" fmla="*/ 48639 w 6955277"/>
              <a:gd name="connsiteY1" fmla="*/ 1646622 h 1656350"/>
              <a:gd name="connsiteX2" fmla="*/ 77822 w 6955277"/>
              <a:gd name="connsiteY2" fmla="*/ 1632031 h 1656350"/>
              <a:gd name="connsiteX3" fmla="*/ 141051 w 6955277"/>
              <a:gd name="connsiteY3" fmla="*/ 1627167 h 1656350"/>
              <a:gd name="connsiteX4" fmla="*/ 170234 w 6955277"/>
              <a:gd name="connsiteY4" fmla="*/ 1602848 h 1656350"/>
              <a:gd name="connsiteX5" fmla="*/ 184826 w 6955277"/>
              <a:gd name="connsiteY5" fmla="*/ 1593120 h 1656350"/>
              <a:gd name="connsiteX6" fmla="*/ 238328 w 6955277"/>
              <a:gd name="connsiteY6" fmla="*/ 1593120 h 1656350"/>
              <a:gd name="connsiteX7" fmla="*/ 252919 w 6955277"/>
              <a:gd name="connsiteY7" fmla="*/ 1583393 h 1656350"/>
              <a:gd name="connsiteX8" fmla="*/ 301558 w 6955277"/>
              <a:gd name="connsiteY8" fmla="*/ 1578529 h 1656350"/>
              <a:gd name="connsiteX9" fmla="*/ 321013 w 6955277"/>
              <a:gd name="connsiteY9" fmla="*/ 1568801 h 1656350"/>
              <a:gd name="connsiteX10" fmla="*/ 369651 w 6955277"/>
              <a:gd name="connsiteY10" fmla="*/ 1549346 h 1656350"/>
              <a:gd name="connsiteX11" fmla="*/ 418290 w 6955277"/>
              <a:gd name="connsiteY11" fmla="*/ 1549346 h 1656350"/>
              <a:gd name="connsiteX12" fmla="*/ 432881 w 6955277"/>
              <a:gd name="connsiteY12" fmla="*/ 1534754 h 1656350"/>
              <a:gd name="connsiteX13" fmla="*/ 447473 w 6955277"/>
              <a:gd name="connsiteY13" fmla="*/ 1529890 h 1656350"/>
              <a:gd name="connsiteX14" fmla="*/ 515566 w 6955277"/>
              <a:gd name="connsiteY14" fmla="*/ 1529890 h 1656350"/>
              <a:gd name="connsiteX15" fmla="*/ 520430 w 6955277"/>
              <a:gd name="connsiteY15" fmla="*/ 1510435 h 1656350"/>
              <a:gd name="connsiteX16" fmla="*/ 612843 w 6955277"/>
              <a:gd name="connsiteY16" fmla="*/ 1510435 h 1656350"/>
              <a:gd name="connsiteX17" fmla="*/ 617707 w 6955277"/>
              <a:gd name="connsiteY17" fmla="*/ 1495844 h 1656350"/>
              <a:gd name="connsiteX18" fmla="*/ 666345 w 6955277"/>
              <a:gd name="connsiteY18" fmla="*/ 1490980 h 1656350"/>
              <a:gd name="connsiteX19" fmla="*/ 695528 w 6955277"/>
              <a:gd name="connsiteY19" fmla="*/ 1495844 h 1656350"/>
              <a:gd name="connsiteX20" fmla="*/ 753894 w 6955277"/>
              <a:gd name="connsiteY20" fmla="*/ 1486116 h 1656350"/>
              <a:gd name="connsiteX21" fmla="*/ 787941 w 6955277"/>
              <a:gd name="connsiteY21" fmla="*/ 1481252 h 1656350"/>
              <a:gd name="connsiteX22" fmla="*/ 792805 w 6955277"/>
              <a:gd name="connsiteY22" fmla="*/ 1466661 h 1656350"/>
              <a:gd name="connsiteX23" fmla="*/ 836579 w 6955277"/>
              <a:gd name="connsiteY23" fmla="*/ 1461797 h 1656350"/>
              <a:gd name="connsiteX24" fmla="*/ 851171 w 6955277"/>
              <a:gd name="connsiteY24" fmla="*/ 1456933 h 1656350"/>
              <a:gd name="connsiteX25" fmla="*/ 875490 w 6955277"/>
              <a:gd name="connsiteY25" fmla="*/ 1452069 h 1656350"/>
              <a:gd name="connsiteX26" fmla="*/ 894945 w 6955277"/>
              <a:gd name="connsiteY26" fmla="*/ 1447205 h 1656350"/>
              <a:gd name="connsiteX27" fmla="*/ 924128 w 6955277"/>
              <a:gd name="connsiteY27" fmla="*/ 1437478 h 1656350"/>
              <a:gd name="connsiteX28" fmla="*/ 933856 w 6955277"/>
              <a:gd name="connsiteY28" fmla="*/ 1422886 h 1656350"/>
              <a:gd name="connsiteX29" fmla="*/ 982494 w 6955277"/>
              <a:gd name="connsiteY29" fmla="*/ 1418022 h 1656350"/>
              <a:gd name="connsiteX30" fmla="*/ 997085 w 6955277"/>
              <a:gd name="connsiteY30" fmla="*/ 1413159 h 1656350"/>
              <a:gd name="connsiteX31" fmla="*/ 1011677 w 6955277"/>
              <a:gd name="connsiteY31" fmla="*/ 1403431 h 1656350"/>
              <a:gd name="connsiteX32" fmla="*/ 1118681 w 6955277"/>
              <a:gd name="connsiteY32" fmla="*/ 1398567 h 1656350"/>
              <a:gd name="connsiteX33" fmla="*/ 1147864 w 6955277"/>
              <a:gd name="connsiteY33" fmla="*/ 1388839 h 1656350"/>
              <a:gd name="connsiteX34" fmla="*/ 1240277 w 6955277"/>
              <a:gd name="connsiteY34" fmla="*/ 1374248 h 1656350"/>
              <a:gd name="connsiteX35" fmla="*/ 1269460 w 6955277"/>
              <a:gd name="connsiteY35" fmla="*/ 1364520 h 1656350"/>
              <a:gd name="connsiteX36" fmla="*/ 1303507 w 6955277"/>
              <a:gd name="connsiteY36" fmla="*/ 1354793 h 1656350"/>
              <a:gd name="connsiteX37" fmla="*/ 1332690 w 6955277"/>
              <a:gd name="connsiteY37" fmla="*/ 1340201 h 1656350"/>
              <a:gd name="connsiteX38" fmla="*/ 1400783 w 6955277"/>
              <a:gd name="connsiteY38" fmla="*/ 1330473 h 1656350"/>
              <a:gd name="connsiteX39" fmla="*/ 1429966 w 6955277"/>
              <a:gd name="connsiteY39" fmla="*/ 1320746 h 1656350"/>
              <a:gd name="connsiteX40" fmla="*/ 1444558 w 6955277"/>
              <a:gd name="connsiteY40" fmla="*/ 1315882 h 1656350"/>
              <a:gd name="connsiteX41" fmla="*/ 1532107 w 6955277"/>
              <a:gd name="connsiteY41" fmla="*/ 1301290 h 1656350"/>
              <a:gd name="connsiteX42" fmla="*/ 1561290 w 6955277"/>
              <a:gd name="connsiteY42" fmla="*/ 1291563 h 1656350"/>
              <a:gd name="connsiteX43" fmla="*/ 1600200 w 6955277"/>
              <a:gd name="connsiteY43" fmla="*/ 1286699 h 1656350"/>
              <a:gd name="connsiteX44" fmla="*/ 1634247 w 6955277"/>
              <a:gd name="connsiteY44" fmla="*/ 1281835 h 1656350"/>
              <a:gd name="connsiteX45" fmla="*/ 1697477 w 6955277"/>
              <a:gd name="connsiteY45" fmla="*/ 1272107 h 1656350"/>
              <a:gd name="connsiteX46" fmla="*/ 1712068 w 6955277"/>
              <a:gd name="connsiteY46" fmla="*/ 1262380 h 1656350"/>
              <a:gd name="connsiteX47" fmla="*/ 1736388 w 6955277"/>
              <a:gd name="connsiteY47" fmla="*/ 1257516 h 1656350"/>
              <a:gd name="connsiteX48" fmla="*/ 1823936 w 6955277"/>
              <a:gd name="connsiteY48" fmla="*/ 1252652 h 1656350"/>
              <a:gd name="connsiteX49" fmla="*/ 1828800 w 6955277"/>
              <a:gd name="connsiteY49" fmla="*/ 1228333 h 1656350"/>
              <a:gd name="connsiteX50" fmla="*/ 1843392 w 6955277"/>
              <a:gd name="connsiteY50" fmla="*/ 1223469 h 1656350"/>
              <a:gd name="connsiteX51" fmla="*/ 1867711 w 6955277"/>
              <a:gd name="connsiteY51" fmla="*/ 1218605 h 1656350"/>
              <a:gd name="connsiteX52" fmla="*/ 1945532 w 6955277"/>
              <a:gd name="connsiteY52" fmla="*/ 1213741 h 1656350"/>
              <a:gd name="connsiteX53" fmla="*/ 2018490 w 6955277"/>
              <a:gd name="connsiteY53" fmla="*/ 1199150 h 1656350"/>
              <a:gd name="connsiteX54" fmla="*/ 2091447 w 6955277"/>
              <a:gd name="connsiteY54" fmla="*/ 1189422 h 1656350"/>
              <a:gd name="connsiteX55" fmla="*/ 2106039 w 6955277"/>
              <a:gd name="connsiteY55" fmla="*/ 1179695 h 1656350"/>
              <a:gd name="connsiteX56" fmla="*/ 2140085 w 6955277"/>
              <a:gd name="connsiteY56" fmla="*/ 1174831 h 1656350"/>
              <a:gd name="connsiteX57" fmla="*/ 2188724 w 6955277"/>
              <a:gd name="connsiteY57" fmla="*/ 1160239 h 1656350"/>
              <a:gd name="connsiteX58" fmla="*/ 2222771 w 6955277"/>
              <a:gd name="connsiteY58" fmla="*/ 1155376 h 1656350"/>
              <a:gd name="connsiteX59" fmla="*/ 2237362 w 6955277"/>
              <a:gd name="connsiteY59" fmla="*/ 1150512 h 1656350"/>
              <a:gd name="connsiteX60" fmla="*/ 2305456 w 6955277"/>
              <a:gd name="connsiteY60" fmla="*/ 1140784 h 1656350"/>
              <a:gd name="connsiteX61" fmla="*/ 2349230 w 6955277"/>
              <a:gd name="connsiteY61" fmla="*/ 1131056 h 1656350"/>
              <a:gd name="connsiteX62" fmla="*/ 2363822 w 6955277"/>
              <a:gd name="connsiteY62" fmla="*/ 1126193 h 1656350"/>
              <a:gd name="connsiteX63" fmla="*/ 2431915 w 6955277"/>
              <a:gd name="connsiteY63" fmla="*/ 1116465 h 1656350"/>
              <a:gd name="connsiteX64" fmla="*/ 2436779 w 6955277"/>
              <a:gd name="connsiteY64" fmla="*/ 1101873 h 1656350"/>
              <a:gd name="connsiteX65" fmla="*/ 2465962 w 6955277"/>
              <a:gd name="connsiteY65" fmla="*/ 1092146 h 1656350"/>
              <a:gd name="connsiteX66" fmla="*/ 2572966 w 6955277"/>
              <a:gd name="connsiteY66" fmla="*/ 1092146 h 1656350"/>
              <a:gd name="connsiteX67" fmla="*/ 2587558 w 6955277"/>
              <a:gd name="connsiteY67" fmla="*/ 1082418 h 1656350"/>
              <a:gd name="connsiteX68" fmla="*/ 2602149 w 6955277"/>
              <a:gd name="connsiteY68" fmla="*/ 1077554 h 1656350"/>
              <a:gd name="connsiteX69" fmla="*/ 2616741 w 6955277"/>
              <a:gd name="connsiteY69" fmla="*/ 1067827 h 1656350"/>
              <a:gd name="connsiteX70" fmla="*/ 2645924 w 6955277"/>
              <a:gd name="connsiteY70" fmla="*/ 1062963 h 1656350"/>
              <a:gd name="connsiteX71" fmla="*/ 2704290 w 6955277"/>
              <a:gd name="connsiteY71" fmla="*/ 1043507 h 1656350"/>
              <a:gd name="connsiteX72" fmla="*/ 2718881 w 6955277"/>
              <a:gd name="connsiteY72" fmla="*/ 1038644 h 1656350"/>
              <a:gd name="connsiteX73" fmla="*/ 2733473 w 6955277"/>
              <a:gd name="connsiteY73" fmla="*/ 1033780 h 1656350"/>
              <a:gd name="connsiteX74" fmla="*/ 2752928 w 6955277"/>
              <a:gd name="connsiteY74" fmla="*/ 1028916 h 1656350"/>
              <a:gd name="connsiteX75" fmla="*/ 2777247 w 6955277"/>
              <a:gd name="connsiteY75" fmla="*/ 1024052 h 1656350"/>
              <a:gd name="connsiteX76" fmla="*/ 2830749 w 6955277"/>
              <a:gd name="connsiteY76" fmla="*/ 1019188 h 1656350"/>
              <a:gd name="connsiteX77" fmla="*/ 2864796 w 6955277"/>
              <a:gd name="connsiteY77" fmla="*/ 1014324 h 1656350"/>
              <a:gd name="connsiteX78" fmla="*/ 2879388 w 6955277"/>
              <a:gd name="connsiteY78" fmla="*/ 1009461 h 1656350"/>
              <a:gd name="connsiteX79" fmla="*/ 2898843 w 6955277"/>
              <a:gd name="connsiteY79" fmla="*/ 1004597 h 1656350"/>
              <a:gd name="connsiteX80" fmla="*/ 2913434 w 6955277"/>
              <a:gd name="connsiteY80" fmla="*/ 994869 h 1656350"/>
              <a:gd name="connsiteX81" fmla="*/ 2981528 w 6955277"/>
              <a:gd name="connsiteY81" fmla="*/ 985141 h 1656350"/>
              <a:gd name="connsiteX82" fmla="*/ 2986392 w 6955277"/>
              <a:gd name="connsiteY82" fmla="*/ 970550 h 1656350"/>
              <a:gd name="connsiteX83" fmla="*/ 3059349 w 6955277"/>
              <a:gd name="connsiteY83" fmla="*/ 965686 h 1656350"/>
              <a:gd name="connsiteX84" fmla="*/ 3107988 w 6955277"/>
              <a:gd name="connsiteY84" fmla="*/ 960822 h 1656350"/>
              <a:gd name="connsiteX85" fmla="*/ 3185809 w 6955277"/>
              <a:gd name="connsiteY85" fmla="*/ 951095 h 1656350"/>
              <a:gd name="connsiteX86" fmla="*/ 3229583 w 6955277"/>
              <a:gd name="connsiteY86" fmla="*/ 946231 h 1656350"/>
              <a:gd name="connsiteX87" fmla="*/ 3263630 w 6955277"/>
              <a:gd name="connsiteY87" fmla="*/ 936503 h 1656350"/>
              <a:gd name="connsiteX88" fmla="*/ 3302541 w 6955277"/>
              <a:gd name="connsiteY88" fmla="*/ 931639 h 1656350"/>
              <a:gd name="connsiteX89" fmla="*/ 3317132 w 6955277"/>
              <a:gd name="connsiteY89" fmla="*/ 926776 h 1656350"/>
              <a:gd name="connsiteX90" fmla="*/ 3321996 w 6955277"/>
              <a:gd name="connsiteY90" fmla="*/ 912184 h 1656350"/>
              <a:gd name="connsiteX91" fmla="*/ 3433864 w 6955277"/>
              <a:gd name="connsiteY91" fmla="*/ 907320 h 1656350"/>
              <a:gd name="connsiteX92" fmla="*/ 3438728 w 6955277"/>
              <a:gd name="connsiteY92" fmla="*/ 892729 h 1656350"/>
              <a:gd name="connsiteX93" fmla="*/ 3453319 w 6955277"/>
              <a:gd name="connsiteY93" fmla="*/ 883001 h 1656350"/>
              <a:gd name="connsiteX94" fmla="*/ 3540868 w 6955277"/>
              <a:gd name="connsiteY94" fmla="*/ 878137 h 1656350"/>
              <a:gd name="connsiteX95" fmla="*/ 3560324 w 6955277"/>
              <a:gd name="connsiteY95" fmla="*/ 873273 h 1656350"/>
              <a:gd name="connsiteX96" fmla="*/ 3589507 w 6955277"/>
              <a:gd name="connsiteY96" fmla="*/ 863546 h 1656350"/>
              <a:gd name="connsiteX97" fmla="*/ 3618690 w 6955277"/>
              <a:gd name="connsiteY97" fmla="*/ 858682 h 1656350"/>
              <a:gd name="connsiteX98" fmla="*/ 3715966 w 6955277"/>
              <a:gd name="connsiteY98" fmla="*/ 844090 h 1656350"/>
              <a:gd name="connsiteX99" fmla="*/ 3745149 w 6955277"/>
              <a:gd name="connsiteY99" fmla="*/ 834363 h 1656350"/>
              <a:gd name="connsiteX100" fmla="*/ 3750013 w 6955277"/>
              <a:gd name="connsiteY100" fmla="*/ 819771 h 1656350"/>
              <a:gd name="connsiteX101" fmla="*/ 3764605 w 6955277"/>
              <a:gd name="connsiteY101" fmla="*/ 814907 h 1656350"/>
              <a:gd name="connsiteX102" fmla="*/ 3798651 w 6955277"/>
              <a:gd name="connsiteY102" fmla="*/ 810044 h 1656350"/>
              <a:gd name="connsiteX103" fmla="*/ 3822971 w 6955277"/>
              <a:gd name="connsiteY103" fmla="*/ 805180 h 1656350"/>
              <a:gd name="connsiteX104" fmla="*/ 3852154 w 6955277"/>
              <a:gd name="connsiteY104" fmla="*/ 795452 h 1656350"/>
              <a:gd name="connsiteX105" fmla="*/ 3915383 w 6955277"/>
              <a:gd name="connsiteY105" fmla="*/ 790588 h 1656350"/>
              <a:gd name="connsiteX106" fmla="*/ 3959158 w 6955277"/>
              <a:gd name="connsiteY106" fmla="*/ 785724 h 1656350"/>
              <a:gd name="connsiteX107" fmla="*/ 3964022 w 6955277"/>
              <a:gd name="connsiteY107" fmla="*/ 771133 h 1656350"/>
              <a:gd name="connsiteX108" fmla="*/ 3993205 w 6955277"/>
              <a:gd name="connsiteY108" fmla="*/ 761405 h 1656350"/>
              <a:gd name="connsiteX109" fmla="*/ 4017524 w 6955277"/>
              <a:gd name="connsiteY109" fmla="*/ 756541 h 1656350"/>
              <a:gd name="connsiteX110" fmla="*/ 4036979 w 6955277"/>
              <a:gd name="connsiteY110" fmla="*/ 751678 h 1656350"/>
              <a:gd name="connsiteX111" fmla="*/ 4075890 w 6955277"/>
              <a:gd name="connsiteY111" fmla="*/ 746814 h 1656350"/>
              <a:gd name="connsiteX112" fmla="*/ 4095345 w 6955277"/>
              <a:gd name="connsiteY112" fmla="*/ 741950 h 1656350"/>
              <a:gd name="connsiteX113" fmla="*/ 4158575 w 6955277"/>
              <a:gd name="connsiteY113" fmla="*/ 727359 h 1656350"/>
              <a:gd name="connsiteX114" fmla="*/ 4173166 w 6955277"/>
              <a:gd name="connsiteY114" fmla="*/ 722495 h 1656350"/>
              <a:gd name="connsiteX115" fmla="*/ 4187758 w 6955277"/>
              <a:gd name="connsiteY115" fmla="*/ 712767 h 1656350"/>
              <a:gd name="connsiteX116" fmla="*/ 4265579 w 6955277"/>
              <a:gd name="connsiteY116" fmla="*/ 707903 h 1656350"/>
              <a:gd name="connsiteX117" fmla="*/ 4275307 w 6955277"/>
              <a:gd name="connsiteY117" fmla="*/ 693312 h 1656350"/>
              <a:gd name="connsiteX118" fmla="*/ 4421222 w 6955277"/>
              <a:gd name="connsiteY118" fmla="*/ 678720 h 1656350"/>
              <a:gd name="connsiteX119" fmla="*/ 4440677 w 6955277"/>
              <a:gd name="connsiteY119" fmla="*/ 668993 h 1656350"/>
              <a:gd name="connsiteX120" fmla="*/ 4557409 w 6955277"/>
              <a:gd name="connsiteY120" fmla="*/ 659265 h 1656350"/>
              <a:gd name="connsiteX121" fmla="*/ 4576863 w 6955277"/>
              <a:gd name="connsiteY121" fmla="*/ 639809 h 1656350"/>
              <a:gd name="connsiteX122" fmla="*/ 4586592 w 6955277"/>
              <a:gd name="connsiteY122" fmla="*/ 625218 h 1656350"/>
              <a:gd name="connsiteX123" fmla="*/ 4635230 w 6955277"/>
              <a:gd name="connsiteY123" fmla="*/ 634946 h 1656350"/>
              <a:gd name="connsiteX124" fmla="*/ 4669277 w 6955277"/>
              <a:gd name="connsiteY124" fmla="*/ 630082 h 1656350"/>
              <a:gd name="connsiteX125" fmla="*/ 4703324 w 6955277"/>
              <a:gd name="connsiteY125" fmla="*/ 610627 h 1656350"/>
              <a:gd name="connsiteX126" fmla="*/ 4732507 w 6955277"/>
              <a:gd name="connsiteY126" fmla="*/ 605763 h 1656350"/>
              <a:gd name="connsiteX127" fmla="*/ 4790873 w 6955277"/>
              <a:gd name="connsiteY127" fmla="*/ 591171 h 1656350"/>
              <a:gd name="connsiteX128" fmla="*/ 4829783 w 6955277"/>
              <a:gd name="connsiteY128" fmla="*/ 571716 h 1656350"/>
              <a:gd name="connsiteX129" fmla="*/ 4907605 w 6955277"/>
              <a:gd name="connsiteY129" fmla="*/ 557124 h 1656350"/>
              <a:gd name="connsiteX130" fmla="*/ 4990290 w 6955277"/>
              <a:gd name="connsiteY130" fmla="*/ 552261 h 1656350"/>
              <a:gd name="connsiteX131" fmla="*/ 5009745 w 6955277"/>
              <a:gd name="connsiteY131" fmla="*/ 523078 h 1656350"/>
              <a:gd name="connsiteX132" fmla="*/ 5024336 w 6955277"/>
              <a:gd name="connsiteY132" fmla="*/ 513350 h 1656350"/>
              <a:gd name="connsiteX133" fmla="*/ 5058383 w 6955277"/>
              <a:gd name="connsiteY133" fmla="*/ 503622 h 1656350"/>
              <a:gd name="connsiteX134" fmla="*/ 5072975 w 6955277"/>
              <a:gd name="connsiteY134" fmla="*/ 498759 h 1656350"/>
              <a:gd name="connsiteX135" fmla="*/ 5087566 w 6955277"/>
              <a:gd name="connsiteY135" fmla="*/ 489031 h 1656350"/>
              <a:gd name="connsiteX136" fmla="*/ 5136205 w 6955277"/>
              <a:gd name="connsiteY136" fmla="*/ 474439 h 1656350"/>
              <a:gd name="connsiteX137" fmla="*/ 5150796 w 6955277"/>
              <a:gd name="connsiteY137" fmla="*/ 469576 h 1656350"/>
              <a:gd name="connsiteX138" fmla="*/ 5179979 w 6955277"/>
              <a:gd name="connsiteY138" fmla="*/ 464712 h 1656350"/>
              <a:gd name="connsiteX139" fmla="*/ 5194571 w 6955277"/>
              <a:gd name="connsiteY139" fmla="*/ 459848 h 1656350"/>
              <a:gd name="connsiteX140" fmla="*/ 5267528 w 6955277"/>
              <a:gd name="connsiteY140" fmla="*/ 454984 h 1656350"/>
              <a:gd name="connsiteX141" fmla="*/ 5301575 w 6955277"/>
              <a:gd name="connsiteY141" fmla="*/ 450120 h 1656350"/>
              <a:gd name="connsiteX142" fmla="*/ 5321030 w 6955277"/>
              <a:gd name="connsiteY142" fmla="*/ 445256 h 1656350"/>
              <a:gd name="connsiteX143" fmla="*/ 5369668 w 6955277"/>
              <a:gd name="connsiteY143" fmla="*/ 440393 h 1656350"/>
              <a:gd name="connsiteX144" fmla="*/ 5437762 w 6955277"/>
              <a:gd name="connsiteY144" fmla="*/ 430665 h 1656350"/>
              <a:gd name="connsiteX145" fmla="*/ 5466945 w 6955277"/>
              <a:gd name="connsiteY145" fmla="*/ 425801 h 1656350"/>
              <a:gd name="connsiteX146" fmla="*/ 5500992 w 6955277"/>
              <a:gd name="connsiteY146" fmla="*/ 416073 h 1656350"/>
              <a:gd name="connsiteX147" fmla="*/ 5515583 w 6955277"/>
              <a:gd name="connsiteY147" fmla="*/ 411210 h 1656350"/>
              <a:gd name="connsiteX148" fmla="*/ 5564222 w 6955277"/>
              <a:gd name="connsiteY148" fmla="*/ 411211 h 1656350"/>
              <a:gd name="connsiteX149" fmla="*/ 5637179 w 6955277"/>
              <a:gd name="connsiteY149" fmla="*/ 386891 h 1656350"/>
              <a:gd name="connsiteX150" fmla="*/ 5666362 w 6955277"/>
              <a:gd name="connsiteY150" fmla="*/ 391754 h 1656350"/>
              <a:gd name="connsiteX151" fmla="*/ 5685817 w 6955277"/>
              <a:gd name="connsiteY151" fmla="*/ 382027 h 1656350"/>
              <a:gd name="connsiteX152" fmla="*/ 5724728 w 6955277"/>
              <a:gd name="connsiteY152" fmla="*/ 377163 h 1656350"/>
              <a:gd name="connsiteX153" fmla="*/ 5729592 w 6955277"/>
              <a:gd name="connsiteY153" fmla="*/ 362571 h 1656350"/>
              <a:gd name="connsiteX154" fmla="*/ 5744183 w 6955277"/>
              <a:gd name="connsiteY154" fmla="*/ 357707 h 1656350"/>
              <a:gd name="connsiteX155" fmla="*/ 5783094 w 6955277"/>
              <a:gd name="connsiteY155" fmla="*/ 352844 h 1656350"/>
              <a:gd name="connsiteX156" fmla="*/ 5812277 w 6955277"/>
              <a:gd name="connsiteY156" fmla="*/ 338252 h 1656350"/>
              <a:gd name="connsiteX157" fmla="*/ 5841460 w 6955277"/>
              <a:gd name="connsiteY157" fmla="*/ 328524 h 1656350"/>
              <a:gd name="connsiteX158" fmla="*/ 5885234 w 6955277"/>
              <a:gd name="connsiteY158" fmla="*/ 318797 h 1656350"/>
              <a:gd name="connsiteX159" fmla="*/ 5899826 w 6955277"/>
              <a:gd name="connsiteY159" fmla="*/ 309069 h 1656350"/>
              <a:gd name="connsiteX160" fmla="*/ 5997102 w 6955277"/>
              <a:gd name="connsiteY160" fmla="*/ 299341 h 1656350"/>
              <a:gd name="connsiteX161" fmla="*/ 6040877 w 6955277"/>
              <a:gd name="connsiteY161" fmla="*/ 284750 h 1656350"/>
              <a:gd name="connsiteX162" fmla="*/ 6055468 w 6955277"/>
              <a:gd name="connsiteY162" fmla="*/ 275022 h 1656350"/>
              <a:gd name="connsiteX163" fmla="*/ 6079788 w 6955277"/>
              <a:gd name="connsiteY163" fmla="*/ 270159 h 1656350"/>
              <a:gd name="connsiteX164" fmla="*/ 6128426 w 6955277"/>
              <a:gd name="connsiteY164" fmla="*/ 265295 h 1656350"/>
              <a:gd name="connsiteX165" fmla="*/ 6167336 w 6955277"/>
              <a:gd name="connsiteY165" fmla="*/ 260431 h 1656350"/>
              <a:gd name="connsiteX166" fmla="*/ 6206247 w 6955277"/>
              <a:gd name="connsiteY166" fmla="*/ 250703 h 1656350"/>
              <a:gd name="connsiteX167" fmla="*/ 6220839 w 6955277"/>
              <a:gd name="connsiteY167" fmla="*/ 240976 h 1656350"/>
              <a:gd name="connsiteX168" fmla="*/ 6274341 w 6955277"/>
              <a:gd name="connsiteY168" fmla="*/ 236112 h 1656350"/>
              <a:gd name="connsiteX169" fmla="*/ 6395936 w 6955277"/>
              <a:gd name="connsiteY169" fmla="*/ 221520 h 1656350"/>
              <a:gd name="connsiteX170" fmla="*/ 6410528 w 6955277"/>
              <a:gd name="connsiteY170" fmla="*/ 192337 h 1656350"/>
              <a:gd name="connsiteX171" fmla="*/ 6439711 w 6955277"/>
              <a:gd name="connsiteY171" fmla="*/ 187473 h 1656350"/>
              <a:gd name="connsiteX172" fmla="*/ 6488349 w 6955277"/>
              <a:gd name="connsiteY172" fmla="*/ 182610 h 1656350"/>
              <a:gd name="connsiteX173" fmla="*/ 6507805 w 6955277"/>
              <a:gd name="connsiteY173" fmla="*/ 177746 h 1656350"/>
              <a:gd name="connsiteX174" fmla="*/ 6522396 w 6955277"/>
              <a:gd name="connsiteY174" fmla="*/ 172882 h 1656350"/>
              <a:gd name="connsiteX175" fmla="*/ 6561307 w 6955277"/>
              <a:gd name="connsiteY175" fmla="*/ 163154 h 1656350"/>
              <a:gd name="connsiteX176" fmla="*/ 6566171 w 6955277"/>
              <a:gd name="connsiteY176" fmla="*/ 148563 h 1656350"/>
              <a:gd name="connsiteX177" fmla="*/ 6580762 w 6955277"/>
              <a:gd name="connsiteY177" fmla="*/ 143699 h 1656350"/>
              <a:gd name="connsiteX178" fmla="*/ 6605081 w 6955277"/>
              <a:gd name="connsiteY178" fmla="*/ 138835 h 1656350"/>
              <a:gd name="connsiteX179" fmla="*/ 6639128 w 6955277"/>
              <a:gd name="connsiteY179" fmla="*/ 119380 h 1656350"/>
              <a:gd name="connsiteX180" fmla="*/ 6643992 w 6955277"/>
              <a:gd name="connsiteY180" fmla="*/ 99924 h 1656350"/>
              <a:gd name="connsiteX181" fmla="*/ 6780179 w 6955277"/>
              <a:gd name="connsiteY181" fmla="*/ 99924 h 1656350"/>
              <a:gd name="connsiteX182" fmla="*/ 6785043 w 6955277"/>
              <a:gd name="connsiteY182" fmla="*/ 65878 h 1656350"/>
              <a:gd name="connsiteX183" fmla="*/ 6809362 w 6955277"/>
              <a:gd name="connsiteY183" fmla="*/ 61014 h 1656350"/>
              <a:gd name="connsiteX184" fmla="*/ 6828817 w 6955277"/>
              <a:gd name="connsiteY184" fmla="*/ 56150 h 1656350"/>
              <a:gd name="connsiteX185" fmla="*/ 6955277 w 6955277"/>
              <a:gd name="connsiteY185" fmla="*/ 2647 h 1656350"/>
              <a:gd name="connsiteX0" fmla="*/ 0 w 6955277"/>
              <a:gd name="connsiteY0" fmla="*/ 1656350 h 1656350"/>
              <a:gd name="connsiteX1" fmla="*/ 48639 w 6955277"/>
              <a:gd name="connsiteY1" fmla="*/ 1646622 h 1656350"/>
              <a:gd name="connsiteX2" fmla="*/ 77822 w 6955277"/>
              <a:gd name="connsiteY2" fmla="*/ 1632031 h 1656350"/>
              <a:gd name="connsiteX3" fmla="*/ 141051 w 6955277"/>
              <a:gd name="connsiteY3" fmla="*/ 1627167 h 1656350"/>
              <a:gd name="connsiteX4" fmla="*/ 170234 w 6955277"/>
              <a:gd name="connsiteY4" fmla="*/ 1602848 h 1656350"/>
              <a:gd name="connsiteX5" fmla="*/ 184826 w 6955277"/>
              <a:gd name="connsiteY5" fmla="*/ 1593120 h 1656350"/>
              <a:gd name="connsiteX6" fmla="*/ 238328 w 6955277"/>
              <a:gd name="connsiteY6" fmla="*/ 1593120 h 1656350"/>
              <a:gd name="connsiteX7" fmla="*/ 252919 w 6955277"/>
              <a:gd name="connsiteY7" fmla="*/ 1583393 h 1656350"/>
              <a:gd name="connsiteX8" fmla="*/ 301558 w 6955277"/>
              <a:gd name="connsiteY8" fmla="*/ 1578529 h 1656350"/>
              <a:gd name="connsiteX9" fmla="*/ 321013 w 6955277"/>
              <a:gd name="connsiteY9" fmla="*/ 1568801 h 1656350"/>
              <a:gd name="connsiteX10" fmla="*/ 369651 w 6955277"/>
              <a:gd name="connsiteY10" fmla="*/ 1549346 h 1656350"/>
              <a:gd name="connsiteX11" fmla="*/ 418290 w 6955277"/>
              <a:gd name="connsiteY11" fmla="*/ 1549346 h 1656350"/>
              <a:gd name="connsiteX12" fmla="*/ 432881 w 6955277"/>
              <a:gd name="connsiteY12" fmla="*/ 1534754 h 1656350"/>
              <a:gd name="connsiteX13" fmla="*/ 447473 w 6955277"/>
              <a:gd name="connsiteY13" fmla="*/ 1529890 h 1656350"/>
              <a:gd name="connsiteX14" fmla="*/ 515566 w 6955277"/>
              <a:gd name="connsiteY14" fmla="*/ 1529890 h 1656350"/>
              <a:gd name="connsiteX15" fmla="*/ 520430 w 6955277"/>
              <a:gd name="connsiteY15" fmla="*/ 1510435 h 1656350"/>
              <a:gd name="connsiteX16" fmla="*/ 612843 w 6955277"/>
              <a:gd name="connsiteY16" fmla="*/ 1510435 h 1656350"/>
              <a:gd name="connsiteX17" fmla="*/ 617707 w 6955277"/>
              <a:gd name="connsiteY17" fmla="*/ 1495844 h 1656350"/>
              <a:gd name="connsiteX18" fmla="*/ 666345 w 6955277"/>
              <a:gd name="connsiteY18" fmla="*/ 1490980 h 1656350"/>
              <a:gd name="connsiteX19" fmla="*/ 695528 w 6955277"/>
              <a:gd name="connsiteY19" fmla="*/ 1495844 h 1656350"/>
              <a:gd name="connsiteX20" fmla="*/ 753894 w 6955277"/>
              <a:gd name="connsiteY20" fmla="*/ 1486116 h 1656350"/>
              <a:gd name="connsiteX21" fmla="*/ 787941 w 6955277"/>
              <a:gd name="connsiteY21" fmla="*/ 1481252 h 1656350"/>
              <a:gd name="connsiteX22" fmla="*/ 792805 w 6955277"/>
              <a:gd name="connsiteY22" fmla="*/ 1466661 h 1656350"/>
              <a:gd name="connsiteX23" fmla="*/ 836579 w 6955277"/>
              <a:gd name="connsiteY23" fmla="*/ 1461797 h 1656350"/>
              <a:gd name="connsiteX24" fmla="*/ 851171 w 6955277"/>
              <a:gd name="connsiteY24" fmla="*/ 1456933 h 1656350"/>
              <a:gd name="connsiteX25" fmla="*/ 875490 w 6955277"/>
              <a:gd name="connsiteY25" fmla="*/ 1452069 h 1656350"/>
              <a:gd name="connsiteX26" fmla="*/ 894945 w 6955277"/>
              <a:gd name="connsiteY26" fmla="*/ 1447205 h 1656350"/>
              <a:gd name="connsiteX27" fmla="*/ 924128 w 6955277"/>
              <a:gd name="connsiteY27" fmla="*/ 1437478 h 1656350"/>
              <a:gd name="connsiteX28" fmla="*/ 933856 w 6955277"/>
              <a:gd name="connsiteY28" fmla="*/ 1422886 h 1656350"/>
              <a:gd name="connsiteX29" fmla="*/ 982494 w 6955277"/>
              <a:gd name="connsiteY29" fmla="*/ 1418022 h 1656350"/>
              <a:gd name="connsiteX30" fmla="*/ 997085 w 6955277"/>
              <a:gd name="connsiteY30" fmla="*/ 1413159 h 1656350"/>
              <a:gd name="connsiteX31" fmla="*/ 1011677 w 6955277"/>
              <a:gd name="connsiteY31" fmla="*/ 1403431 h 1656350"/>
              <a:gd name="connsiteX32" fmla="*/ 1118681 w 6955277"/>
              <a:gd name="connsiteY32" fmla="*/ 1398567 h 1656350"/>
              <a:gd name="connsiteX33" fmla="*/ 1147864 w 6955277"/>
              <a:gd name="connsiteY33" fmla="*/ 1388839 h 1656350"/>
              <a:gd name="connsiteX34" fmla="*/ 1240277 w 6955277"/>
              <a:gd name="connsiteY34" fmla="*/ 1374248 h 1656350"/>
              <a:gd name="connsiteX35" fmla="*/ 1269460 w 6955277"/>
              <a:gd name="connsiteY35" fmla="*/ 1364520 h 1656350"/>
              <a:gd name="connsiteX36" fmla="*/ 1303507 w 6955277"/>
              <a:gd name="connsiteY36" fmla="*/ 1354793 h 1656350"/>
              <a:gd name="connsiteX37" fmla="*/ 1332690 w 6955277"/>
              <a:gd name="connsiteY37" fmla="*/ 1340201 h 1656350"/>
              <a:gd name="connsiteX38" fmla="*/ 1400783 w 6955277"/>
              <a:gd name="connsiteY38" fmla="*/ 1330473 h 1656350"/>
              <a:gd name="connsiteX39" fmla="*/ 1429966 w 6955277"/>
              <a:gd name="connsiteY39" fmla="*/ 1320746 h 1656350"/>
              <a:gd name="connsiteX40" fmla="*/ 1444558 w 6955277"/>
              <a:gd name="connsiteY40" fmla="*/ 1315882 h 1656350"/>
              <a:gd name="connsiteX41" fmla="*/ 1532107 w 6955277"/>
              <a:gd name="connsiteY41" fmla="*/ 1301290 h 1656350"/>
              <a:gd name="connsiteX42" fmla="*/ 1561290 w 6955277"/>
              <a:gd name="connsiteY42" fmla="*/ 1291563 h 1656350"/>
              <a:gd name="connsiteX43" fmla="*/ 1600200 w 6955277"/>
              <a:gd name="connsiteY43" fmla="*/ 1286699 h 1656350"/>
              <a:gd name="connsiteX44" fmla="*/ 1634247 w 6955277"/>
              <a:gd name="connsiteY44" fmla="*/ 1281835 h 1656350"/>
              <a:gd name="connsiteX45" fmla="*/ 1697477 w 6955277"/>
              <a:gd name="connsiteY45" fmla="*/ 1272107 h 1656350"/>
              <a:gd name="connsiteX46" fmla="*/ 1712068 w 6955277"/>
              <a:gd name="connsiteY46" fmla="*/ 1262380 h 1656350"/>
              <a:gd name="connsiteX47" fmla="*/ 1736388 w 6955277"/>
              <a:gd name="connsiteY47" fmla="*/ 1257516 h 1656350"/>
              <a:gd name="connsiteX48" fmla="*/ 1823936 w 6955277"/>
              <a:gd name="connsiteY48" fmla="*/ 1252652 h 1656350"/>
              <a:gd name="connsiteX49" fmla="*/ 1828800 w 6955277"/>
              <a:gd name="connsiteY49" fmla="*/ 1228333 h 1656350"/>
              <a:gd name="connsiteX50" fmla="*/ 1843392 w 6955277"/>
              <a:gd name="connsiteY50" fmla="*/ 1223469 h 1656350"/>
              <a:gd name="connsiteX51" fmla="*/ 1867711 w 6955277"/>
              <a:gd name="connsiteY51" fmla="*/ 1218605 h 1656350"/>
              <a:gd name="connsiteX52" fmla="*/ 1945532 w 6955277"/>
              <a:gd name="connsiteY52" fmla="*/ 1213741 h 1656350"/>
              <a:gd name="connsiteX53" fmla="*/ 2018490 w 6955277"/>
              <a:gd name="connsiteY53" fmla="*/ 1199150 h 1656350"/>
              <a:gd name="connsiteX54" fmla="*/ 2091447 w 6955277"/>
              <a:gd name="connsiteY54" fmla="*/ 1189422 h 1656350"/>
              <a:gd name="connsiteX55" fmla="*/ 2106039 w 6955277"/>
              <a:gd name="connsiteY55" fmla="*/ 1179695 h 1656350"/>
              <a:gd name="connsiteX56" fmla="*/ 2140085 w 6955277"/>
              <a:gd name="connsiteY56" fmla="*/ 1174831 h 1656350"/>
              <a:gd name="connsiteX57" fmla="*/ 2188724 w 6955277"/>
              <a:gd name="connsiteY57" fmla="*/ 1160239 h 1656350"/>
              <a:gd name="connsiteX58" fmla="*/ 2222771 w 6955277"/>
              <a:gd name="connsiteY58" fmla="*/ 1155376 h 1656350"/>
              <a:gd name="connsiteX59" fmla="*/ 2237362 w 6955277"/>
              <a:gd name="connsiteY59" fmla="*/ 1150512 h 1656350"/>
              <a:gd name="connsiteX60" fmla="*/ 2305456 w 6955277"/>
              <a:gd name="connsiteY60" fmla="*/ 1140784 h 1656350"/>
              <a:gd name="connsiteX61" fmla="*/ 2349230 w 6955277"/>
              <a:gd name="connsiteY61" fmla="*/ 1131056 h 1656350"/>
              <a:gd name="connsiteX62" fmla="*/ 2363822 w 6955277"/>
              <a:gd name="connsiteY62" fmla="*/ 1126193 h 1656350"/>
              <a:gd name="connsiteX63" fmla="*/ 2431915 w 6955277"/>
              <a:gd name="connsiteY63" fmla="*/ 1116465 h 1656350"/>
              <a:gd name="connsiteX64" fmla="*/ 2436779 w 6955277"/>
              <a:gd name="connsiteY64" fmla="*/ 1101873 h 1656350"/>
              <a:gd name="connsiteX65" fmla="*/ 2465962 w 6955277"/>
              <a:gd name="connsiteY65" fmla="*/ 1092146 h 1656350"/>
              <a:gd name="connsiteX66" fmla="*/ 2572966 w 6955277"/>
              <a:gd name="connsiteY66" fmla="*/ 1092146 h 1656350"/>
              <a:gd name="connsiteX67" fmla="*/ 2587558 w 6955277"/>
              <a:gd name="connsiteY67" fmla="*/ 1082418 h 1656350"/>
              <a:gd name="connsiteX68" fmla="*/ 2602149 w 6955277"/>
              <a:gd name="connsiteY68" fmla="*/ 1077554 h 1656350"/>
              <a:gd name="connsiteX69" fmla="*/ 2616741 w 6955277"/>
              <a:gd name="connsiteY69" fmla="*/ 1067827 h 1656350"/>
              <a:gd name="connsiteX70" fmla="*/ 2645924 w 6955277"/>
              <a:gd name="connsiteY70" fmla="*/ 1062963 h 1656350"/>
              <a:gd name="connsiteX71" fmla="*/ 2704290 w 6955277"/>
              <a:gd name="connsiteY71" fmla="*/ 1043507 h 1656350"/>
              <a:gd name="connsiteX72" fmla="*/ 2718881 w 6955277"/>
              <a:gd name="connsiteY72" fmla="*/ 1038644 h 1656350"/>
              <a:gd name="connsiteX73" fmla="*/ 2733473 w 6955277"/>
              <a:gd name="connsiteY73" fmla="*/ 1033780 h 1656350"/>
              <a:gd name="connsiteX74" fmla="*/ 2752928 w 6955277"/>
              <a:gd name="connsiteY74" fmla="*/ 1028916 h 1656350"/>
              <a:gd name="connsiteX75" fmla="*/ 2777247 w 6955277"/>
              <a:gd name="connsiteY75" fmla="*/ 1024052 h 1656350"/>
              <a:gd name="connsiteX76" fmla="*/ 2830749 w 6955277"/>
              <a:gd name="connsiteY76" fmla="*/ 1019188 h 1656350"/>
              <a:gd name="connsiteX77" fmla="*/ 2864796 w 6955277"/>
              <a:gd name="connsiteY77" fmla="*/ 1014324 h 1656350"/>
              <a:gd name="connsiteX78" fmla="*/ 2879388 w 6955277"/>
              <a:gd name="connsiteY78" fmla="*/ 1009461 h 1656350"/>
              <a:gd name="connsiteX79" fmla="*/ 2898843 w 6955277"/>
              <a:gd name="connsiteY79" fmla="*/ 1004597 h 1656350"/>
              <a:gd name="connsiteX80" fmla="*/ 2913434 w 6955277"/>
              <a:gd name="connsiteY80" fmla="*/ 994869 h 1656350"/>
              <a:gd name="connsiteX81" fmla="*/ 2981528 w 6955277"/>
              <a:gd name="connsiteY81" fmla="*/ 985141 h 1656350"/>
              <a:gd name="connsiteX82" fmla="*/ 2986392 w 6955277"/>
              <a:gd name="connsiteY82" fmla="*/ 970550 h 1656350"/>
              <a:gd name="connsiteX83" fmla="*/ 3059349 w 6955277"/>
              <a:gd name="connsiteY83" fmla="*/ 965686 h 1656350"/>
              <a:gd name="connsiteX84" fmla="*/ 3107988 w 6955277"/>
              <a:gd name="connsiteY84" fmla="*/ 960822 h 1656350"/>
              <a:gd name="connsiteX85" fmla="*/ 3185809 w 6955277"/>
              <a:gd name="connsiteY85" fmla="*/ 951095 h 1656350"/>
              <a:gd name="connsiteX86" fmla="*/ 3229583 w 6955277"/>
              <a:gd name="connsiteY86" fmla="*/ 946231 h 1656350"/>
              <a:gd name="connsiteX87" fmla="*/ 3263630 w 6955277"/>
              <a:gd name="connsiteY87" fmla="*/ 936503 h 1656350"/>
              <a:gd name="connsiteX88" fmla="*/ 3302541 w 6955277"/>
              <a:gd name="connsiteY88" fmla="*/ 931639 h 1656350"/>
              <a:gd name="connsiteX89" fmla="*/ 3317132 w 6955277"/>
              <a:gd name="connsiteY89" fmla="*/ 926776 h 1656350"/>
              <a:gd name="connsiteX90" fmla="*/ 3321996 w 6955277"/>
              <a:gd name="connsiteY90" fmla="*/ 912184 h 1656350"/>
              <a:gd name="connsiteX91" fmla="*/ 3433864 w 6955277"/>
              <a:gd name="connsiteY91" fmla="*/ 907320 h 1656350"/>
              <a:gd name="connsiteX92" fmla="*/ 3438728 w 6955277"/>
              <a:gd name="connsiteY92" fmla="*/ 892729 h 1656350"/>
              <a:gd name="connsiteX93" fmla="*/ 3453319 w 6955277"/>
              <a:gd name="connsiteY93" fmla="*/ 883001 h 1656350"/>
              <a:gd name="connsiteX94" fmla="*/ 3540868 w 6955277"/>
              <a:gd name="connsiteY94" fmla="*/ 878137 h 1656350"/>
              <a:gd name="connsiteX95" fmla="*/ 3560324 w 6955277"/>
              <a:gd name="connsiteY95" fmla="*/ 873273 h 1656350"/>
              <a:gd name="connsiteX96" fmla="*/ 3589507 w 6955277"/>
              <a:gd name="connsiteY96" fmla="*/ 863546 h 1656350"/>
              <a:gd name="connsiteX97" fmla="*/ 3618690 w 6955277"/>
              <a:gd name="connsiteY97" fmla="*/ 858682 h 1656350"/>
              <a:gd name="connsiteX98" fmla="*/ 3715966 w 6955277"/>
              <a:gd name="connsiteY98" fmla="*/ 844090 h 1656350"/>
              <a:gd name="connsiteX99" fmla="*/ 3745149 w 6955277"/>
              <a:gd name="connsiteY99" fmla="*/ 834363 h 1656350"/>
              <a:gd name="connsiteX100" fmla="*/ 3750013 w 6955277"/>
              <a:gd name="connsiteY100" fmla="*/ 819771 h 1656350"/>
              <a:gd name="connsiteX101" fmla="*/ 3764605 w 6955277"/>
              <a:gd name="connsiteY101" fmla="*/ 814907 h 1656350"/>
              <a:gd name="connsiteX102" fmla="*/ 3798651 w 6955277"/>
              <a:gd name="connsiteY102" fmla="*/ 810044 h 1656350"/>
              <a:gd name="connsiteX103" fmla="*/ 3822971 w 6955277"/>
              <a:gd name="connsiteY103" fmla="*/ 805180 h 1656350"/>
              <a:gd name="connsiteX104" fmla="*/ 3852154 w 6955277"/>
              <a:gd name="connsiteY104" fmla="*/ 795452 h 1656350"/>
              <a:gd name="connsiteX105" fmla="*/ 3915383 w 6955277"/>
              <a:gd name="connsiteY105" fmla="*/ 790588 h 1656350"/>
              <a:gd name="connsiteX106" fmla="*/ 3959158 w 6955277"/>
              <a:gd name="connsiteY106" fmla="*/ 785724 h 1656350"/>
              <a:gd name="connsiteX107" fmla="*/ 3964022 w 6955277"/>
              <a:gd name="connsiteY107" fmla="*/ 771133 h 1656350"/>
              <a:gd name="connsiteX108" fmla="*/ 3993205 w 6955277"/>
              <a:gd name="connsiteY108" fmla="*/ 761405 h 1656350"/>
              <a:gd name="connsiteX109" fmla="*/ 4017524 w 6955277"/>
              <a:gd name="connsiteY109" fmla="*/ 756541 h 1656350"/>
              <a:gd name="connsiteX110" fmla="*/ 4036979 w 6955277"/>
              <a:gd name="connsiteY110" fmla="*/ 751678 h 1656350"/>
              <a:gd name="connsiteX111" fmla="*/ 4075890 w 6955277"/>
              <a:gd name="connsiteY111" fmla="*/ 746814 h 1656350"/>
              <a:gd name="connsiteX112" fmla="*/ 4095345 w 6955277"/>
              <a:gd name="connsiteY112" fmla="*/ 741950 h 1656350"/>
              <a:gd name="connsiteX113" fmla="*/ 4158575 w 6955277"/>
              <a:gd name="connsiteY113" fmla="*/ 727359 h 1656350"/>
              <a:gd name="connsiteX114" fmla="*/ 4173166 w 6955277"/>
              <a:gd name="connsiteY114" fmla="*/ 722495 h 1656350"/>
              <a:gd name="connsiteX115" fmla="*/ 4187758 w 6955277"/>
              <a:gd name="connsiteY115" fmla="*/ 712767 h 1656350"/>
              <a:gd name="connsiteX116" fmla="*/ 4265579 w 6955277"/>
              <a:gd name="connsiteY116" fmla="*/ 707903 h 1656350"/>
              <a:gd name="connsiteX117" fmla="*/ 4275307 w 6955277"/>
              <a:gd name="connsiteY117" fmla="*/ 693312 h 1656350"/>
              <a:gd name="connsiteX118" fmla="*/ 4421222 w 6955277"/>
              <a:gd name="connsiteY118" fmla="*/ 678720 h 1656350"/>
              <a:gd name="connsiteX119" fmla="*/ 4440677 w 6955277"/>
              <a:gd name="connsiteY119" fmla="*/ 668993 h 1656350"/>
              <a:gd name="connsiteX120" fmla="*/ 4557409 w 6955277"/>
              <a:gd name="connsiteY120" fmla="*/ 659265 h 1656350"/>
              <a:gd name="connsiteX121" fmla="*/ 4576863 w 6955277"/>
              <a:gd name="connsiteY121" fmla="*/ 639809 h 1656350"/>
              <a:gd name="connsiteX122" fmla="*/ 4586592 w 6955277"/>
              <a:gd name="connsiteY122" fmla="*/ 625218 h 1656350"/>
              <a:gd name="connsiteX123" fmla="*/ 4635230 w 6955277"/>
              <a:gd name="connsiteY123" fmla="*/ 634946 h 1656350"/>
              <a:gd name="connsiteX124" fmla="*/ 4669277 w 6955277"/>
              <a:gd name="connsiteY124" fmla="*/ 630082 h 1656350"/>
              <a:gd name="connsiteX125" fmla="*/ 4703324 w 6955277"/>
              <a:gd name="connsiteY125" fmla="*/ 610627 h 1656350"/>
              <a:gd name="connsiteX126" fmla="*/ 4732507 w 6955277"/>
              <a:gd name="connsiteY126" fmla="*/ 605763 h 1656350"/>
              <a:gd name="connsiteX127" fmla="*/ 4790873 w 6955277"/>
              <a:gd name="connsiteY127" fmla="*/ 591171 h 1656350"/>
              <a:gd name="connsiteX128" fmla="*/ 4829783 w 6955277"/>
              <a:gd name="connsiteY128" fmla="*/ 571716 h 1656350"/>
              <a:gd name="connsiteX129" fmla="*/ 4897877 w 6955277"/>
              <a:gd name="connsiteY129" fmla="*/ 561988 h 1656350"/>
              <a:gd name="connsiteX130" fmla="*/ 4990290 w 6955277"/>
              <a:gd name="connsiteY130" fmla="*/ 552261 h 1656350"/>
              <a:gd name="connsiteX131" fmla="*/ 5009745 w 6955277"/>
              <a:gd name="connsiteY131" fmla="*/ 523078 h 1656350"/>
              <a:gd name="connsiteX132" fmla="*/ 5024336 w 6955277"/>
              <a:gd name="connsiteY132" fmla="*/ 513350 h 1656350"/>
              <a:gd name="connsiteX133" fmla="*/ 5058383 w 6955277"/>
              <a:gd name="connsiteY133" fmla="*/ 503622 h 1656350"/>
              <a:gd name="connsiteX134" fmla="*/ 5072975 w 6955277"/>
              <a:gd name="connsiteY134" fmla="*/ 498759 h 1656350"/>
              <a:gd name="connsiteX135" fmla="*/ 5087566 w 6955277"/>
              <a:gd name="connsiteY135" fmla="*/ 489031 h 1656350"/>
              <a:gd name="connsiteX136" fmla="*/ 5136205 w 6955277"/>
              <a:gd name="connsiteY136" fmla="*/ 474439 h 1656350"/>
              <a:gd name="connsiteX137" fmla="*/ 5150796 w 6955277"/>
              <a:gd name="connsiteY137" fmla="*/ 469576 h 1656350"/>
              <a:gd name="connsiteX138" fmla="*/ 5179979 w 6955277"/>
              <a:gd name="connsiteY138" fmla="*/ 464712 h 1656350"/>
              <a:gd name="connsiteX139" fmla="*/ 5194571 w 6955277"/>
              <a:gd name="connsiteY139" fmla="*/ 459848 h 1656350"/>
              <a:gd name="connsiteX140" fmla="*/ 5267528 w 6955277"/>
              <a:gd name="connsiteY140" fmla="*/ 454984 h 1656350"/>
              <a:gd name="connsiteX141" fmla="*/ 5301575 w 6955277"/>
              <a:gd name="connsiteY141" fmla="*/ 450120 h 1656350"/>
              <a:gd name="connsiteX142" fmla="*/ 5321030 w 6955277"/>
              <a:gd name="connsiteY142" fmla="*/ 445256 h 1656350"/>
              <a:gd name="connsiteX143" fmla="*/ 5369668 w 6955277"/>
              <a:gd name="connsiteY143" fmla="*/ 440393 h 1656350"/>
              <a:gd name="connsiteX144" fmla="*/ 5437762 w 6955277"/>
              <a:gd name="connsiteY144" fmla="*/ 430665 h 1656350"/>
              <a:gd name="connsiteX145" fmla="*/ 5466945 w 6955277"/>
              <a:gd name="connsiteY145" fmla="*/ 425801 h 1656350"/>
              <a:gd name="connsiteX146" fmla="*/ 5500992 w 6955277"/>
              <a:gd name="connsiteY146" fmla="*/ 416073 h 1656350"/>
              <a:gd name="connsiteX147" fmla="*/ 5515583 w 6955277"/>
              <a:gd name="connsiteY147" fmla="*/ 411210 h 1656350"/>
              <a:gd name="connsiteX148" fmla="*/ 5564222 w 6955277"/>
              <a:gd name="connsiteY148" fmla="*/ 411211 h 1656350"/>
              <a:gd name="connsiteX149" fmla="*/ 5637179 w 6955277"/>
              <a:gd name="connsiteY149" fmla="*/ 386891 h 1656350"/>
              <a:gd name="connsiteX150" fmla="*/ 5666362 w 6955277"/>
              <a:gd name="connsiteY150" fmla="*/ 391754 h 1656350"/>
              <a:gd name="connsiteX151" fmla="*/ 5685817 w 6955277"/>
              <a:gd name="connsiteY151" fmla="*/ 382027 h 1656350"/>
              <a:gd name="connsiteX152" fmla="*/ 5724728 w 6955277"/>
              <a:gd name="connsiteY152" fmla="*/ 377163 h 1656350"/>
              <a:gd name="connsiteX153" fmla="*/ 5729592 w 6955277"/>
              <a:gd name="connsiteY153" fmla="*/ 362571 h 1656350"/>
              <a:gd name="connsiteX154" fmla="*/ 5744183 w 6955277"/>
              <a:gd name="connsiteY154" fmla="*/ 357707 h 1656350"/>
              <a:gd name="connsiteX155" fmla="*/ 5783094 w 6955277"/>
              <a:gd name="connsiteY155" fmla="*/ 352844 h 1656350"/>
              <a:gd name="connsiteX156" fmla="*/ 5812277 w 6955277"/>
              <a:gd name="connsiteY156" fmla="*/ 338252 h 1656350"/>
              <a:gd name="connsiteX157" fmla="*/ 5841460 w 6955277"/>
              <a:gd name="connsiteY157" fmla="*/ 328524 h 1656350"/>
              <a:gd name="connsiteX158" fmla="*/ 5885234 w 6955277"/>
              <a:gd name="connsiteY158" fmla="*/ 318797 h 1656350"/>
              <a:gd name="connsiteX159" fmla="*/ 5899826 w 6955277"/>
              <a:gd name="connsiteY159" fmla="*/ 309069 h 1656350"/>
              <a:gd name="connsiteX160" fmla="*/ 5997102 w 6955277"/>
              <a:gd name="connsiteY160" fmla="*/ 299341 h 1656350"/>
              <a:gd name="connsiteX161" fmla="*/ 6040877 w 6955277"/>
              <a:gd name="connsiteY161" fmla="*/ 284750 h 1656350"/>
              <a:gd name="connsiteX162" fmla="*/ 6055468 w 6955277"/>
              <a:gd name="connsiteY162" fmla="*/ 275022 h 1656350"/>
              <a:gd name="connsiteX163" fmla="*/ 6079788 w 6955277"/>
              <a:gd name="connsiteY163" fmla="*/ 270159 h 1656350"/>
              <a:gd name="connsiteX164" fmla="*/ 6128426 w 6955277"/>
              <a:gd name="connsiteY164" fmla="*/ 265295 h 1656350"/>
              <a:gd name="connsiteX165" fmla="*/ 6167336 w 6955277"/>
              <a:gd name="connsiteY165" fmla="*/ 260431 h 1656350"/>
              <a:gd name="connsiteX166" fmla="*/ 6206247 w 6955277"/>
              <a:gd name="connsiteY166" fmla="*/ 250703 h 1656350"/>
              <a:gd name="connsiteX167" fmla="*/ 6220839 w 6955277"/>
              <a:gd name="connsiteY167" fmla="*/ 240976 h 1656350"/>
              <a:gd name="connsiteX168" fmla="*/ 6274341 w 6955277"/>
              <a:gd name="connsiteY168" fmla="*/ 236112 h 1656350"/>
              <a:gd name="connsiteX169" fmla="*/ 6395936 w 6955277"/>
              <a:gd name="connsiteY169" fmla="*/ 221520 h 1656350"/>
              <a:gd name="connsiteX170" fmla="*/ 6410528 w 6955277"/>
              <a:gd name="connsiteY170" fmla="*/ 192337 h 1656350"/>
              <a:gd name="connsiteX171" fmla="*/ 6439711 w 6955277"/>
              <a:gd name="connsiteY171" fmla="*/ 187473 h 1656350"/>
              <a:gd name="connsiteX172" fmla="*/ 6488349 w 6955277"/>
              <a:gd name="connsiteY172" fmla="*/ 182610 h 1656350"/>
              <a:gd name="connsiteX173" fmla="*/ 6507805 w 6955277"/>
              <a:gd name="connsiteY173" fmla="*/ 177746 h 1656350"/>
              <a:gd name="connsiteX174" fmla="*/ 6522396 w 6955277"/>
              <a:gd name="connsiteY174" fmla="*/ 172882 h 1656350"/>
              <a:gd name="connsiteX175" fmla="*/ 6561307 w 6955277"/>
              <a:gd name="connsiteY175" fmla="*/ 163154 h 1656350"/>
              <a:gd name="connsiteX176" fmla="*/ 6566171 w 6955277"/>
              <a:gd name="connsiteY176" fmla="*/ 148563 h 1656350"/>
              <a:gd name="connsiteX177" fmla="*/ 6580762 w 6955277"/>
              <a:gd name="connsiteY177" fmla="*/ 143699 h 1656350"/>
              <a:gd name="connsiteX178" fmla="*/ 6605081 w 6955277"/>
              <a:gd name="connsiteY178" fmla="*/ 138835 h 1656350"/>
              <a:gd name="connsiteX179" fmla="*/ 6639128 w 6955277"/>
              <a:gd name="connsiteY179" fmla="*/ 119380 h 1656350"/>
              <a:gd name="connsiteX180" fmla="*/ 6643992 w 6955277"/>
              <a:gd name="connsiteY180" fmla="*/ 99924 h 1656350"/>
              <a:gd name="connsiteX181" fmla="*/ 6780179 w 6955277"/>
              <a:gd name="connsiteY181" fmla="*/ 99924 h 1656350"/>
              <a:gd name="connsiteX182" fmla="*/ 6785043 w 6955277"/>
              <a:gd name="connsiteY182" fmla="*/ 65878 h 1656350"/>
              <a:gd name="connsiteX183" fmla="*/ 6809362 w 6955277"/>
              <a:gd name="connsiteY183" fmla="*/ 61014 h 1656350"/>
              <a:gd name="connsiteX184" fmla="*/ 6828817 w 6955277"/>
              <a:gd name="connsiteY184" fmla="*/ 56150 h 1656350"/>
              <a:gd name="connsiteX185" fmla="*/ 6955277 w 6955277"/>
              <a:gd name="connsiteY185" fmla="*/ 2647 h 1656350"/>
              <a:gd name="connsiteX0" fmla="*/ 0 w 6955277"/>
              <a:gd name="connsiteY0" fmla="*/ 1656350 h 1656350"/>
              <a:gd name="connsiteX1" fmla="*/ 48639 w 6955277"/>
              <a:gd name="connsiteY1" fmla="*/ 1646622 h 1656350"/>
              <a:gd name="connsiteX2" fmla="*/ 77822 w 6955277"/>
              <a:gd name="connsiteY2" fmla="*/ 1632031 h 1656350"/>
              <a:gd name="connsiteX3" fmla="*/ 141051 w 6955277"/>
              <a:gd name="connsiteY3" fmla="*/ 1627167 h 1656350"/>
              <a:gd name="connsiteX4" fmla="*/ 170234 w 6955277"/>
              <a:gd name="connsiteY4" fmla="*/ 1602848 h 1656350"/>
              <a:gd name="connsiteX5" fmla="*/ 184826 w 6955277"/>
              <a:gd name="connsiteY5" fmla="*/ 1593120 h 1656350"/>
              <a:gd name="connsiteX6" fmla="*/ 238328 w 6955277"/>
              <a:gd name="connsiteY6" fmla="*/ 1593120 h 1656350"/>
              <a:gd name="connsiteX7" fmla="*/ 252919 w 6955277"/>
              <a:gd name="connsiteY7" fmla="*/ 1583393 h 1656350"/>
              <a:gd name="connsiteX8" fmla="*/ 301558 w 6955277"/>
              <a:gd name="connsiteY8" fmla="*/ 1578529 h 1656350"/>
              <a:gd name="connsiteX9" fmla="*/ 321013 w 6955277"/>
              <a:gd name="connsiteY9" fmla="*/ 1568801 h 1656350"/>
              <a:gd name="connsiteX10" fmla="*/ 369651 w 6955277"/>
              <a:gd name="connsiteY10" fmla="*/ 1549346 h 1656350"/>
              <a:gd name="connsiteX11" fmla="*/ 418290 w 6955277"/>
              <a:gd name="connsiteY11" fmla="*/ 1549346 h 1656350"/>
              <a:gd name="connsiteX12" fmla="*/ 432881 w 6955277"/>
              <a:gd name="connsiteY12" fmla="*/ 1534754 h 1656350"/>
              <a:gd name="connsiteX13" fmla="*/ 447473 w 6955277"/>
              <a:gd name="connsiteY13" fmla="*/ 1529890 h 1656350"/>
              <a:gd name="connsiteX14" fmla="*/ 515566 w 6955277"/>
              <a:gd name="connsiteY14" fmla="*/ 1529890 h 1656350"/>
              <a:gd name="connsiteX15" fmla="*/ 520430 w 6955277"/>
              <a:gd name="connsiteY15" fmla="*/ 1510435 h 1656350"/>
              <a:gd name="connsiteX16" fmla="*/ 612843 w 6955277"/>
              <a:gd name="connsiteY16" fmla="*/ 1510435 h 1656350"/>
              <a:gd name="connsiteX17" fmla="*/ 617707 w 6955277"/>
              <a:gd name="connsiteY17" fmla="*/ 1495844 h 1656350"/>
              <a:gd name="connsiteX18" fmla="*/ 666345 w 6955277"/>
              <a:gd name="connsiteY18" fmla="*/ 1490980 h 1656350"/>
              <a:gd name="connsiteX19" fmla="*/ 695528 w 6955277"/>
              <a:gd name="connsiteY19" fmla="*/ 1495844 h 1656350"/>
              <a:gd name="connsiteX20" fmla="*/ 753894 w 6955277"/>
              <a:gd name="connsiteY20" fmla="*/ 1486116 h 1656350"/>
              <a:gd name="connsiteX21" fmla="*/ 787941 w 6955277"/>
              <a:gd name="connsiteY21" fmla="*/ 1481252 h 1656350"/>
              <a:gd name="connsiteX22" fmla="*/ 792805 w 6955277"/>
              <a:gd name="connsiteY22" fmla="*/ 1466661 h 1656350"/>
              <a:gd name="connsiteX23" fmla="*/ 836579 w 6955277"/>
              <a:gd name="connsiteY23" fmla="*/ 1461797 h 1656350"/>
              <a:gd name="connsiteX24" fmla="*/ 851171 w 6955277"/>
              <a:gd name="connsiteY24" fmla="*/ 1456933 h 1656350"/>
              <a:gd name="connsiteX25" fmla="*/ 875490 w 6955277"/>
              <a:gd name="connsiteY25" fmla="*/ 1452069 h 1656350"/>
              <a:gd name="connsiteX26" fmla="*/ 894945 w 6955277"/>
              <a:gd name="connsiteY26" fmla="*/ 1447205 h 1656350"/>
              <a:gd name="connsiteX27" fmla="*/ 924128 w 6955277"/>
              <a:gd name="connsiteY27" fmla="*/ 1437478 h 1656350"/>
              <a:gd name="connsiteX28" fmla="*/ 933856 w 6955277"/>
              <a:gd name="connsiteY28" fmla="*/ 1422886 h 1656350"/>
              <a:gd name="connsiteX29" fmla="*/ 982494 w 6955277"/>
              <a:gd name="connsiteY29" fmla="*/ 1418022 h 1656350"/>
              <a:gd name="connsiteX30" fmla="*/ 997085 w 6955277"/>
              <a:gd name="connsiteY30" fmla="*/ 1413159 h 1656350"/>
              <a:gd name="connsiteX31" fmla="*/ 1011677 w 6955277"/>
              <a:gd name="connsiteY31" fmla="*/ 1403431 h 1656350"/>
              <a:gd name="connsiteX32" fmla="*/ 1118681 w 6955277"/>
              <a:gd name="connsiteY32" fmla="*/ 1398567 h 1656350"/>
              <a:gd name="connsiteX33" fmla="*/ 1147864 w 6955277"/>
              <a:gd name="connsiteY33" fmla="*/ 1388839 h 1656350"/>
              <a:gd name="connsiteX34" fmla="*/ 1240277 w 6955277"/>
              <a:gd name="connsiteY34" fmla="*/ 1374248 h 1656350"/>
              <a:gd name="connsiteX35" fmla="*/ 1269460 w 6955277"/>
              <a:gd name="connsiteY35" fmla="*/ 1364520 h 1656350"/>
              <a:gd name="connsiteX36" fmla="*/ 1303507 w 6955277"/>
              <a:gd name="connsiteY36" fmla="*/ 1354793 h 1656350"/>
              <a:gd name="connsiteX37" fmla="*/ 1332690 w 6955277"/>
              <a:gd name="connsiteY37" fmla="*/ 1340201 h 1656350"/>
              <a:gd name="connsiteX38" fmla="*/ 1400783 w 6955277"/>
              <a:gd name="connsiteY38" fmla="*/ 1330473 h 1656350"/>
              <a:gd name="connsiteX39" fmla="*/ 1429966 w 6955277"/>
              <a:gd name="connsiteY39" fmla="*/ 1320746 h 1656350"/>
              <a:gd name="connsiteX40" fmla="*/ 1444558 w 6955277"/>
              <a:gd name="connsiteY40" fmla="*/ 1315882 h 1656350"/>
              <a:gd name="connsiteX41" fmla="*/ 1532107 w 6955277"/>
              <a:gd name="connsiteY41" fmla="*/ 1301290 h 1656350"/>
              <a:gd name="connsiteX42" fmla="*/ 1561290 w 6955277"/>
              <a:gd name="connsiteY42" fmla="*/ 1291563 h 1656350"/>
              <a:gd name="connsiteX43" fmla="*/ 1600200 w 6955277"/>
              <a:gd name="connsiteY43" fmla="*/ 1286699 h 1656350"/>
              <a:gd name="connsiteX44" fmla="*/ 1634247 w 6955277"/>
              <a:gd name="connsiteY44" fmla="*/ 1281835 h 1656350"/>
              <a:gd name="connsiteX45" fmla="*/ 1697477 w 6955277"/>
              <a:gd name="connsiteY45" fmla="*/ 1272107 h 1656350"/>
              <a:gd name="connsiteX46" fmla="*/ 1712068 w 6955277"/>
              <a:gd name="connsiteY46" fmla="*/ 1262380 h 1656350"/>
              <a:gd name="connsiteX47" fmla="*/ 1736388 w 6955277"/>
              <a:gd name="connsiteY47" fmla="*/ 1257516 h 1656350"/>
              <a:gd name="connsiteX48" fmla="*/ 1823936 w 6955277"/>
              <a:gd name="connsiteY48" fmla="*/ 1252652 h 1656350"/>
              <a:gd name="connsiteX49" fmla="*/ 1828800 w 6955277"/>
              <a:gd name="connsiteY49" fmla="*/ 1228333 h 1656350"/>
              <a:gd name="connsiteX50" fmla="*/ 1843392 w 6955277"/>
              <a:gd name="connsiteY50" fmla="*/ 1223469 h 1656350"/>
              <a:gd name="connsiteX51" fmla="*/ 1867711 w 6955277"/>
              <a:gd name="connsiteY51" fmla="*/ 1218605 h 1656350"/>
              <a:gd name="connsiteX52" fmla="*/ 1945532 w 6955277"/>
              <a:gd name="connsiteY52" fmla="*/ 1213741 h 1656350"/>
              <a:gd name="connsiteX53" fmla="*/ 2018490 w 6955277"/>
              <a:gd name="connsiteY53" fmla="*/ 1199150 h 1656350"/>
              <a:gd name="connsiteX54" fmla="*/ 2091447 w 6955277"/>
              <a:gd name="connsiteY54" fmla="*/ 1189422 h 1656350"/>
              <a:gd name="connsiteX55" fmla="*/ 2106039 w 6955277"/>
              <a:gd name="connsiteY55" fmla="*/ 1179695 h 1656350"/>
              <a:gd name="connsiteX56" fmla="*/ 2140085 w 6955277"/>
              <a:gd name="connsiteY56" fmla="*/ 1174831 h 1656350"/>
              <a:gd name="connsiteX57" fmla="*/ 2188724 w 6955277"/>
              <a:gd name="connsiteY57" fmla="*/ 1160239 h 1656350"/>
              <a:gd name="connsiteX58" fmla="*/ 2222771 w 6955277"/>
              <a:gd name="connsiteY58" fmla="*/ 1155376 h 1656350"/>
              <a:gd name="connsiteX59" fmla="*/ 2237362 w 6955277"/>
              <a:gd name="connsiteY59" fmla="*/ 1150512 h 1656350"/>
              <a:gd name="connsiteX60" fmla="*/ 2305456 w 6955277"/>
              <a:gd name="connsiteY60" fmla="*/ 1140784 h 1656350"/>
              <a:gd name="connsiteX61" fmla="*/ 2349230 w 6955277"/>
              <a:gd name="connsiteY61" fmla="*/ 1131056 h 1656350"/>
              <a:gd name="connsiteX62" fmla="*/ 2363822 w 6955277"/>
              <a:gd name="connsiteY62" fmla="*/ 1126193 h 1656350"/>
              <a:gd name="connsiteX63" fmla="*/ 2431915 w 6955277"/>
              <a:gd name="connsiteY63" fmla="*/ 1116465 h 1656350"/>
              <a:gd name="connsiteX64" fmla="*/ 2436779 w 6955277"/>
              <a:gd name="connsiteY64" fmla="*/ 1101873 h 1656350"/>
              <a:gd name="connsiteX65" fmla="*/ 2465962 w 6955277"/>
              <a:gd name="connsiteY65" fmla="*/ 1092146 h 1656350"/>
              <a:gd name="connsiteX66" fmla="*/ 2572966 w 6955277"/>
              <a:gd name="connsiteY66" fmla="*/ 1092146 h 1656350"/>
              <a:gd name="connsiteX67" fmla="*/ 2587558 w 6955277"/>
              <a:gd name="connsiteY67" fmla="*/ 1082418 h 1656350"/>
              <a:gd name="connsiteX68" fmla="*/ 2602149 w 6955277"/>
              <a:gd name="connsiteY68" fmla="*/ 1077554 h 1656350"/>
              <a:gd name="connsiteX69" fmla="*/ 2616741 w 6955277"/>
              <a:gd name="connsiteY69" fmla="*/ 1067827 h 1656350"/>
              <a:gd name="connsiteX70" fmla="*/ 2645924 w 6955277"/>
              <a:gd name="connsiteY70" fmla="*/ 1062963 h 1656350"/>
              <a:gd name="connsiteX71" fmla="*/ 2704290 w 6955277"/>
              <a:gd name="connsiteY71" fmla="*/ 1043507 h 1656350"/>
              <a:gd name="connsiteX72" fmla="*/ 2718881 w 6955277"/>
              <a:gd name="connsiteY72" fmla="*/ 1038644 h 1656350"/>
              <a:gd name="connsiteX73" fmla="*/ 2733473 w 6955277"/>
              <a:gd name="connsiteY73" fmla="*/ 1033780 h 1656350"/>
              <a:gd name="connsiteX74" fmla="*/ 2752928 w 6955277"/>
              <a:gd name="connsiteY74" fmla="*/ 1028916 h 1656350"/>
              <a:gd name="connsiteX75" fmla="*/ 2777247 w 6955277"/>
              <a:gd name="connsiteY75" fmla="*/ 1024052 h 1656350"/>
              <a:gd name="connsiteX76" fmla="*/ 2830749 w 6955277"/>
              <a:gd name="connsiteY76" fmla="*/ 1019188 h 1656350"/>
              <a:gd name="connsiteX77" fmla="*/ 2864796 w 6955277"/>
              <a:gd name="connsiteY77" fmla="*/ 1014324 h 1656350"/>
              <a:gd name="connsiteX78" fmla="*/ 2879388 w 6955277"/>
              <a:gd name="connsiteY78" fmla="*/ 1009461 h 1656350"/>
              <a:gd name="connsiteX79" fmla="*/ 2898843 w 6955277"/>
              <a:gd name="connsiteY79" fmla="*/ 1004597 h 1656350"/>
              <a:gd name="connsiteX80" fmla="*/ 2913434 w 6955277"/>
              <a:gd name="connsiteY80" fmla="*/ 994869 h 1656350"/>
              <a:gd name="connsiteX81" fmla="*/ 2981528 w 6955277"/>
              <a:gd name="connsiteY81" fmla="*/ 985141 h 1656350"/>
              <a:gd name="connsiteX82" fmla="*/ 2986392 w 6955277"/>
              <a:gd name="connsiteY82" fmla="*/ 970550 h 1656350"/>
              <a:gd name="connsiteX83" fmla="*/ 3059349 w 6955277"/>
              <a:gd name="connsiteY83" fmla="*/ 965686 h 1656350"/>
              <a:gd name="connsiteX84" fmla="*/ 3107988 w 6955277"/>
              <a:gd name="connsiteY84" fmla="*/ 960822 h 1656350"/>
              <a:gd name="connsiteX85" fmla="*/ 3185809 w 6955277"/>
              <a:gd name="connsiteY85" fmla="*/ 951095 h 1656350"/>
              <a:gd name="connsiteX86" fmla="*/ 3229583 w 6955277"/>
              <a:gd name="connsiteY86" fmla="*/ 946231 h 1656350"/>
              <a:gd name="connsiteX87" fmla="*/ 3263630 w 6955277"/>
              <a:gd name="connsiteY87" fmla="*/ 936503 h 1656350"/>
              <a:gd name="connsiteX88" fmla="*/ 3302541 w 6955277"/>
              <a:gd name="connsiteY88" fmla="*/ 931639 h 1656350"/>
              <a:gd name="connsiteX89" fmla="*/ 3317132 w 6955277"/>
              <a:gd name="connsiteY89" fmla="*/ 926776 h 1656350"/>
              <a:gd name="connsiteX90" fmla="*/ 3321996 w 6955277"/>
              <a:gd name="connsiteY90" fmla="*/ 912184 h 1656350"/>
              <a:gd name="connsiteX91" fmla="*/ 3433864 w 6955277"/>
              <a:gd name="connsiteY91" fmla="*/ 907320 h 1656350"/>
              <a:gd name="connsiteX92" fmla="*/ 3438728 w 6955277"/>
              <a:gd name="connsiteY92" fmla="*/ 892729 h 1656350"/>
              <a:gd name="connsiteX93" fmla="*/ 3453319 w 6955277"/>
              <a:gd name="connsiteY93" fmla="*/ 883001 h 1656350"/>
              <a:gd name="connsiteX94" fmla="*/ 3540868 w 6955277"/>
              <a:gd name="connsiteY94" fmla="*/ 878137 h 1656350"/>
              <a:gd name="connsiteX95" fmla="*/ 3560324 w 6955277"/>
              <a:gd name="connsiteY95" fmla="*/ 873273 h 1656350"/>
              <a:gd name="connsiteX96" fmla="*/ 3589507 w 6955277"/>
              <a:gd name="connsiteY96" fmla="*/ 863546 h 1656350"/>
              <a:gd name="connsiteX97" fmla="*/ 3618690 w 6955277"/>
              <a:gd name="connsiteY97" fmla="*/ 858682 h 1656350"/>
              <a:gd name="connsiteX98" fmla="*/ 3715966 w 6955277"/>
              <a:gd name="connsiteY98" fmla="*/ 844090 h 1656350"/>
              <a:gd name="connsiteX99" fmla="*/ 3745149 w 6955277"/>
              <a:gd name="connsiteY99" fmla="*/ 834363 h 1656350"/>
              <a:gd name="connsiteX100" fmla="*/ 3750013 w 6955277"/>
              <a:gd name="connsiteY100" fmla="*/ 819771 h 1656350"/>
              <a:gd name="connsiteX101" fmla="*/ 3764605 w 6955277"/>
              <a:gd name="connsiteY101" fmla="*/ 814907 h 1656350"/>
              <a:gd name="connsiteX102" fmla="*/ 3798651 w 6955277"/>
              <a:gd name="connsiteY102" fmla="*/ 810044 h 1656350"/>
              <a:gd name="connsiteX103" fmla="*/ 3822971 w 6955277"/>
              <a:gd name="connsiteY103" fmla="*/ 805180 h 1656350"/>
              <a:gd name="connsiteX104" fmla="*/ 3852154 w 6955277"/>
              <a:gd name="connsiteY104" fmla="*/ 795452 h 1656350"/>
              <a:gd name="connsiteX105" fmla="*/ 3915383 w 6955277"/>
              <a:gd name="connsiteY105" fmla="*/ 790588 h 1656350"/>
              <a:gd name="connsiteX106" fmla="*/ 3959158 w 6955277"/>
              <a:gd name="connsiteY106" fmla="*/ 785724 h 1656350"/>
              <a:gd name="connsiteX107" fmla="*/ 3964022 w 6955277"/>
              <a:gd name="connsiteY107" fmla="*/ 771133 h 1656350"/>
              <a:gd name="connsiteX108" fmla="*/ 3993205 w 6955277"/>
              <a:gd name="connsiteY108" fmla="*/ 761405 h 1656350"/>
              <a:gd name="connsiteX109" fmla="*/ 4017524 w 6955277"/>
              <a:gd name="connsiteY109" fmla="*/ 756541 h 1656350"/>
              <a:gd name="connsiteX110" fmla="*/ 4036979 w 6955277"/>
              <a:gd name="connsiteY110" fmla="*/ 751678 h 1656350"/>
              <a:gd name="connsiteX111" fmla="*/ 4075890 w 6955277"/>
              <a:gd name="connsiteY111" fmla="*/ 746814 h 1656350"/>
              <a:gd name="connsiteX112" fmla="*/ 4095345 w 6955277"/>
              <a:gd name="connsiteY112" fmla="*/ 741950 h 1656350"/>
              <a:gd name="connsiteX113" fmla="*/ 4158575 w 6955277"/>
              <a:gd name="connsiteY113" fmla="*/ 727359 h 1656350"/>
              <a:gd name="connsiteX114" fmla="*/ 4173166 w 6955277"/>
              <a:gd name="connsiteY114" fmla="*/ 722495 h 1656350"/>
              <a:gd name="connsiteX115" fmla="*/ 4187758 w 6955277"/>
              <a:gd name="connsiteY115" fmla="*/ 712767 h 1656350"/>
              <a:gd name="connsiteX116" fmla="*/ 4265579 w 6955277"/>
              <a:gd name="connsiteY116" fmla="*/ 707903 h 1656350"/>
              <a:gd name="connsiteX117" fmla="*/ 4275307 w 6955277"/>
              <a:gd name="connsiteY117" fmla="*/ 693312 h 1656350"/>
              <a:gd name="connsiteX118" fmla="*/ 4421222 w 6955277"/>
              <a:gd name="connsiteY118" fmla="*/ 678720 h 1656350"/>
              <a:gd name="connsiteX119" fmla="*/ 4440677 w 6955277"/>
              <a:gd name="connsiteY119" fmla="*/ 668993 h 1656350"/>
              <a:gd name="connsiteX120" fmla="*/ 4557409 w 6955277"/>
              <a:gd name="connsiteY120" fmla="*/ 659265 h 1656350"/>
              <a:gd name="connsiteX121" fmla="*/ 4576863 w 6955277"/>
              <a:gd name="connsiteY121" fmla="*/ 639809 h 1656350"/>
              <a:gd name="connsiteX122" fmla="*/ 4586592 w 6955277"/>
              <a:gd name="connsiteY122" fmla="*/ 625218 h 1656350"/>
              <a:gd name="connsiteX123" fmla="*/ 4635230 w 6955277"/>
              <a:gd name="connsiteY123" fmla="*/ 634946 h 1656350"/>
              <a:gd name="connsiteX124" fmla="*/ 4669277 w 6955277"/>
              <a:gd name="connsiteY124" fmla="*/ 630082 h 1656350"/>
              <a:gd name="connsiteX125" fmla="*/ 4703324 w 6955277"/>
              <a:gd name="connsiteY125" fmla="*/ 610627 h 1656350"/>
              <a:gd name="connsiteX126" fmla="*/ 4732507 w 6955277"/>
              <a:gd name="connsiteY126" fmla="*/ 605763 h 1656350"/>
              <a:gd name="connsiteX127" fmla="*/ 4790873 w 6955277"/>
              <a:gd name="connsiteY127" fmla="*/ 591171 h 1656350"/>
              <a:gd name="connsiteX128" fmla="*/ 4829783 w 6955277"/>
              <a:gd name="connsiteY128" fmla="*/ 571716 h 1656350"/>
              <a:gd name="connsiteX129" fmla="*/ 4912468 w 6955277"/>
              <a:gd name="connsiteY129" fmla="*/ 552261 h 1656350"/>
              <a:gd name="connsiteX130" fmla="*/ 4990290 w 6955277"/>
              <a:gd name="connsiteY130" fmla="*/ 552261 h 1656350"/>
              <a:gd name="connsiteX131" fmla="*/ 5009745 w 6955277"/>
              <a:gd name="connsiteY131" fmla="*/ 523078 h 1656350"/>
              <a:gd name="connsiteX132" fmla="*/ 5024336 w 6955277"/>
              <a:gd name="connsiteY132" fmla="*/ 513350 h 1656350"/>
              <a:gd name="connsiteX133" fmla="*/ 5058383 w 6955277"/>
              <a:gd name="connsiteY133" fmla="*/ 503622 h 1656350"/>
              <a:gd name="connsiteX134" fmla="*/ 5072975 w 6955277"/>
              <a:gd name="connsiteY134" fmla="*/ 498759 h 1656350"/>
              <a:gd name="connsiteX135" fmla="*/ 5087566 w 6955277"/>
              <a:gd name="connsiteY135" fmla="*/ 489031 h 1656350"/>
              <a:gd name="connsiteX136" fmla="*/ 5136205 w 6955277"/>
              <a:gd name="connsiteY136" fmla="*/ 474439 h 1656350"/>
              <a:gd name="connsiteX137" fmla="*/ 5150796 w 6955277"/>
              <a:gd name="connsiteY137" fmla="*/ 469576 h 1656350"/>
              <a:gd name="connsiteX138" fmla="*/ 5179979 w 6955277"/>
              <a:gd name="connsiteY138" fmla="*/ 464712 h 1656350"/>
              <a:gd name="connsiteX139" fmla="*/ 5194571 w 6955277"/>
              <a:gd name="connsiteY139" fmla="*/ 459848 h 1656350"/>
              <a:gd name="connsiteX140" fmla="*/ 5267528 w 6955277"/>
              <a:gd name="connsiteY140" fmla="*/ 454984 h 1656350"/>
              <a:gd name="connsiteX141" fmla="*/ 5301575 w 6955277"/>
              <a:gd name="connsiteY141" fmla="*/ 450120 h 1656350"/>
              <a:gd name="connsiteX142" fmla="*/ 5321030 w 6955277"/>
              <a:gd name="connsiteY142" fmla="*/ 445256 h 1656350"/>
              <a:gd name="connsiteX143" fmla="*/ 5369668 w 6955277"/>
              <a:gd name="connsiteY143" fmla="*/ 440393 h 1656350"/>
              <a:gd name="connsiteX144" fmla="*/ 5437762 w 6955277"/>
              <a:gd name="connsiteY144" fmla="*/ 430665 h 1656350"/>
              <a:gd name="connsiteX145" fmla="*/ 5466945 w 6955277"/>
              <a:gd name="connsiteY145" fmla="*/ 425801 h 1656350"/>
              <a:gd name="connsiteX146" fmla="*/ 5500992 w 6955277"/>
              <a:gd name="connsiteY146" fmla="*/ 416073 h 1656350"/>
              <a:gd name="connsiteX147" fmla="*/ 5515583 w 6955277"/>
              <a:gd name="connsiteY147" fmla="*/ 411210 h 1656350"/>
              <a:gd name="connsiteX148" fmla="*/ 5564222 w 6955277"/>
              <a:gd name="connsiteY148" fmla="*/ 411211 h 1656350"/>
              <a:gd name="connsiteX149" fmla="*/ 5637179 w 6955277"/>
              <a:gd name="connsiteY149" fmla="*/ 386891 h 1656350"/>
              <a:gd name="connsiteX150" fmla="*/ 5666362 w 6955277"/>
              <a:gd name="connsiteY150" fmla="*/ 391754 h 1656350"/>
              <a:gd name="connsiteX151" fmla="*/ 5685817 w 6955277"/>
              <a:gd name="connsiteY151" fmla="*/ 382027 h 1656350"/>
              <a:gd name="connsiteX152" fmla="*/ 5724728 w 6955277"/>
              <a:gd name="connsiteY152" fmla="*/ 377163 h 1656350"/>
              <a:gd name="connsiteX153" fmla="*/ 5729592 w 6955277"/>
              <a:gd name="connsiteY153" fmla="*/ 362571 h 1656350"/>
              <a:gd name="connsiteX154" fmla="*/ 5744183 w 6955277"/>
              <a:gd name="connsiteY154" fmla="*/ 357707 h 1656350"/>
              <a:gd name="connsiteX155" fmla="*/ 5783094 w 6955277"/>
              <a:gd name="connsiteY155" fmla="*/ 352844 h 1656350"/>
              <a:gd name="connsiteX156" fmla="*/ 5812277 w 6955277"/>
              <a:gd name="connsiteY156" fmla="*/ 338252 h 1656350"/>
              <a:gd name="connsiteX157" fmla="*/ 5841460 w 6955277"/>
              <a:gd name="connsiteY157" fmla="*/ 328524 h 1656350"/>
              <a:gd name="connsiteX158" fmla="*/ 5885234 w 6955277"/>
              <a:gd name="connsiteY158" fmla="*/ 318797 h 1656350"/>
              <a:gd name="connsiteX159" fmla="*/ 5899826 w 6955277"/>
              <a:gd name="connsiteY159" fmla="*/ 309069 h 1656350"/>
              <a:gd name="connsiteX160" fmla="*/ 5997102 w 6955277"/>
              <a:gd name="connsiteY160" fmla="*/ 299341 h 1656350"/>
              <a:gd name="connsiteX161" fmla="*/ 6040877 w 6955277"/>
              <a:gd name="connsiteY161" fmla="*/ 284750 h 1656350"/>
              <a:gd name="connsiteX162" fmla="*/ 6055468 w 6955277"/>
              <a:gd name="connsiteY162" fmla="*/ 275022 h 1656350"/>
              <a:gd name="connsiteX163" fmla="*/ 6079788 w 6955277"/>
              <a:gd name="connsiteY163" fmla="*/ 270159 h 1656350"/>
              <a:gd name="connsiteX164" fmla="*/ 6128426 w 6955277"/>
              <a:gd name="connsiteY164" fmla="*/ 265295 h 1656350"/>
              <a:gd name="connsiteX165" fmla="*/ 6167336 w 6955277"/>
              <a:gd name="connsiteY165" fmla="*/ 260431 h 1656350"/>
              <a:gd name="connsiteX166" fmla="*/ 6206247 w 6955277"/>
              <a:gd name="connsiteY166" fmla="*/ 250703 h 1656350"/>
              <a:gd name="connsiteX167" fmla="*/ 6220839 w 6955277"/>
              <a:gd name="connsiteY167" fmla="*/ 240976 h 1656350"/>
              <a:gd name="connsiteX168" fmla="*/ 6274341 w 6955277"/>
              <a:gd name="connsiteY168" fmla="*/ 236112 h 1656350"/>
              <a:gd name="connsiteX169" fmla="*/ 6395936 w 6955277"/>
              <a:gd name="connsiteY169" fmla="*/ 221520 h 1656350"/>
              <a:gd name="connsiteX170" fmla="*/ 6410528 w 6955277"/>
              <a:gd name="connsiteY170" fmla="*/ 192337 h 1656350"/>
              <a:gd name="connsiteX171" fmla="*/ 6439711 w 6955277"/>
              <a:gd name="connsiteY171" fmla="*/ 187473 h 1656350"/>
              <a:gd name="connsiteX172" fmla="*/ 6488349 w 6955277"/>
              <a:gd name="connsiteY172" fmla="*/ 182610 h 1656350"/>
              <a:gd name="connsiteX173" fmla="*/ 6507805 w 6955277"/>
              <a:gd name="connsiteY173" fmla="*/ 177746 h 1656350"/>
              <a:gd name="connsiteX174" fmla="*/ 6522396 w 6955277"/>
              <a:gd name="connsiteY174" fmla="*/ 172882 h 1656350"/>
              <a:gd name="connsiteX175" fmla="*/ 6561307 w 6955277"/>
              <a:gd name="connsiteY175" fmla="*/ 163154 h 1656350"/>
              <a:gd name="connsiteX176" fmla="*/ 6566171 w 6955277"/>
              <a:gd name="connsiteY176" fmla="*/ 148563 h 1656350"/>
              <a:gd name="connsiteX177" fmla="*/ 6580762 w 6955277"/>
              <a:gd name="connsiteY177" fmla="*/ 143699 h 1656350"/>
              <a:gd name="connsiteX178" fmla="*/ 6605081 w 6955277"/>
              <a:gd name="connsiteY178" fmla="*/ 138835 h 1656350"/>
              <a:gd name="connsiteX179" fmla="*/ 6639128 w 6955277"/>
              <a:gd name="connsiteY179" fmla="*/ 119380 h 1656350"/>
              <a:gd name="connsiteX180" fmla="*/ 6643992 w 6955277"/>
              <a:gd name="connsiteY180" fmla="*/ 99924 h 1656350"/>
              <a:gd name="connsiteX181" fmla="*/ 6780179 w 6955277"/>
              <a:gd name="connsiteY181" fmla="*/ 99924 h 1656350"/>
              <a:gd name="connsiteX182" fmla="*/ 6785043 w 6955277"/>
              <a:gd name="connsiteY182" fmla="*/ 65878 h 1656350"/>
              <a:gd name="connsiteX183" fmla="*/ 6809362 w 6955277"/>
              <a:gd name="connsiteY183" fmla="*/ 61014 h 1656350"/>
              <a:gd name="connsiteX184" fmla="*/ 6828817 w 6955277"/>
              <a:gd name="connsiteY184" fmla="*/ 56150 h 1656350"/>
              <a:gd name="connsiteX185" fmla="*/ 6955277 w 6955277"/>
              <a:gd name="connsiteY185" fmla="*/ 2647 h 1656350"/>
              <a:gd name="connsiteX0" fmla="*/ 0 w 6955277"/>
              <a:gd name="connsiteY0" fmla="*/ 1656350 h 1656350"/>
              <a:gd name="connsiteX1" fmla="*/ 48639 w 6955277"/>
              <a:gd name="connsiteY1" fmla="*/ 1646622 h 1656350"/>
              <a:gd name="connsiteX2" fmla="*/ 77822 w 6955277"/>
              <a:gd name="connsiteY2" fmla="*/ 1632031 h 1656350"/>
              <a:gd name="connsiteX3" fmla="*/ 141051 w 6955277"/>
              <a:gd name="connsiteY3" fmla="*/ 1627167 h 1656350"/>
              <a:gd name="connsiteX4" fmla="*/ 170234 w 6955277"/>
              <a:gd name="connsiteY4" fmla="*/ 1602848 h 1656350"/>
              <a:gd name="connsiteX5" fmla="*/ 184826 w 6955277"/>
              <a:gd name="connsiteY5" fmla="*/ 1593120 h 1656350"/>
              <a:gd name="connsiteX6" fmla="*/ 238328 w 6955277"/>
              <a:gd name="connsiteY6" fmla="*/ 1593120 h 1656350"/>
              <a:gd name="connsiteX7" fmla="*/ 252919 w 6955277"/>
              <a:gd name="connsiteY7" fmla="*/ 1583393 h 1656350"/>
              <a:gd name="connsiteX8" fmla="*/ 301558 w 6955277"/>
              <a:gd name="connsiteY8" fmla="*/ 1578529 h 1656350"/>
              <a:gd name="connsiteX9" fmla="*/ 321013 w 6955277"/>
              <a:gd name="connsiteY9" fmla="*/ 1568801 h 1656350"/>
              <a:gd name="connsiteX10" fmla="*/ 369651 w 6955277"/>
              <a:gd name="connsiteY10" fmla="*/ 1549346 h 1656350"/>
              <a:gd name="connsiteX11" fmla="*/ 418290 w 6955277"/>
              <a:gd name="connsiteY11" fmla="*/ 1549346 h 1656350"/>
              <a:gd name="connsiteX12" fmla="*/ 432881 w 6955277"/>
              <a:gd name="connsiteY12" fmla="*/ 1534754 h 1656350"/>
              <a:gd name="connsiteX13" fmla="*/ 447473 w 6955277"/>
              <a:gd name="connsiteY13" fmla="*/ 1529890 h 1656350"/>
              <a:gd name="connsiteX14" fmla="*/ 515566 w 6955277"/>
              <a:gd name="connsiteY14" fmla="*/ 1529890 h 1656350"/>
              <a:gd name="connsiteX15" fmla="*/ 520430 w 6955277"/>
              <a:gd name="connsiteY15" fmla="*/ 1510435 h 1656350"/>
              <a:gd name="connsiteX16" fmla="*/ 612843 w 6955277"/>
              <a:gd name="connsiteY16" fmla="*/ 1510435 h 1656350"/>
              <a:gd name="connsiteX17" fmla="*/ 617707 w 6955277"/>
              <a:gd name="connsiteY17" fmla="*/ 1495844 h 1656350"/>
              <a:gd name="connsiteX18" fmla="*/ 666345 w 6955277"/>
              <a:gd name="connsiteY18" fmla="*/ 1490980 h 1656350"/>
              <a:gd name="connsiteX19" fmla="*/ 695528 w 6955277"/>
              <a:gd name="connsiteY19" fmla="*/ 1495844 h 1656350"/>
              <a:gd name="connsiteX20" fmla="*/ 753894 w 6955277"/>
              <a:gd name="connsiteY20" fmla="*/ 1486116 h 1656350"/>
              <a:gd name="connsiteX21" fmla="*/ 787941 w 6955277"/>
              <a:gd name="connsiteY21" fmla="*/ 1481252 h 1656350"/>
              <a:gd name="connsiteX22" fmla="*/ 792805 w 6955277"/>
              <a:gd name="connsiteY22" fmla="*/ 1466661 h 1656350"/>
              <a:gd name="connsiteX23" fmla="*/ 836579 w 6955277"/>
              <a:gd name="connsiteY23" fmla="*/ 1461797 h 1656350"/>
              <a:gd name="connsiteX24" fmla="*/ 851171 w 6955277"/>
              <a:gd name="connsiteY24" fmla="*/ 1456933 h 1656350"/>
              <a:gd name="connsiteX25" fmla="*/ 875490 w 6955277"/>
              <a:gd name="connsiteY25" fmla="*/ 1452069 h 1656350"/>
              <a:gd name="connsiteX26" fmla="*/ 894945 w 6955277"/>
              <a:gd name="connsiteY26" fmla="*/ 1447205 h 1656350"/>
              <a:gd name="connsiteX27" fmla="*/ 924128 w 6955277"/>
              <a:gd name="connsiteY27" fmla="*/ 1437478 h 1656350"/>
              <a:gd name="connsiteX28" fmla="*/ 933856 w 6955277"/>
              <a:gd name="connsiteY28" fmla="*/ 1422886 h 1656350"/>
              <a:gd name="connsiteX29" fmla="*/ 982494 w 6955277"/>
              <a:gd name="connsiteY29" fmla="*/ 1418022 h 1656350"/>
              <a:gd name="connsiteX30" fmla="*/ 997085 w 6955277"/>
              <a:gd name="connsiteY30" fmla="*/ 1413159 h 1656350"/>
              <a:gd name="connsiteX31" fmla="*/ 1011677 w 6955277"/>
              <a:gd name="connsiteY31" fmla="*/ 1403431 h 1656350"/>
              <a:gd name="connsiteX32" fmla="*/ 1118681 w 6955277"/>
              <a:gd name="connsiteY32" fmla="*/ 1398567 h 1656350"/>
              <a:gd name="connsiteX33" fmla="*/ 1147864 w 6955277"/>
              <a:gd name="connsiteY33" fmla="*/ 1388839 h 1656350"/>
              <a:gd name="connsiteX34" fmla="*/ 1240277 w 6955277"/>
              <a:gd name="connsiteY34" fmla="*/ 1374248 h 1656350"/>
              <a:gd name="connsiteX35" fmla="*/ 1269460 w 6955277"/>
              <a:gd name="connsiteY35" fmla="*/ 1364520 h 1656350"/>
              <a:gd name="connsiteX36" fmla="*/ 1303507 w 6955277"/>
              <a:gd name="connsiteY36" fmla="*/ 1354793 h 1656350"/>
              <a:gd name="connsiteX37" fmla="*/ 1332690 w 6955277"/>
              <a:gd name="connsiteY37" fmla="*/ 1340201 h 1656350"/>
              <a:gd name="connsiteX38" fmla="*/ 1400783 w 6955277"/>
              <a:gd name="connsiteY38" fmla="*/ 1330473 h 1656350"/>
              <a:gd name="connsiteX39" fmla="*/ 1429966 w 6955277"/>
              <a:gd name="connsiteY39" fmla="*/ 1320746 h 1656350"/>
              <a:gd name="connsiteX40" fmla="*/ 1444558 w 6955277"/>
              <a:gd name="connsiteY40" fmla="*/ 1315882 h 1656350"/>
              <a:gd name="connsiteX41" fmla="*/ 1532107 w 6955277"/>
              <a:gd name="connsiteY41" fmla="*/ 1301290 h 1656350"/>
              <a:gd name="connsiteX42" fmla="*/ 1561290 w 6955277"/>
              <a:gd name="connsiteY42" fmla="*/ 1291563 h 1656350"/>
              <a:gd name="connsiteX43" fmla="*/ 1600200 w 6955277"/>
              <a:gd name="connsiteY43" fmla="*/ 1286699 h 1656350"/>
              <a:gd name="connsiteX44" fmla="*/ 1634247 w 6955277"/>
              <a:gd name="connsiteY44" fmla="*/ 1281835 h 1656350"/>
              <a:gd name="connsiteX45" fmla="*/ 1697477 w 6955277"/>
              <a:gd name="connsiteY45" fmla="*/ 1272107 h 1656350"/>
              <a:gd name="connsiteX46" fmla="*/ 1712068 w 6955277"/>
              <a:gd name="connsiteY46" fmla="*/ 1262380 h 1656350"/>
              <a:gd name="connsiteX47" fmla="*/ 1736388 w 6955277"/>
              <a:gd name="connsiteY47" fmla="*/ 1257516 h 1656350"/>
              <a:gd name="connsiteX48" fmla="*/ 1823936 w 6955277"/>
              <a:gd name="connsiteY48" fmla="*/ 1252652 h 1656350"/>
              <a:gd name="connsiteX49" fmla="*/ 1828800 w 6955277"/>
              <a:gd name="connsiteY49" fmla="*/ 1228333 h 1656350"/>
              <a:gd name="connsiteX50" fmla="*/ 1843392 w 6955277"/>
              <a:gd name="connsiteY50" fmla="*/ 1223469 h 1656350"/>
              <a:gd name="connsiteX51" fmla="*/ 1867711 w 6955277"/>
              <a:gd name="connsiteY51" fmla="*/ 1218605 h 1656350"/>
              <a:gd name="connsiteX52" fmla="*/ 1945532 w 6955277"/>
              <a:gd name="connsiteY52" fmla="*/ 1213741 h 1656350"/>
              <a:gd name="connsiteX53" fmla="*/ 2018490 w 6955277"/>
              <a:gd name="connsiteY53" fmla="*/ 1199150 h 1656350"/>
              <a:gd name="connsiteX54" fmla="*/ 2091447 w 6955277"/>
              <a:gd name="connsiteY54" fmla="*/ 1189422 h 1656350"/>
              <a:gd name="connsiteX55" fmla="*/ 2106039 w 6955277"/>
              <a:gd name="connsiteY55" fmla="*/ 1179695 h 1656350"/>
              <a:gd name="connsiteX56" fmla="*/ 2140085 w 6955277"/>
              <a:gd name="connsiteY56" fmla="*/ 1174831 h 1656350"/>
              <a:gd name="connsiteX57" fmla="*/ 2188724 w 6955277"/>
              <a:gd name="connsiteY57" fmla="*/ 1160239 h 1656350"/>
              <a:gd name="connsiteX58" fmla="*/ 2222771 w 6955277"/>
              <a:gd name="connsiteY58" fmla="*/ 1155376 h 1656350"/>
              <a:gd name="connsiteX59" fmla="*/ 2237362 w 6955277"/>
              <a:gd name="connsiteY59" fmla="*/ 1150512 h 1656350"/>
              <a:gd name="connsiteX60" fmla="*/ 2305456 w 6955277"/>
              <a:gd name="connsiteY60" fmla="*/ 1140784 h 1656350"/>
              <a:gd name="connsiteX61" fmla="*/ 2349230 w 6955277"/>
              <a:gd name="connsiteY61" fmla="*/ 1131056 h 1656350"/>
              <a:gd name="connsiteX62" fmla="*/ 2363822 w 6955277"/>
              <a:gd name="connsiteY62" fmla="*/ 1126193 h 1656350"/>
              <a:gd name="connsiteX63" fmla="*/ 2431915 w 6955277"/>
              <a:gd name="connsiteY63" fmla="*/ 1116465 h 1656350"/>
              <a:gd name="connsiteX64" fmla="*/ 2436779 w 6955277"/>
              <a:gd name="connsiteY64" fmla="*/ 1101873 h 1656350"/>
              <a:gd name="connsiteX65" fmla="*/ 2465962 w 6955277"/>
              <a:gd name="connsiteY65" fmla="*/ 1092146 h 1656350"/>
              <a:gd name="connsiteX66" fmla="*/ 2572966 w 6955277"/>
              <a:gd name="connsiteY66" fmla="*/ 1092146 h 1656350"/>
              <a:gd name="connsiteX67" fmla="*/ 2587558 w 6955277"/>
              <a:gd name="connsiteY67" fmla="*/ 1082418 h 1656350"/>
              <a:gd name="connsiteX68" fmla="*/ 2602149 w 6955277"/>
              <a:gd name="connsiteY68" fmla="*/ 1077554 h 1656350"/>
              <a:gd name="connsiteX69" fmla="*/ 2616741 w 6955277"/>
              <a:gd name="connsiteY69" fmla="*/ 1067827 h 1656350"/>
              <a:gd name="connsiteX70" fmla="*/ 2645924 w 6955277"/>
              <a:gd name="connsiteY70" fmla="*/ 1062963 h 1656350"/>
              <a:gd name="connsiteX71" fmla="*/ 2704290 w 6955277"/>
              <a:gd name="connsiteY71" fmla="*/ 1043507 h 1656350"/>
              <a:gd name="connsiteX72" fmla="*/ 2718881 w 6955277"/>
              <a:gd name="connsiteY72" fmla="*/ 1038644 h 1656350"/>
              <a:gd name="connsiteX73" fmla="*/ 2733473 w 6955277"/>
              <a:gd name="connsiteY73" fmla="*/ 1033780 h 1656350"/>
              <a:gd name="connsiteX74" fmla="*/ 2752928 w 6955277"/>
              <a:gd name="connsiteY74" fmla="*/ 1028916 h 1656350"/>
              <a:gd name="connsiteX75" fmla="*/ 2777247 w 6955277"/>
              <a:gd name="connsiteY75" fmla="*/ 1024052 h 1656350"/>
              <a:gd name="connsiteX76" fmla="*/ 2830749 w 6955277"/>
              <a:gd name="connsiteY76" fmla="*/ 1019188 h 1656350"/>
              <a:gd name="connsiteX77" fmla="*/ 2864796 w 6955277"/>
              <a:gd name="connsiteY77" fmla="*/ 1014324 h 1656350"/>
              <a:gd name="connsiteX78" fmla="*/ 2879388 w 6955277"/>
              <a:gd name="connsiteY78" fmla="*/ 1009461 h 1656350"/>
              <a:gd name="connsiteX79" fmla="*/ 2898843 w 6955277"/>
              <a:gd name="connsiteY79" fmla="*/ 1004597 h 1656350"/>
              <a:gd name="connsiteX80" fmla="*/ 2913434 w 6955277"/>
              <a:gd name="connsiteY80" fmla="*/ 994869 h 1656350"/>
              <a:gd name="connsiteX81" fmla="*/ 2981528 w 6955277"/>
              <a:gd name="connsiteY81" fmla="*/ 985141 h 1656350"/>
              <a:gd name="connsiteX82" fmla="*/ 2986392 w 6955277"/>
              <a:gd name="connsiteY82" fmla="*/ 970550 h 1656350"/>
              <a:gd name="connsiteX83" fmla="*/ 3059349 w 6955277"/>
              <a:gd name="connsiteY83" fmla="*/ 965686 h 1656350"/>
              <a:gd name="connsiteX84" fmla="*/ 3107988 w 6955277"/>
              <a:gd name="connsiteY84" fmla="*/ 960822 h 1656350"/>
              <a:gd name="connsiteX85" fmla="*/ 3185809 w 6955277"/>
              <a:gd name="connsiteY85" fmla="*/ 951095 h 1656350"/>
              <a:gd name="connsiteX86" fmla="*/ 3229583 w 6955277"/>
              <a:gd name="connsiteY86" fmla="*/ 946231 h 1656350"/>
              <a:gd name="connsiteX87" fmla="*/ 3263630 w 6955277"/>
              <a:gd name="connsiteY87" fmla="*/ 936503 h 1656350"/>
              <a:gd name="connsiteX88" fmla="*/ 3302541 w 6955277"/>
              <a:gd name="connsiteY88" fmla="*/ 931639 h 1656350"/>
              <a:gd name="connsiteX89" fmla="*/ 3317132 w 6955277"/>
              <a:gd name="connsiteY89" fmla="*/ 926776 h 1656350"/>
              <a:gd name="connsiteX90" fmla="*/ 3321996 w 6955277"/>
              <a:gd name="connsiteY90" fmla="*/ 912184 h 1656350"/>
              <a:gd name="connsiteX91" fmla="*/ 3433864 w 6955277"/>
              <a:gd name="connsiteY91" fmla="*/ 907320 h 1656350"/>
              <a:gd name="connsiteX92" fmla="*/ 3438728 w 6955277"/>
              <a:gd name="connsiteY92" fmla="*/ 892729 h 1656350"/>
              <a:gd name="connsiteX93" fmla="*/ 3453319 w 6955277"/>
              <a:gd name="connsiteY93" fmla="*/ 883001 h 1656350"/>
              <a:gd name="connsiteX94" fmla="*/ 3540868 w 6955277"/>
              <a:gd name="connsiteY94" fmla="*/ 878137 h 1656350"/>
              <a:gd name="connsiteX95" fmla="*/ 3560324 w 6955277"/>
              <a:gd name="connsiteY95" fmla="*/ 873273 h 1656350"/>
              <a:gd name="connsiteX96" fmla="*/ 3589507 w 6955277"/>
              <a:gd name="connsiteY96" fmla="*/ 863546 h 1656350"/>
              <a:gd name="connsiteX97" fmla="*/ 3618690 w 6955277"/>
              <a:gd name="connsiteY97" fmla="*/ 858682 h 1656350"/>
              <a:gd name="connsiteX98" fmla="*/ 3715966 w 6955277"/>
              <a:gd name="connsiteY98" fmla="*/ 844090 h 1656350"/>
              <a:gd name="connsiteX99" fmla="*/ 3745149 w 6955277"/>
              <a:gd name="connsiteY99" fmla="*/ 834363 h 1656350"/>
              <a:gd name="connsiteX100" fmla="*/ 3750013 w 6955277"/>
              <a:gd name="connsiteY100" fmla="*/ 819771 h 1656350"/>
              <a:gd name="connsiteX101" fmla="*/ 3764605 w 6955277"/>
              <a:gd name="connsiteY101" fmla="*/ 814907 h 1656350"/>
              <a:gd name="connsiteX102" fmla="*/ 3798651 w 6955277"/>
              <a:gd name="connsiteY102" fmla="*/ 810044 h 1656350"/>
              <a:gd name="connsiteX103" fmla="*/ 3822971 w 6955277"/>
              <a:gd name="connsiteY103" fmla="*/ 805180 h 1656350"/>
              <a:gd name="connsiteX104" fmla="*/ 3852154 w 6955277"/>
              <a:gd name="connsiteY104" fmla="*/ 795452 h 1656350"/>
              <a:gd name="connsiteX105" fmla="*/ 3915383 w 6955277"/>
              <a:gd name="connsiteY105" fmla="*/ 790588 h 1656350"/>
              <a:gd name="connsiteX106" fmla="*/ 3959158 w 6955277"/>
              <a:gd name="connsiteY106" fmla="*/ 785724 h 1656350"/>
              <a:gd name="connsiteX107" fmla="*/ 3964022 w 6955277"/>
              <a:gd name="connsiteY107" fmla="*/ 771133 h 1656350"/>
              <a:gd name="connsiteX108" fmla="*/ 3993205 w 6955277"/>
              <a:gd name="connsiteY108" fmla="*/ 761405 h 1656350"/>
              <a:gd name="connsiteX109" fmla="*/ 4017524 w 6955277"/>
              <a:gd name="connsiteY109" fmla="*/ 756541 h 1656350"/>
              <a:gd name="connsiteX110" fmla="*/ 4036979 w 6955277"/>
              <a:gd name="connsiteY110" fmla="*/ 751678 h 1656350"/>
              <a:gd name="connsiteX111" fmla="*/ 4075890 w 6955277"/>
              <a:gd name="connsiteY111" fmla="*/ 746814 h 1656350"/>
              <a:gd name="connsiteX112" fmla="*/ 4095345 w 6955277"/>
              <a:gd name="connsiteY112" fmla="*/ 741950 h 1656350"/>
              <a:gd name="connsiteX113" fmla="*/ 4158575 w 6955277"/>
              <a:gd name="connsiteY113" fmla="*/ 727359 h 1656350"/>
              <a:gd name="connsiteX114" fmla="*/ 4173166 w 6955277"/>
              <a:gd name="connsiteY114" fmla="*/ 722495 h 1656350"/>
              <a:gd name="connsiteX115" fmla="*/ 4187758 w 6955277"/>
              <a:gd name="connsiteY115" fmla="*/ 712767 h 1656350"/>
              <a:gd name="connsiteX116" fmla="*/ 4265579 w 6955277"/>
              <a:gd name="connsiteY116" fmla="*/ 707903 h 1656350"/>
              <a:gd name="connsiteX117" fmla="*/ 4275307 w 6955277"/>
              <a:gd name="connsiteY117" fmla="*/ 693312 h 1656350"/>
              <a:gd name="connsiteX118" fmla="*/ 4421222 w 6955277"/>
              <a:gd name="connsiteY118" fmla="*/ 678720 h 1656350"/>
              <a:gd name="connsiteX119" fmla="*/ 4440677 w 6955277"/>
              <a:gd name="connsiteY119" fmla="*/ 668993 h 1656350"/>
              <a:gd name="connsiteX120" fmla="*/ 4557409 w 6955277"/>
              <a:gd name="connsiteY120" fmla="*/ 659265 h 1656350"/>
              <a:gd name="connsiteX121" fmla="*/ 4576863 w 6955277"/>
              <a:gd name="connsiteY121" fmla="*/ 639809 h 1656350"/>
              <a:gd name="connsiteX122" fmla="*/ 4586592 w 6955277"/>
              <a:gd name="connsiteY122" fmla="*/ 625218 h 1656350"/>
              <a:gd name="connsiteX123" fmla="*/ 4635230 w 6955277"/>
              <a:gd name="connsiteY123" fmla="*/ 634946 h 1656350"/>
              <a:gd name="connsiteX124" fmla="*/ 4669277 w 6955277"/>
              <a:gd name="connsiteY124" fmla="*/ 630082 h 1656350"/>
              <a:gd name="connsiteX125" fmla="*/ 4703324 w 6955277"/>
              <a:gd name="connsiteY125" fmla="*/ 610627 h 1656350"/>
              <a:gd name="connsiteX126" fmla="*/ 4732507 w 6955277"/>
              <a:gd name="connsiteY126" fmla="*/ 605763 h 1656350"/>
              <a:gd name="connsiteX127" fmla="*/ 4790873 w 6955277"/>
              <a:gd name="connsiteY127" fmla="*/ 591171 h 1656350"/>
              <a:gd name="connsiteX128" fmla="*/ 4844374 w 6955277"/>
              <a:gd name="connsiteY128" fmla="*/ 586307 h 1656350"/>
              <a:gd name="connsiteX129" fmla="*/ 4912468 w 6955277"/>
              <a:gd name="connsiteY129" fmla="*/ 552261 h 1656350"/>
              <a:gd name="connsiteX130" fmla="*/ 4990290 w 6955277"/>
              <a:gd name="connsiteY130" fmla="*/ 552261 h 1656350"/>
              <a:gd name="connsiteX131" fmla="*/ 5009745 w 6955277"/>
              <a:gd name="connsiteY131" fmla="*/ 523078 h 1656350"/>
              <a:gd name="connsiteX132" fmla="*/ 5024336 w 6955277"/>
              <a:gd name="connsiteY132" fmla="*/ 513350 h 1656350"/>
              <a:gd name="connsiteX133" fmla="*/ 5058383 w 6955277"/>
              <a:gd name="connsiteY133" fmla="*/ 503622 h 1656350"/>
              <a:gd name="connsiteX134" fmla="*/ 5072975 w 6955277"/>
              <a:gd name="connsiteY134" fmla="*/ 498759 h 1656350"/>
              <a:gd name="connsiteX135" fmla="*/ 5087566 w 6955277"/>
              <a:gd name="connsiteY135" fmla="*/ 489031 h 1656350"/>
              <a:gd name="connsiteX136" fmla="*/ 5136205 w 6955277"/>
              <a:gd name="connsiteY136" fmla="*/ 474439 h 1656350"/>
              <a:gd name="connsiteX137" fmla="*/ 5150796 w 6955277"/>
              <a:gd name="connsiteY137" fmla="*/ 469576 h 1656350"/>
              <a:gd name="connsiteX138" fmla="*/ 5179979 w 6955277"/>
              <a:gd name="connsiteY138" fmla="*/ 464712 h 1656350"/>
              <a:gd name="connsiteX139" fmla="*/ 5194571 w 6955277"/>
              <a:gd name="connsiteY139" fmla="*/ 459848 h 1656350"/>
              <a:gd name="connsiteX140" fmla="*/ 5267528 w 6955277"/>
              <a:gd name="connsiteY140" fmla="*/ 454984 h 1656350"/>
              <a:gd name="connsiteX141" fmla="*/ 5301575 w 6955277"/>
              <a:gd name="connsiteY141" fmla="*/ 450120 h 1656350"/>
              <a:gd name="connsiteX142" fmla="*/ 5321030 w 6955277"/>
              <a:gd name="connsiteY142" fmla="*/ 445256 h 1656350"/>
              <a:gd name="connsiteX143" fmla="*/ 5369668 w 6955277"/>
              <a:gd name="connsiteY143" fmla="*/ 440393 h 1656350"/>
              <a:gd name="connsiteX144" fmla="*/ 5437762 w 6955277"/>
              <a:gd name="connsiteY144" fmla="*/ 430665 h 1656350"/>
              <a:gd name="connsiteX145" fmla="*/ 5466945 w 6955277"/>
              <a:gd name="connsiteY145" fmla="*/ 425801 h 1656350"/>
              <a:gd name="connsiteX146" fmla="*/ 5500992 w 6955277"/>
              <a:gd name="connsiteY146" fmla="*/ 416073 h 1656350"/>
              <a:gd name="connsiteX147" fmla="*/ 5515583 w 6955277"/>
              <a:gd name="connsiteY147" fmla="*/ 411210 h 1656350"/>
              <a:gd name="connsiteX148" fmla="*/ 5564222 w 6955277"/>
              <a:gd name="connsiteY148" fmla="*/ 411211 h 1656350"/>
              <a:gd name="connsiteX149" fmla="*/ 5637179 w 6955277"/>
              <a:gd name="connsiteY149" fmla="*/ 386891 h 1656350"/>
              <a:gd name="connsiteX150" fmla="*/ 5666362 w 6955277"/>
              <a:gd name="connsiteY150" fmla="*/ 391754 h 1656350"/>
              <a:gd name="connsiteX151" fmla="*/ 5685817 w 6955277"/>
              <a:gd name="connsiteY151" fmla="*/ 382027 h 1656350"/>
              <a:gd name="connsiteX152" fmla="*/ 5724728 w 6955277"/>
              <a:gd name="connsiteY152" fmla="*/ 377163 h 1656350"/>
              <a:gd name="connsiteX153" fmla="*/ 5729592 w 6955277"/>
              <a:gd name="connsiteY153" fmla="*/ 362571 h 1656350"/>
              <a:gd name="connsiteX154" fmla="*/ 5744183 w 6955277"/>
              <a:gd name="connsiteY154" fmla="*/ 357707 h 1656350"/>
              <a:gd name="connsiteX155" fmla="*/ 5783094 w 6955277"/>
              <a:gd name="connsiteY155" fmla="*/ 352844 h 1656350"/>
              <a:gd name="connsiteX156" fmla="*/ 5812277 w 6955277"/>
              <a:gd name="connsiteY156" fmla="*/ 338252 h 1656350"/>
              <a:gd name="connsiteX157" fmla="*/ 5841460 w 6955277"/>
              <a:gd name="connsiteY157" fmla="*/ 328524 h 1656350"/>
              <a:gd name="connsiteX158" fmla="*/ 5885234 w 6955277"/>
              <a:gd name="connsiteY158" fmla="*/ 318797 h 1656350"/>
              <a:gd name="connsiteX159" fmla="*/ 5899826 w 6955277"/>
              <a:gd name="connsiteY159" fmla="*/ 309069 h 1656350"/>
              <a:gd name="connsiteX160" fmla="*/ 5997102 w 6955277"/>
              <a:gd name="connsiteY160" fmla="*/ 299341 h 1656350"/>
              <a:gd name="connsiteX161" fmla="*/ 6040877 w 6955277"/>
              <a:gd name="connsiteY161" fmla="*/ 284750 h 1656350"/>
              <a:gd name="connsiteX162" fmla="*/ 6055468 w 6955277"/>
              <a:gd name="connsiteY162" fmla="*/ 275022 h 1656350"/>
              <a:gd name="connsiteX163" fmla="*/ 6079788 w 6955277"/>
              <a:gd name="connsiteY163" fmla="*/ 270159 h 1656350"/>
              <a:gd name="connsiteX164" fmla="*/ 6128426 w 6955277"/>
              <a:gd name="connsiteY164" fmla="*/ 265295 h 1656350"/>
              <a:gd name="connsiteX165" fmla="*/ 6167336 w 6955277"/>
              <a:gd name="connsiteY165" fmla="*/ 260431 h 1656350"/>
              <a:gd name="connsiteX166" fmla="*/ 6206247 w 6955277"/>
              <a:gd name="connsiteY166" fmla="*/ 250703 h 1656350"/>
              <a:gd name="connsiteX167" fmla="*/ 6220839 w 6955277"/>
              <a:gd name="connsiteY167" fmla="*/ 240976 h 1656350"/>
              <a:gd name="connsiteX168" fmla="*/ 6274341 w 6955277"/>
              <a:gd name="connsiteY168" fmla="*/ 236112 h 1656350"/>
              <a:gd name="connsiteX169" fmla="*/ 6395936 w 6955277"/>
              <a:gd name="connsiteY169" fmla="*/ 221520 h 1656350"/>
              <a:gd name="connsiteX170" fmla="*/ 6410528 w 6955277"/>
              <a:gd name="connsiteY170" fmla="*/ 192337 h 1656350"/>
              <a:gd name="connsiteX171" fmla="*/ 6439711 w 6955277"/>
              <a:gd name="connsiteY171" fmla="*/ 187473 h 1656350"/>
              <a:gd name="connsiteX172" fmla="*/ 6488349 w 6955277"/>
              <a:gd name="connsiteY172" fmla="*/ 182610 h 1656350"/>
              <a:gd name="connsiteX173" fmla="*/ 6507805 w 6955277"/>
              <a:gd name="connsiteY173" fmla="*/ 177746 h 1656350"/>
              <a:gd name="connsiteX174" fmla="*/ 6522396 w 6955277"/>
              <a:gd name="connsiteY174" fmla="*/ 172882 h 1656350"/>
              <a:gd name="connsiteX175" fmla="*/ 6561307 w 6955277"/>
              <a:gd name="connsiteY175" fmla="*/ 163154 h 1656350"/>
              <a:gd name="connsiteX176" fmla="*/ 6566171 w 6955277"/>
              <a:gd name="connsiteY176" fmla="*/ 148563 h 1656350"/>
              <a:gd name="connsiteX177" fmla="*/ 6580762 w 6955277"/>
              <a:gd name="connsiteY177" fmla="*/ 143699 h 1656350"/>
              <a:gd name="connsiteX178" fmla="*/ 6605081 w 6955277"/>
              <a:gd name="connsiteY178" fmla="*/ 138835 h 1656350"/>
              <a:gd name="connsiteX179" fmla="*/ 6639128 w 6955277"/>
              <a:gd name="connsiteY179" fmla="*/ 119380 h 1656350"/>
              <a:gd name="connsiteX180" fmla="*/ 6643992 w 6955277"/>
              <a:gd name="connsiteY180" fmla="*/ 99924 h 1656350"/>
              <a:gd name="connsiteX181" fmla="*/ 6780179 w 6955277"/>
              <a:gd name="connsiteY181" fmla="*/ 99924 h 1656350"/>
              <a:gd name="connsiteX182" fmla="*/ 6785043 w 6955277"/>
              <a:gd name="connsiteY182" fmla="*/ 65878 h 1656350"/>
              <a:gd name="connsiteX183" fmla="*/ 6809362 w 6955277"/>
              <a:gd name="connsiteY183" fmla="*/ 61014 h 1656350"/>
              <a:gd name="connsiteX184" fmla="*/ 6828817 w 6955277"/>
              <a:gd name="connsiteY184" fmla="*/ 56150 h 1656350"/>
              <a:gd name="connsiteX185" fmla="*/ 6955277 w 6955277"/>
              <a:gd name="connsiteY185" fmla="*/ 2647 h 1656350"/>
              <a:gd name="connsiteX0" fmla="*/ 0 w 6955277"/>
              <a:gd name="connsiteY0" fmla="*/ 1656350 h 1656350"/>
              <a:gd name="connsiteX1" fmla="*/ 48639 w 6955277"/>
              <a:gd name="connsiteY1" fmla="*/ 1646622 h 1656350"/>
              <a:gd name="connsiteX2" fmla="*/ 77822 w 6955277"/>
              <a:gd name="connsiteY2" fmla="*/ 1632031 h 1656350"/>
              <a:gd name="connsiteX3" fmla="*/ 141051 w 6955277"/>
              <a:gd name="connsiteY3" fmla="*/ 1627167 h 1656350"/>
              <a:gd name="connsiteX4" fmla="*/ 170234 w 6955277"/>
              <a:gd name="connsiteY4" fmla="*/ 1602848 h 1656350"/>
              <a:gd name="connsiteX5" fmla="*/ 184826 w 6955277"/>
              <a:gd name="connsiteY5" fmla="*/ 1593120 h 1656350"/>
              <a:gd name="connsiteX6" fmla="*/ 238328 w 6955277"/>
              <a:gd name="connsiteY6" fmla="*/ 1593120 h 1656350"/>
              <a:gd name="connsiteX7" fmla="*/ 252919 w 6955277"/>
              <a:gd name="connsiteY7" fmla="*/ 1583393 h 1656350"/>
              <a:gd name="connsiteX8" fmla="*/ 301558 w 6955277"/>
              <a:gd name="connsiteY8" fmla="*/ 1578529 h 1656350"/>
              <a:gd name="connsiteX9" fmla="*/ 321013 w 6955277"/>
              <a:gd name="connsiteY9" fmla="*/ 1568801 h 1656350"/>
              <a:gd name="connsiteX10" fmla="*/ 369651 w 6955277"/>
              <a:gd name="connsiteY10" fmla="*/ 1549346 h 1656350"/>
              <a:gd name="connsiteX11" fmla="*/ 418290 w 6955277"/>
              <a:gd name="connsiteY11" fmla="*/ 1549346 h 1656350"/>
              <a:gd name="connsiteX12" fmla="*/ 432881 w 6955277"/>
              <a:gd name="connsiteY12" fmla="*/ 1534754 h 1656350"/>
              <a:gd name="connsiteX13" fmla="*/ 447473 w 6955277"/>
              <a:gd name="connsiteY13" fmla="*/ 1529890 h 1656350"/>
              <a:gd name="connsiteX14" fmla="*/ 515566 w 6955277"/>
              <a:gd name="connsiteY14" fmla="*/ 1529890 h 1656350"/>
              <a:gd name="connsiteX15" fmla="*/ 520430 w 6955277"/>
              <a:gd name="connsiteY15" fmla="*/ 1510435 h 1656350"/>
              <a:gd name="connsiteX16" fmla="*/ 612843 w 6955277"/>
              <a:gd name="connsiteY16" fmla="*/ 1510435 h 1656350"/>
              <a:gd name="connsiteX17" fmla="*/ 617707 w 6955277"/>
              <a:gd name="connsiteY17" fmla="*/ 1495844 h 1656350"/>
              <a:gd name="connsiteX18" fmla="*/ 666345 w 6955277"/>
              <a:gd name="connsiteY18" fmla="*/ 1490980 h 1656350"/>
              <a:gd name="connsiteX19" fmla="*/ 695528 w 6955277"/>
              <a:gd name="connsiteY19" fmla="*/ 1495844 h 1656350"/>
              <a:gd name="connsiteX20" fmla="*/ 753894 w 6955277"/>
              <a:gd name="connsiteY20" fmla="*/ 1486116 h 1656350"/>
              <a:gd name="connsiteX21" fmla="*/ 787941 w 6955277"/>
              <a:gd name="connsiteY21" fmla="*/ 1481252 h 1656350"/>
              <a:gd name="connsiteX22" fmla="*/ 792805 w 6955277"/>
              <a:gd name="connsiteY22" fmla="*/ 1466661 h 1656350"/>
              <a:gd name="connsiteX23" fmla="*/ 836579 w 6955277"/>
              <a:gd name="connsiteY23" fmla="*/ 1461797 h 1656350"/>
              <a:gd name="connsiteX24" fmla="*/ 851171 w 6955277"/>
              <a:gd name="connsiteY24" fmla="*/ 1456933 h 1656350"/>
              <a:gd name="connsiteX25" fmla="*/ 875490 w 6955277"/>
              <a:gd name="connsiteY25" fmla="*/ 1452069 h 1656350"/>
              <a:gd name="connsiteX26" fmla="*/ 894945 w 6955277"/>
              <a:gd name="connsiteY26" fmla="*/ 1447205 h 1656350"/>
              <a:gd name="connsiteX27" fmla="*/ 924128 w 6955277"/>
              <a:gd name="connsiteY27" fmla="*/ 1437478 h 1656350"/>
              <a:gd name="connsiteX28" fmla="*/ 933856 w 6955277"/>
              <a:gd name="connsiteY28" fmla="*/ 1422886 h 1656350"/>
              <a:gd name="connsiteX29" fmla="*/ 982494 w 6955277"/>
              <a:gd name="connsiteY29" fmla="*/ 1418022 h 1656350"/>
              <a:gd name="connsiteX30" fmla="*/ 997085 w 6955277"/>
              <a:gd name="connsiteY30" fmla="*/ 1413159 h 1656350"/>
              <a:gd name="connsiteX31" fmla="*/ 1011677 w 6955277"/>
              <a:gd name="connsiteY31" fmla="*/ 1403431 h 1656350"/>
              <a:gd name="connsiteX32" fmla="*/ 1118681 w 6955277"/>
              <a:gd name="connsiteY32" fmla="*/ 1398567 h 1656350"/>
              <a:gd name="connsiteX33" fmla="*/ 1147864 w 6955277"/>
              <a:gd name="connsiteY33" fmla="*/ 1388839 h 1656350"/>
              <a:gd name="connsiteX34" fmla="*/ 1240277 w 6955277"/>
              <a:gd name="connsiteY34" fmla="*/ 1374248 h 1656350"/>
              <a:gd name="connsiteX35" fmla="*/ 1269460 w 6955277"/>
              <a:gd name="connsiteY35" fmla="*/ 1364520 h 1656350"/>
              <a:gd name="connsiteX36" fmla="*/ 1303507 w 6955277"/>
              <a:gd name="connsiteY36" fmla="*/ 1354793 h 1656350"/>
              <a:gd name="connsiteX37" fmla="*/ 1332690 w 6955277"/>
              <a:gd name="connsiteY37" fmla="*/ 1340201 h 1656350"/>
              <a:gd name="connsiteX38" fmla="*/ 1400783 w 6955277"/>
              <a:gd name="connsiteY38" fmla="*/ 1330473 h 1656350"/>
              <a:gd name="connsiteX39" fmla="*/ 1429966 w 6955277"/>
              <a:gd name="connsiteY39" fmla="*/ 1320746 h 1656350"/>
              <a:gd name="connsiteX40" fmla="*/ 1444558 w 6955277"/>
              <a:gd name="connsiteY40" fmla="*/ 1315882 h 1656350"/>
              <a:gd name="connsiteX41" fmla="*/ 1532107 w 6955277"/>
              <a:gd name="connsiteY41" fmla="*/ 1301290 h 1656350"/>
              <a:gd name="connsiteX42" fmla="*/ 1561290 w 6955277"/>
              <a:gd name="connsiteY42" fmla="*/ 1291563 h 1656350"/>
              <a:gd name="connsiteX43" fmla="*/ 1600200 w 6955277"/>
              <a:gd name="connsiteY43" fmla="*/ 1286699 h 1656350"/>
              <a:gd name="connsiteX44" fmla="*/ 1634247 w 6955277"/>
              <a:gd name="connsiteY44" fmla="*/ 1281835 h 1656350"/>
              <a:gd name="connsiteX45" fmla="*/ 1697477 w 6955277"/>
              <a:gd name="connsiteY45" fmla="*/ 1272107 h 1656350"/>
              <a:gd name="connsiteX46" fmla="*/ 1712068 w 6955277"/>
              <a:gd name="connsiteY46" fmla="*/ 1262380 h 1656350"/>
              <a:gd name="connsiteX47" fmla="*/ 1736388 w 6955277"/>
              <a:gd name="connsiteY47" fmla="*/ 1257516 h 1656350"/>
              <a:gd name="connsiteX48" fmla="*/ 1823936 w 6955277"/>
              <a:gd name="connsiteY48" fmla="*/ 1252652 h 1656350"/>
              <a:gd name="connsiteX49" fmla="*/ 1828800 w 6955277"/>
              <a:gd name="connsiteY49" fmla="*/ 1228333 h 1656350"/>
              <a:gd name="connsiteX50" fmla="*/ 1843392 w 6955277"/>
              <a:gd name="connsiteY50" fmla="*/ 1223469 h 1656350"/>
              <a:gd name="connsiteX51" fmla="*/ 1867711 w 6955277"/>
              <a:gd name="connsiteY51" fmla="*/ 1218605 h 1656350"/>
              <a:gd name="connsiteX52" fmla="*/ 1945532 w 6955277"/>
              <a:gd name="connsiteY52" fmla="*/ 1213741 h 1656350"/>
              <a:gd name="connsiteX53" fmla="*/ 2018490 w 6955277"/>
              <a:gd name="connsiteY53" fmla="*/ 1199150 h 1656350"/>
              <a:gd name="connsiteX54" fmla="*/ 2091447 w 6955277"/>
              <a:gd name="connsiteY54" fmla="*/ 1189422 h 1656350"/>
              <a:gd name="connsiteX55" fmla="*/ 2106039 w 6955277"/>
              <a:gd name="connsiteY55" fmla="*/ 1179695 h 1656350"/>
              <a:gd name="connsiteX56" fmla="*/ 2140085 w 6955277"/>
              <a:gd name="connsiteY56" fmla="*/ 1174831 h 1656350"/>
              <a:gd name="connsiteX57" fmla="*/ 2188724 w 6955277"/>
              <a:gd name="connsiteY57" fmla="*/ 1160239 h 1656350"/>
              <a:gd name="connsiteX58" fmla="*/ 2222771 w 6955277"/>
              <a:gd name="connsiteY58" fmla="*/ 1155376 h 1656350"/>
              <a:gd name="connsiteX59" fmla="*/ 2237362 w 6955277"/>
              <a:gd name="connsiteY59" fmla="*/ 1150512 h 1656350"/>
              <a:gd name="connsiteX60" fmla="*/ 2305456 w 6955277"/>
              <a:gd name="connsiteY60" fmla="*/ 1140784 h 1656350"/>
              <a:gd name="connsiteX61" fmla="*/ 2349230 w 6955277"/>
              <a:gd name="connsiteY61" fmla="*/ 1131056 h 1656350"/>
              <a:gd name="connsiteX62" fmla="*/ 2363822 w 6955277"/>
              <a:gd name="connsiteY62" fmla="*/ 1126193 h 1656350"/>
              <a:gd name="connsiteX63" fmla="*/ 2431915 w 6955277"/>
              <a:gd name="connsiteY63" fmla="*/ 1116465 h 1656350"/>
              <a:gd name="connsiteX64" fmla="*/ 2436779 w 6955277"/>
              <a:gd name="connsiteY64" fmla="*/ 1101873 h 1656350"/>
              <a:gd name="connsiteX65" fmla="*/ 2465962 w 6955277"/>
              <a:gd name="connsiteY65" fmla="*/ 1092146 h 1656350"/>
              <a:gd name="connsiteX66" fmla="*/ 2572966 w 6955277"/>
              <a:gd name="connsiteY66" fmla="*/ 1092146 h 1656350"/>
              <a:gd name="connsiteX67" fmla="*/ 2587558 w 6955277"/>
              <a:gd name="connsiteY67" fmla="*/ 1082418 h 1656350"/>
              <a:gd name="connsiteX68" fmla="*/ 2602149 w 6955277"/>
              <a:gd name="connsiteY68" fmla="*/ 1077554 h 1656350"/>
              <a:gd name="connsiteX69" fmla="*/ 2616741 w 6955277"/>
              <a:gd name="connsiteY69" fmla="*/ 1067827 h 1656350"/>
              <a:gd name="connsiteX70" fmla="*/ 2645924 w 6955277"/>
              <a:gd name="connsiteY70" fmla="*/ 1062963 h 1656350"/>
              <a:gd name="connsiteX71" fmla="*/ 2704290 w 6955277"/>
              <a:gd name="connsiteY71" fmla="*/ 1043507 h 1656350"/>
              <a:gd name="connsiteX72" fmla="*/ 2718881 w 6955277"/>
              <a:gd name="connsiteY72" fmla="*/ 1038644 h 1656350"/>
              <a:gd name="connsiteX73" fmla="*/ 2733473 w 6955277"/>
              <a:gd name="connsiteY73" fmla="*/ 1033780 h 1656350"/>
              <a:gd name="connsiteX74" fmla="*/ 2752928 w 6955277"/>
              <a:gd name="connsiteY74" fmla="*/ 1028916 h 1656350"/>
              <a:gd name="connsiteX75" fmla="*/ 2777247 w 6955277"/>
              <a:gd name="connsiteY75" fmla="*/ 1024052 h 1656350"/>
              <a:gd name="connsiteX76" fmla="*/ 2830749 w 6955277"/>
              <a:gd name="connsiteY76" fmla="*/ 1019188 h 1656350"/>
              <a:gd name="connsiteX77" fmla="*/ 2864796 w 6955277"/>
              <a:gd name="connsiteY77" fmla="*/ 1014324 h 1656350"/>
              <a:gd name="connsiteX78" fmla="*/ 2879388 w 6955277"/>
              <a:gd name="connsiteY78" fmla="*/ 1009461 h 1656350"/>
              <a:gd name="connsiteX79" fmla="*/ 2898843 w 6955277"/>
              <a:gd name="connsiteY79" fmla="*/ 1004597 h 1656350"/>
              <a:gd name="connsiteX80" fmla="*/ 2913434 w 6955277"/>
              <a:gd name="connsiteY80" fmla="*/ 994869 h 1656350"/>
              <a:gd name="connsiteX81" fmla="*/ 2981528 w 6955277"/>
              <a:gd name="connsiteY81" fmla="*/ 985141 h 1656350"/>
              <a:gd name="connsiteX82" fmla="*/ 2986392 w 6955277"/>
              <a:gd name="connsiteY82" fmla="*/ 970550 h 1656350"/>
              <a:gd name="connsiteX83" fmla="*/ 3059349 w 6955277"/>
              <a:gd name="connsiteY83" fmla="*/ 965686 h 1656350"/>
              <a:gd name="connsiteX84" fmla="*/ 3107988 w 6955277"/>
              <a:gd name="connsiteY84" fmla="*/ 960822 h 1656350"/>
              <a:gd name="connsiteX85" fmla="*/ 3185809 w 6955277"/>
              <a:gd name="connsiteY85" fmla="*/ 951095 h 1656350"/>
              <a:gd name="connsiteX86" fmla="*/ 3229583 w 6955277"/>
              <a:gd name="connsiteY86" fmla="*/ 946231 h 1656350"/>
              <a:gd name="connsiteX87" fmla="*/ 3263630 w 6955277"/>
              <a:gd name="connsiteY87" fmla="*/ 936503 h 1656350"/>
              <a:gd name="connsiteX88" fmla="*/ 3302541 w 6955277"/>
              <a:gd name="connsiteY88" fmla="*/ 931639 h 1656350"/>
              <a:gd name="connsiteX89" fmla="*/ 3317132 w 6955277"/>
              <a:gd name="connsiteY89" fmla="*/ 926776 h 1656350"/>
              <a:gd name="connsiteX90" fmla="*/ 3321996 w 6955277"/>
              <a:gd name="connsiteY90" fmla="*/ 912184 h 1656350"/>
              <a:gd name="connsiteX91" fmla="*/ 3433864 w 6955277"/>
              <a:gd name="connsiteY91" fmla="*/ 907320 h 1656350"/>
              <a:gd name="connsiteX92" fmla="*/ 3438728 w 6955277"/>
              <a:gd name="connsiteY92" fmla="*/ 892729 h 1656350"/>
              <a:gd name="connsiteX93" fmla="*/ 3453319 w 6955277"/>
              <a:gd name="connsiteY93" fmla="*/ 883001 h 1656350"/>
              <a:gd name="connsiteX94" fmla="*/ 3540868 w 6955277"/>
              <a:gd name="connsiteY94" fmla="*/ 878137 h 1656350"/>
              <a:gd name="connsiteX95" fmla="*/ 3560324 w 6955277"/>
              <a:gd name="connsiteY95" fmla="*/ 873273 h 1656350"/>
              <a:gd name="connsiteX96" fmla="*/ 3589507 w 6955277"/>
              <a:gd name="connsiteY96" fmla="*/ 863546 h 1656350"/>
              <a:gd name="connsiteX97" fmla="*/ 3618690 w 6955277"/>
              <a:gd name="connsiteY97" fmla="*/ 858682 h 1656350"/>
              <a:gd name="connsiteX98" fmla="*/ 3715966 w 6955277"/>
              <a:gd name="connsiteY98" fmla="*/ 844090 h 1656350"/>
              <a:gd name="connsiteX99" fmla="*/ 3745149 w 6955277"/>
              <a:gd name="connsiteY99" fmla="*/ 834363 h 1656350"/>
              <a:gd name="connsiteX100" fmla="*/ 3750013 w 6955277"/>
              <a:gd name="connsiteY100" fmla="*/ 819771 h 1656350"/>
              <a:gd name="connsiteX101" fmla="*/ 3764605 w 6955277"/>
              <a:gd name="connsiteY101" fmla="*/ 814907 h 1656350"/>
              <a:gd name="connsiteX102" fmla="*/ 3798651 w 6955277"/>
              <a:gd name="connsiteY102" fmla="*/ 810044 h 1656350"/>
              <a:gd name="connsiteX103" fmla="*/ 3822971 w 6955277"/>
              <a:gd name="connsiteY103" fmla="*/ 805180 h 1656350"/>
              <a:gd name="connsiteX104" fmla="*/ 3852154 w 6955277"/>
              <a:gd name="connsiteY104" fmla="*/ 795452 h 1656350"/>
              <a:gd name="connsiteX105" fmla="*/ 3915383 w 6955277"/>
              <a:gd name="connsiteY105" fmla="*/ 790588 h 1656350"/>
              <a:gd name="connsiteX106" fmla="*/ 3959158 w 6955277"/>
              <a:gd name="connsiteY106" fmla="*/ 785724 h 1656350"/>
              <a:gd name="connsiteX107" fmla="*/ 3964022 w 6955277"/>
              <a:gd name="connsiteY107" fmla="*/ 771133 h 1656350"/>
              <a:gd name="connsiteX108" fmla="*/ 3993205 w 6955277"/>
              <a:gd name="connsiteY108" fmla="*/ 761405 h 1656350"/>
              <a:gd name="connsiteX109" fmla="*/ 4017524 w 6955277"/>
              <a:gd name="connsiteY109" fmla="*/ 756541 h 1656350"/>
              <a:gd name="connsiteX110" fmla="*/ 4036979 w 6955277"/>
              <a:gd name="connsiteY110" fmla="*/ 751678 h 1656350"/>
              <a:gd name="connsiteX111" fmla="*/ 4075890 w 6955277"/>
              <a:gd name="connsiteY111" fmla="*/ 746814 h 1656350"/>
              <a:gd name="connsiteX112" fmla="*/ 4095345 w 6955277"/>
              <a:gd name="connsiteY112" fmla="*/ 741950 h 1656350"/>
              <a:gd name="connsiteX113" fmla="*/ 4158575 w 6955277"/>
              <a:gd name="connsiteY113" fmla="*/ 727359 h 1656350"/>
              <a:gd name="connsiteX114" fmla="*/ 4173166 w 6955277"/>
              <a:gd name="connsiteY114" fmla="*/ 722495 h 1656350"/>
              <a:gd name="connsiteX115" fmla="*/ 4187758 w 6955277"/>
              <a:gd name="connsiteY115" fmla="*/ 712767 h 1656350"/>
              <a:gd name="connsiteX116" fmla="*/ 4265579 w 6955277"/>
              <a:gd name="connsiteY116" fmla="*/ 707903 h 1656350"/>
              <a:gd name="connsiteX117" fmla="*/ 4275307 w 6955277"/>
              <a:gd name="connsiteY117" fmla="*/ 693312 h 1656350"/>
              <a:gd name="connsiteX118" fmla="*/ 4421222 w 6955277"/>
              <a:gd name="connsiteY118" fmla="*/ 678720 h 1656350"/>
              <a:gd name="connsiteX119" fmla="*/ 4440677 w 6955277"/>
              <a:gd name="connsiteY119" fmla="*/ 668993 h 1656350"/>
              <a:gd name="connsiteX120" fmla="*/ 4557409 w 6955277"/>
              <a:gd name="connsiteY120" fmla="*/ 659265 h 1656350"/>
              <a:gd name="connsiteX121" fmla="*/ 4576863 w 6955277"/>
              <a:gd name="connsiteY121" fmla="*/ 639809 h 1656350"/>
              <a:gd name="connsiteX122" fmla="*/ 4586592 w 6955277"/>
              <a:gd name="connsiteY122" fmla="*/ 625218 h 1656350"/>
              <a:gd name="connsiteX123" fmla="*/ 4635230 w 6955277"/>
              <a:gd name="connsiteY123" fmla="*/ 634946 h 1656350"/>
              <a:gd name="connsiteX124" fmla="*/ 4669277 w 6955277"/>
              <a:gd name="connsiteY124" fmla="*/ 630082 h 1656350"/>
              <a:gd name="connsiteX125" fmla="*/ 4703324 w 6955277"/>
              <a:gd name="connsiteY125" fmla="*/ 610627 h 1656350"/>
              <a:gd name="connsiteX126" fmla="*/ 4732507 w 6955277"/>
              <a:gd name="connsiteY126" fmla="*/ 605763 h 1656350"/>
              <a:gd name="connsiteX127" fmla="*/ 4790873 w 6955277"/>
              <a:gd name="connsiteY127" fmla="*/ 591171 h 1656350"/>
              <a:gd name="connsiteX128" fmla="*/ 4844374 w 6955277"/>
              <a:gd name="connsiteY128" fmla="*/ 586307 h 1656350"/>
              <a:gd name="connsiteX129" fmla="*/ 4897877 w 6955277"/>
              <a:gd name="connsiteY129" fmla="*/ 566852 h 1656350"/>
              <a:gd name="connsiteX130" fmla="*/ 4990290 w 6955277"/>
              <a:gd name="connsiteY130" fmla="*/ 552261 h 1656350"/>
              <a:gd name="connsiteX131" fmla="*/ 5009745 w 6955277"/>
              <a:gd name="connsiteY131" fmla="*/ 523078 h 1656350"/>
              <a:gd name="connsiteX132" fmla="*/ 5024336 w 6955277"/>
              <a:gd name="connsiteY132" fmla="*/ 513350 h 1656350"/>
              <a:gd name="connsiteX133" fmla="*/ 5058383 w 6955277"/>
              <a:gd name="connsiteY133" fmla="*/ 503622 h 1656350"/>
              <a:gd name="connsiteX134" fmla="*/ 5072975 w 6955277"/>
              <a:gd name="connsiteY134" fmla="*/ 498759 h 1656350"/>
              <a:gd name="connsiteX135" fmla="*/ 5087566 w 6955277"/>
              <a:gd name="connsiteY135" fmla="*/ 489031 h 1656350"/>
              <a:gd name="connsiteX136" fmla="*/ 5136205 w 6955277"/>
              <a:gd name="connsiteY136" fmla="*/ 474439 h 1656350"/>
              <a:gd name="connsiteX137" fmla="*/ 5150796 w 6955277"/>
              <a:gd name="connsiteY137" fmla="*/ 469576 h 1656350"/>
              <a:gd name="connsiteX138" fmla="*/ 5179979 w 6955277"/>
              <a:gd name="connsiteY138" fmla="*/ 464712 h 1656350"/>
              <a:gd name="connsiteX139" fmla="*/ 5194571 w 6955277"/>
              <a:gd name="connsiteY139" fmla="*/ 459848 h 1656350"/>
              <a:gd name="connsiteX140" fmla="*/ 5267528 w 6955277"/>
              <a:gd name="connsiteY140" fmla="*/ 454984 h 1656350"/>
              <a:gd name="connsiteX141" fmla="*/ 5301575 w 6955277"/>
              <a:gd name="connsiteY141" fmla="*/ 450120 h 1656350"/>
              <a:gd name="connsiteX142" fmla="*/ 5321030 w 6955277"/>
              <a:gd name="connsiteY142" fmla="*/ 445256 h 1656350"/>
              <a:gd name="connsiteX143" fmla="*/ 5369668 w 6955277"/>
              <a:gd name="connsiteY143" fmla="*/ 440393 h 1656350"/>
              <a:gd name="connsiteX144" fmla="*/ 5437762 w 6955277"/>
              <a:gd name="connsiteY144" fmla="*/ 430665 h 1656350"/>
              <a:gd name="connsiteX145" fmla="*/ 5466945 w 6955277"/>
              <a:gd name="connsiteY145" fmla="*/ 425801 h 1656350"/>
              <a:gd name="connsiteX146" fmla="*/ 5500992 w 6955277"/>
              <a:gd name="connsiteY146" fmla="*/ 416073 h 1656350"/>
              <a:gd name="connsiteX147" fmla="*/ 5515583 w 6955277"/>
              <a:gd name="connsiteY147" fmla="*/ 411210 h 1656350"/>
              <a:gd name="connsiteX148" fmla="*/ 5564222 w 6955277"/>
              <a:gd name="connsiteY148" fmla="*/ 411211 h 1656350"/>
              <a:gd name="connsiteX149" fmla="*/ 5637179 w 6955277"/>
              <a:gd name="connsiteY149" fmla="*/ 386891 h 1656350"/>
              <a:gd name="connsiteX150" fmla="*/ 5666362 w 6955277"/>
              <a:gd name="connsiteY150" fmla="*/ 391754 h 1656350"/>
              <a:gd name="connsiteX151" fmla="*/ 5685817 w 6955277"/>
              <a:gd name="connsiteY151" fmla="*/ 382027 h 1656350"/>
              <a:gd name="connsiteX152" fmla="*/ 5724728 w 6955277"/>
              <a:gd name="connsiteY152" fmla="*/ 377163 h 1656350"/>
              <a:gd name="connsiteX153" fmla="*/ 5729592 w 6955277"/>
              <a:gd name="connsiteY153" fmla="*/ 362571 h 1656350"/>
              <a:gd name="connsiteX154" fmla="*/ 5744183 w 6955277"/>
              <a:gd name="connsiteY154" fmla="*/ 357707 h 1656350"/>
              <a:gd name="connsiteX155" fmla="*/ 5783094 w 6955277"/>
              <a:gd name="connsiteY155" fmla="*/ 352844 h 1656350"/>
              <a:gd name="connsiteX156" fmla="*/ 5812277 w 6955277"/>
              <a:gd name="connsiteY156" fmla="*/ 338252 h 1656350"/>
              <a:gd name="connsiteX157" fmla="*/ 5841460 w 6955277"/>
              <a:gd name="connsiteY157" fmla="*/ 328524 h 1656350"/>
              <a:gd name="connsiteX158" fmla="*/ 5885234 w 6955277"/>
              <a:gd name="connsiteY158" fmla="*/ 318797 h 1656350"/>
              <a:gd name="connsiteX159" fmla="*/ 5899826 w 6955277"/>
              <a:gd name="connsiteY159" fmla="*/ 309069 h 1656350"/>
              <a:gd name="connsiteX160" fmla="*/ 5997102 w 6955277"/>
              <a:gd name="connsiteY160" fmla="*/ 299341 h 1656350"/>
              <a:gd name="connsiteX161" fmla="*/ 6040877 w 6955277"/>
              <a:gd name="connsiteY161" fmla="*/ 284750 h 1656350"/>
              <a:gd name="connsiteX162" fmla="*/ 6055468 w 6955277"/>
              <a:gd name="connsiteY162" fmla="*/ 275022 h 1656350"/>
              <a:gd name="connsiteX163" fmla="*/ 6079788 w 6955277"/>
              <a:gd name="connsiteY163" fmla="*/ 270159 h 1656350"/>
              <a:gd name="connsiteX164" fmla="*/ 6128426 w 6955277"/>
              <a:gd name="connsiteY164" fmla="*/ 265295 h 1656350"/>
              <a:gd name="connsiteX165" fmla="*/ 6167336 w 6955277"/>
              <a:gd name="connsiteY165" fmla="*/ 260431 h 1656350"/>
              <a:gd name="connsiteX166" fmla="*/ 6206247 w 6955277"/>
              <a:gd name="connsiteY166" fmla="*/ 250703 h 1656350"/>
              <a:gd name="connsiteX167" fmla="*/ 6220839 w 6955277"/>
              <a:gd name="connsiteY167" fmla="*/ 240976 h 1656350"/>
              <a:gd name="connsiteX168" fmla="*/ 6274341 w 6955277"/>
              <a:gd name="connsiteY168" fmla="*/ 236112 h 1656350"/>
              <a:gd name="connsiteX169" fmla="*/ 6395936 w 6955277"/>
              <a:gd name="connsiteY169" fmla="*/ 221520 h 1656350"/>
              <a:gd name="connsiteX170" fmla="*/ 6410528 w 6955277"/>
              <a:gd name="connsiteY170" fmla="*/ 192337 h 1656350"/>
              <a:gd name="connsiteX171" fmla="*/ 6439711 w 6955277"/>
              <a:gd name="connsiteY171" fmla="*/ 187473 h 1656350"/>
              <a:gd name="connsiteX172" fmla="*/ 6488349 w 6955277"/>
              <a:gd name="connsiteY172" fmla="*/ 182610 h 1656350"/>
              <a:gd name="connsiteX173" fmla="*/ 6507805 w 6955277"/>
              <a:gd name="connsiteY173" fmla="*/ 177746 h 1656350"/>
              <a:gd name="connsiteX174" fmla="*/ 6522396 w 6955277"/>
              <a:gd name="connsiteY174" fmla="*/ 172882 h 1656350"/>
              <a:gd name="connsiteX175" fmla="*/ 6561307 w 6955277"/>
              <a:gd name="connsiteY175" fmla="*/ 163154 h 1656350"/>
              <a:gd name="connsiteX176" fmla="*/ 6566171 w 6955277"/>
              <a:gd name="connsiteY176" fmla="*/ 148563 h 1656350"/>
              <a:gd name="connsiteX177" fmla="*/ 6580762 w 6955277"/>
              <a:gd name="connsiteY177" fmla="*/ 143699 h 1656350"/>
              <a:gd name="connsiteX178" fmla="*/ 6605081 w 6955277"/>
              <a:gd name="connsiteY178" fmla="*/ 138835 h 1656350"/>
              <a:gd name="connsiteX179" fmla="*/ 6639128 w 6955277"/>
              <a:gd name="connsiteY179" fmla="*/ 119380 h 1656350"/>
              <a:gd name="connsiteX180" fmla="*/ 6643992 w 6955277"/>
              <a:gd name="connsiteY180" fmla="*/ 99924 h 1656350"/>
              <a:gd name="connsiteX181" fmla="*/ 6780179 w 6955277"/>
              <a:gd name="connsiteY181" fmla="*/ 99924 h 1656350"/>
              <a:gd name="connsiteX182" fmla="*/ 6785043 w 6955277"/>
              <a:gd name="connsiteY182" fmla="*/ 65878 h 1656350"/>
              <a:gd name="connsiteX183" fmla="*/ 6809362 w 6955277"/>
              <a:gd name="connsiteY183" fmla="*/ 61014 h 1656350"/>
              <a:gd name="connsiteX184" fmla="*/ 6828817 w 6955277"/>
              <a:gd name="connsiteY184" fmla="*/ 56150 h 1656350"/>
              <a:gd name="connsiteX185" fmla="*/ 6955277 w 6955277"/>
              <a:gd name="connsiteY185" fmla="*/ 2647 h 1656350"/>
              <a:gd name="connsiteX0" fmla="*/ 0 w 6955277"/>
              <a:gd name="connsiteY0" fmla="*/ 1656350 h 1656350"/>
              <a:gd name="connsiteX1" fmla="*/ 48639 w 6955277"/>
              <a:gd name="connsiteY1" fmla="*/ 1646622 h 1656350"/>
              <a:gd name="connsiteX2" fmla="*/ 77822 w 6955277"/>
              <a:gd name="connsiteY2" fmla="*/ 1632031 h 1656350"/>
              <a:gd name="connsiteX3" fmla="*/ 141051 w 6955277"/>
              <a:gd name="connsiteY3" fmla="*/ 1627167 h 1656350"/>
              <a:gd name="connsiteX4" fmla="*/ 170234 w 6955277"/>
              <a:gd name="connsiteY4" fmla="*/ 1602848 h 1656350"/>
              <a:gd name="connsiteX5" fmla="*/ 184826 w 6955277"/>
              <a:gd name="connsiteY5" fmla="*/ 1593120 h 1656350"/>
              <a:gd name="connsiteX6" fmla="*/ 238328 w 6955277"/>
              <a:gd name="connsiteY6" fmla="*/ 1593120 h 1656350"/>
              <a:gd name="connsiteX7" fmla="*/ 252919 w 6955277"/>
              <a:gd name="connsiteY7" fmla="*/ 1583393 h 1656350"/>
              <a:gd name="connsiteX8" fmla="*/ 301558 w 6955277"/>
              <a:gd name="connsiteY8" fmla="*/ 1578529 h 1656350"/>
              <a:gd name="connsiteX9" fmla="*/ 321013 w 6955277"/>
              <a:gd name="connsiteY9" fmla="*/ 1568801 h 1656350"/>
              <a:gd name="connsiteX10" fmla="*/ 369651 w 6955277"/>
              <a:gd name="connsiteY10" fmla="*/ 1549346 h 1656350"/>
              <a:gd name="connsiteX11" fmla="*/ 418290 w 6955277"/>
              <a:gd name="connsiteY11" fmla="*/ 1549346 h 1656350"/>
              <a:gd name="connsiteX12" fmla="*/ 432881 w 6955277"/>
              <a:gd name="connsiteY12" fmla="*/ 1534754 h 1656350"/>
              <a:gd name="connsiteX13" fmla="*/ 447473 w 6955277"/>
              <a:gd name="connsiteY13" fmla="*/ 1529890 h 1656350"/>
              <a:gd name="connsiteX14" fmla="*/ 515566 w 6955277"/>
              <a:gd name="connsiteY14" fmla="*/ 1529890 h 1656350"/>
              <a:gd name="connsiteX15" fmla="*/ 520430 w 6955277"/>
              <a:gd name="connsiteY15" fmla="*/ 1510435 h 1656350"/>
              <a:gd name="connsiteX16" fmla="*/ 612843 w 6955277"/>
              <a:gd name="connsiteY16" fmla="*/ 1510435 h 1656350"/>
              <a:gd name="connsiteX17" fmla="*/ 617707 w 6955277"/>
              <a:gd name="connsiteY17" fmla="*/ 1495844 h 1656350"/>
              <a:gd name="connsiteX18" fmla="*/ 666345 w 6955277"/>
              <a:gd name="connsiteY18" fmla="*/ 1490980 h 1656350"/>
              <a:gd name="connsiteX19" fmla="*/ 695528 w 6955277"/>
              <a:gd name="connsiteY19" fmla="*/ 1495844 h 1656350"/>
              <a:gd name="connsiteX20" fmla="*/ 753894 w 6955277"/>
              <a:gd name="connsiteY20" fmla="*/ 1486116 h 1656350"/>
              <a:gd name="connsiteX21" fmla="*/ 787941 w 6955277"/>
              <a:gd name="connsiteY21" fmla="*/ 1481252 h 1656350"/>
              <a:gd name="connsiteX22" fmla="*/ 792805 w 6955277"/>
              <a:gd name="connsiteY22" fmla="*/ 1466661 h 1656350"/>
              <a:gd name="connsiteX23" fmla="*/ 836579 w 6955277"/>
              <a:gd name="connsiteY23" fmla="*/ 1461797 h 1656350"/>
              <a:gd name="connsiteX24" fmla="*/ 851171 w 6955277"/>
              <a:gd name="connsiteY24" fmla="*/ 1456933 h 1656350"/>
              <a:gd name="connsiteX25" fmla="*/ 875490 w 6955277"/>
              <a:gd name="connsiteY25" fmla="*/ 1452069 h 1656350"/>
              <a:gd name="connsiteX26" fmla="*/ 894945 w 6955277"/>
              <a:gd name="connsiteY26" fmla="*/ 1447205 h 1656350"/>
              <a:gd name="connsiteX27" fmla="*/ 924128 w 6955277"/>
              <a:gd name="connsiteY27" fmla="*/ 1437478 h 1656350"/>
              <a:gd name="connsiteX28" fmla="*/ 933856 w 6955277"/>
              <a:gd name="connsiteY28" fmla="*/ 1422886 h 1656350"/>
              <a:gd name="connsiteX29" fmla="*/ 982494 w 6955277"/>
              <a:gd name="connsiteY29" fmla="*/ 1418022 h 1656350"/>
              <a:gd name="connsiteX30" fmla="*/ 997085 w 6955277"/>
              <a:gd name="connsiteY30" fmla="*/ 1413159 h 1656350"/>
              <a:gd name="connsiteX31" fmla="*/ 1011677 w 6955277"/>
              <a:gd name="connsiteY31" fmla="*/ 1403431 h 1656350"/>
              <a:gd name="connsiteX32" fmla="*/ 1118681 w 6955277"/>
              <a:gd name="connsiteY32" fmla="*/ 1398567 h 1656350"/>
              <a:gd name="connsiteX33" fmla="*/ 1147864 w 6955277"/>
              <a:gd name="connsiteY33" fmla="*/ 1388839 h 1656350"/>
              <a:gd name="connsiteX34" fmla="*/ 1240277 w 6955277"/>
              <a:gd name="connsiteY34" fmla="*/ 1374248 h 1656350"/>
              <a:gd name="connsiteX35" fmla="*/ 1269460 w 6955277"/>
              <a:gd name="connsiteY35" fmla="*/ 1364520 h 1656350"/>
              <a:gd name="connsiteX36" fmla="*/ 1303507 w 6955277"/>
              <a:gd name="connsiteY36" fmla="*/ 1354793 h 1656350"/>
              <a:gd name="connsiteX37" fmla="*/ 1332690 w 6955277"/>
              <a:gd name="connsiteY37" fmla="*/ 1340201 h 1656350"/>
              <a:gd name="connsiteX38" fmla="*/ 1400783 w 6955277"/>
              <a:gd name="connsiteY38" fmla="*/ 1330473 h 1656350"/>
              <a:gd name="connsiteX39" fmla="*/ 1429966 w 6955277"/>
              <a:gd name="connsiteY39" fmla="*/ 1320746 h 1656350"/>
              <a:gd name="connsiteX40" fmla="*/ 1444558 w 6955277"/>
              <a:gd name="connsiteY40" fmla="*/ 1315882 h 1656350"/>
              <a:gd name="connsiteX41" fmla="*/ 1532107 w 6955277"/>
              <a:gd name="connsiteY41" fmla="*/ 1301290 h 1656350"/>
              <a:gd name="connsiteX42" fmla="*/ 1561290 w 6955277"/>
              <a:gd name="connsiteY42" fmla="*/ 1291563 h 1656350"/>
              <a:gd name="connsiteX43" fmla="*/ 1600200 w 6955277"/>
              <a:gd name="connsiteY43" fmla="*/ 1286699 h 1656350"/>
              <a:gd name="connsiteX44" fmla="*/ 1634247 w 6955277"/>
              <a:gd name="connsiteY44" fmla="*/ 1281835 h 1656350"/>
              <a:gd name="connsiteX45" fmla="*/ 1697477 w 6955277"/>
              <a:gd name="connsiteY45" fmla="*/ 1272107 h 1656350"/>
              <a:gd name="connsiteX46" fmla="*/ 1712068 w 6955277"/>
              <a:gd name="connsiteY46" fmla="*/ 1262380 h 1656350"/>
              <a:gd name="connsiteX47" fmla="*/ 1736388 w 6955277"/>
              <a:gd name="connsiteY47" fmla="*/ 1257516 h 1656350"/>
              <a:gd name="connsiteX48" fmla="*/ 1823936 w 6955277"/>
              <a:gd name="connsiteY48" fmla="*/ 1252652 h 1656350"/>
              <a:gd name="connsiteX49" fmla="*/ 1828800 w 6955277"/>
              <a:gd name="connsiteY49" fmla="*/ 1228333 h 1656350"/>
              <a:gd name="connsiteX50" fmla="*/ 1843392 w 6955277"/>
              <a:gd name="connsiteY50" fmla="*/ 1223469 h 1656350"/>
              <a:gd name="connsiteX51" fmla="*/ 1867711 w 6955277"/>
              <a:gd name="connsiteY51" fmla="*/ 1218605 h 1656350"/>
              <a:gd name="connsiteX52" fmla="*/ 1945532 w 6955277"/>
              <a:gd name="connsiteY52" fmla="*/ 1213741 h 1656350"/>
              <a:gd name="connsiteX53" fmla="*/ 2018490 w 6955277"/>
              <a:gd name="connsiteY53" fmla="*/ 1199150 h 1656350"/>
              <a:gd name="connsiteX54" fmla="*/ 2091447 w 6955277"/>
              <a:gd name="connsiteY54" fmla="*/ 1189422 h 1656350"/>
              <a:gd name="connsiteX55" fmla="*/ 2106039 w 6955277"/>
              <a:gd name="connsiteY55" fmla="*/ 1179695 h 1656350"/>
              <a:gd name="connsiteX56" fmla="*/ 2140085 w 6955277"/>
              <a:gd name="connsiteY56" fmla="*/ 1174831 h 1656350"/>
              <a:gd name="connsiteX57" fmla="*/ 2188724 w 6955277"/>
              <a:gd name="connsiteY57" fmla="*/ 1160239 h 1656350"/>
              <a:gd name="connsiteX58" fmla="*/ 2222771 w 6955277"/>
              <a:gd name="connsiteY58" fmla="*/ 1155376 h 1656350"/>
              <a:gd name="connsiteX59" fmla="*/ 2237362 w 6955277"/>
              <a:gd name="connsiteY59" fmla="*/ 1150512 h 1656350"/>
              <a:gd name="connsiteX60" fmla="*/ 2305456 w 6955277"/>
              <a:gd name="connsiteY60" fmla="*/ 1140784 h 1656350"/>
              <a:gd name="connsiteX61" fmla="*/ 2349230 w 6955277"/>
              <a:gd name="connsiteY61" fmla="*/ 1131056 h 1656350"/>
              <a:gd name="connsiteX62" fmla="*/ 2363822 w 6955277"/>
              <a:gd name="connsiteY62" fmla="*/ 1126193 h 1656350"/>
              <a:gd name="connsiteX63" fmla="*/ 2431915 w 6955277"/>
              <a:gd name="connsiteY63" fmla="*/ 1116465 h 1656350"/>
              <a:gd name="connsiteX64" fmla="*/ 2436779 w 6955277"/>
              <a:gd name="connsiteY64" fmla="*/ 1101873 h 1656350"/>
              <a:gd name="connsiteX65" fmla="*/ 2465962 w 6955277"/>
              <a:gd name="connsiteY65" fmla="*/ 1092146 h 1656350"/>
              <a:gd name="connsiteX66" fmla="*/ 2572966 w 6955277"/>
              <a:gd name="connsiteY66" fmla="*/ 1092146 h 1656350"/>
              <a:gd name="connsiteX67" fmla="*/ 2587558 w 6955277"/>
              <a:gd name="connsiteY67" fmla="*/ 1082418 h 1656350"/>
              <a:gd name="connsiteX68" fmla="*/ 2602149 w 6955277"/>
              <a:gd name="connsiteY68" fmla="*/ 1077554 h 1656350"/>
              <a:gd name="connsiteX69" fmla="*/ 2616741 w 6955277"/>
              <a:gd name="connsiteY69" fmla="*/ 1067827 h 1656350"/>
              <a:gd name="connsiteX70" fmla="*/ 2645924 w 6955277"/>
              <a:gd name="connsiteY70" fmla="*/ 1062963 h 1656350"/>
              <a:gd name="connsiteX71" fmla="*/ 2704290 w 6955277"/>
              <a:gd name="connsiteY71" fmla="*/ 1043507 h 1656350"/>
              <a:gd name="connsiteX72" fmla="*/ 2718881 w 6955277"/>
              <a:gd name="connsiteY72" fmla="*/ 1038644 h 1656350"/>
              <a:gd name="connsiteX73" fmla="*/ 2733473 w 6955277"/>
              <a:gd name="connsiteY73" fmla="*/ 1033780 h 1656350"/>
              <a:gd name="connsiteX74" fmla="*/ 2752928 w 6955277"/>
              <a:gd name="connsiteY74" fmla="*/ 1028916 h 1656350"/>
              <a:gd name="connsiteX75" fmla="*/ 2777247 w 6955277"/>
              <a:gd name="connsiteY75" fmla="*/ 1024052 h 1656350"/>
              <a:gd name="connsiteX76" fmla="*/ 2830749 w 6955277"/>
              <a:gd name="connsiteY76" fmla="*/ 1019188 h 1656350"/>
              <a:gd name="connsiteX77" fmla="*/ 2864796 w 6955277"/>
              <a:gd name="connsiteY77" fmla="*/ 1014324 h 1656350"/>
              <a:gd name="connsiteX78" fmla="*/ 2879388 w 6955277"/>
              <a:gd name="connsiteY78" fmla="*/ 1009461 h 1656350"/>
              <a:gd name="connsiteX79" fmla="*/ 2898843 w 6955277"/>
              <a:gd name="connsiteY79" fmla="*/ 1004597 h 1656350"/>
              <a:gd name="connsiteX80" fmla="*/ 2913434 w 6955277"/>
              <a:gd name="connsiteY80" fmla="*/ 994869 h 1656350"/>
              <a:gd name="connsiteX81" fmla="*/ 2981528 w 6955277"/>
              <a:gd name="connsiteY81" fmla="*/ 985141 h 1656350"/>
              <a:gd name="connsiteX82" fmla="*/ 2986392 w 6955277"/>
              <a:gd name="connsiteY82" fmla="*/ 970550 h 1656350"/>
              <a:gd name="connsiteX83" fmla="*/ 3059349 w 6955277"/>
              <a:gd name="connsiteY83" fmla="*/ 965686 h 1656350"/>
              <a:gd name="connsiteX84" fmla="*/ 3107988 w 6955277"/>
              <a:gd name="connsiteY84" fmla="*/ 960822 h 1656350"/>
              <a:gd name="connsiteX85" fmla="*/ 3185809 w 6955277"/>
              <a:gd name="connsiteY85" fmla="*/ 951095 h 1656350"/>
              <a:gd name="connsiteX86" fmla="*/ 3229583 w 6955277"/>
              <a:gd name="connsiteY86" fmla="*/ 946231 h 1656350"/>
              <a:gd name="connsiteX87" fmla="*/ 3263630 w 6955277"/>
              <a:gd name="connsiteY87" fmla="*/ 936503 h 1656350"/>
              <a:gd name="connsiteX88" fmla="*/ 3302541 w 6955277"/>
              <a:gd name="connsiteY88" fmla="*/ 931639 h 1656350"/>
              <a:gd name="connsiteX89" fmla="*/ 3317132 w 6955277"/>
              <a:gd name="connsiteY89" fmla="*/ 926776 h 1656350"/>
              <a:gd name="connsiteX90" fmla="*/ 3321996 w 6955277"/>
              <a:gd name="connsiteY90" fmla="*/ 912184 h 1656350"/>
              <a:gd name="connsiteX91" fmla="*/ 3433864 w 6955277"/>
              <a:gd name="connsiteY91" fmla="*/ 907320 h 1656350"/>
              <a:gd name="connsiteX92" fmla="*/ 3438728 w 6955277"/>
              <a:gd name="connsiteY92" fmla="*/ 892729 h 1656350"/>
              <a:gd name="connsiteX93" fmla="*/ 3453319 w 6955277"/>
              <a:gd name="connsiteY93" fmla="*/ 883001 h 1656350"/>
              <a:gd name="connsiteX94" fmla="*/ 3540868 w 6955277"/>
              <a:gd name="connsiteY94" fmla="*/ 878137 h 1656350"/>
              <a:gd name="connsiteX95" fmla="*/ 3560324 w 6955277"/>
              <a:gd name="connsiteY95" fmla="*/ 873273 h 1656350"/>
              <a:gd name="connsiteX96" fmla="*/ 3589507 w 6955277"/>
              <a:gd name="connsiteY96" fmla="*/ 863546 h 1656350"/>
              <a:gd name="connsiteX97" fmla="*/ 3618690 w 6955277"/>
              <a:gd name="connsiteY97" fmla="*/ 858682 h 1656350"/>
              <a:gd name="connsiteX98" fmla="*/ 3715966 w 6955277"/>
              <a:gd name="connsiteY98" fmla="*/ 844090 h 1656350"/>
              <a:gd name="connsiteX99" fmla="*/ 3745149 w 6955277"/>
              <a:gd name="connsiteY99" fmla="*/ 834363 h 1656350"/>
              <a:gd name="connsiteX100" fmla="*/ 3750013 w 6955277"/>
              <a:gd name="connsiteY100" fmla="*/ 819771 h 1656350"/>
              <a:gd name="connsiteX101" fmla="*/ 3764605 w 6955277"/>
              <a:gd name="connsiteY101" fmla="*/ 814907 h 1656350"/>
              <a:gd name="connsiteX102" fmla="*/ 3798651 w 6955277"/>
              <a:gd name="connsiteY102" fmla="*/ 810044 h 1656350"/>
              <a:gd name="connsiteX103" fmla="*/ 3822971 w 6955277"/>
              <a:gd name="connsiteY103" fmla="*/ 805180 h 1656350"/>
              <a:gd name="connsiteX104" fmla="*/ 3852154 w 6955277"/>
              <a:gd name="connsiteY104" fmla="*/ 795452 h 1656350"/>
              <a:gd name="connsiteX105" fmla="*/ 3915383 w 6955277"/>
              <a:gd name="connsiteY105" fmla="*/ 790588 h 1656350"/>
              <a:gd name="connsiteX106" fmla="*/ 3959158 w 6955277"/>
              <a:gd name="connsiteY106" fmla="*/ 785724 h 1656350"/>
              <a:gd name="connsiteX107" fmla="*/ 3964022 w 6955277"/>
              <a:gd name="connsiteY107" fmla="*/ 771133 h 1656350"/>
              <a:gd name="connsiteX108" fmla="*/ 3993205 w 6955277"/>
              <a:gd name="connsiteY108" fmla="*/ 761405 h 1656350"/>
              <a:gd name="connsiteX109" fmla="*/ 4017524 w 6955277"/>
              <a:gd name="connsiteY109" fmla="*/ 756541 h 1656350"/>
              <a:gd name="connsiteX110" fmla="*/ 4036979 w 6955277"/>
              <a:gd name="connsiteY110" fmla="*/ 751678 h 1656350"/>
              <a:gd name="connsiteX111" fmla="*/ 4075890 w 6955277"/>
              <a:gd name="connsiteY111" fmla="*/ 746814 h 1656350"/>
              <a:gd name="connsiteX112" fmla="*/ 4095345 w 6955277"/>
              <a:gd name="connsiteY112" fmla="*/ 741950 h 1656350"/>
              <a:gd name="connsiteX113" fmla="*/ 4158575 w 6955277"/>
              <a:gd name="connsiteY113" fmla="*/ 727359 h 1656350"/>
              <a:gd name="connsiteX114" fmla="*/ 4173166 w 6955277"/>
              <a:gd name="connsiteY114" fmla="*/ 722495 h 1656350"/>
              <a:gd name="connsiteX115" fmla="*/ 4187758 w 6955277"/>
              <a:gd name="connsiteY115" fmla="*/ 712767 h 1656350"/>
              <a:gd name="connsiteX116" fmla="*/ 4265579 w 6955277"/>
              <a:gd name="connsiteY116" fmla="*/ 707903 h 1656350"/>
              <a:gd name="connsiteX117" fmla="*/ 4275307 w 6955277"/>
              <a:gd name="connsiteY117" fmla="*/ 693312 h 1656350"/>
              <a:gd name="connsiteX118" fmla="*/ 4421222 w 6955277"/>
              <a:gd name="connsiteY118" fmla="*/ 678720 h 1656350"/>
              <a:gd name="connsiteX119" fmla="*/ 4440677 w 6955277"/>
              <a:gd name="connsiteY119" fmla="*/ 668993 h 1656350"/>
              <a:gd name="connsiteX120" fmla="*/ 4557409 w 6955277"/>
              <a:gd name="connsiteY120" fmla="*/ 659265 h 1656350"/>
              <a:gd name="connsiteX121" fmla="*/ 4576863 w 6955277"/>
              <a:gd name="connsiteY121" fmla="*/ 639809 h 1656350"/>
              <a:gd name="connsiteX122" fmla="*/ 4586592 w 6955277"/>
              <a:gd name="connsiteY122" fmla="*/ 625218 h 1656350"/>
              <a:gd name="connsiteX123" fmla="*/ 4635230 w 6955277"/>
              <a:gd name="connsiteY123" fmla="*/ 634946 h 1656350"/>
              <a:gd name="connsiteX124" fmla="*/ 4669277 w 6955277"/>
              <a:gd name="connsiteY124" fmla="*/ 630082 h 1656350"/>
              <a:gd name="connsiteX125" fmla="*/ 4703324 w 6955277"/>
              <a:gd name="connsiteY125" fmla="*/ 610627 h 1656350"/>
              <a:gd name="connsiteX126" fmla="*/ 4732507 w 6955277"/>
              <a:gd name="connsiteY126" fmla="*/ 605763 h 1656350"/>
              <a:gd name="connsiteX127" fmla="*/ 4790873 w 6955277"/>
              <a:gd name="connsiteY127" fmla="*/ 591171 h 1656350"/>
              <a:gd name="connsiteX128" fmla="*/ 4844374 w 6955277"/>
              <a:gd name="connsiteY128" fmla="*/ 586307 h 1656350"/>
              <a:gd name="connsiteX129" fmla="*/ 4907605 w 6955277"/>
              <a:gd name="connsiteY129" fmla="*/ 547397 h 1656350"/>
              <a:gd name="connsiteX130" fmla="*/ 4990290 w 6955277"/>
              <a:gd name="connsiteY130" fmla="*/ 552261 h 1656350"/>
              <a:gd name="connsiteX131" fmla="*/ 5009745 w 6955277"/>
              <a:gd name="connsiteY131" fmla="*/ 523078 h 1656350"/>
              <a:gd name="connsiteX132" fmla="*/ 5024336 w 6955277"/>
              <a:gd name="connsiteY132" fmla="*/ 513350 h 1656350"/>
              <a:gd name="connsiteX133" fmla="*/ 5058383 w 6955277"/>
              <a:gd name="connsiteY133" fmla="*/ 503622 h 1656350"/>
              <a:gd name="connsiteX134" fmla="*/ 5072975 w 6955277"/>
              <a:gd name="connsiteY134" fmla="*/ 498759 h 1656350"/>
              <a:gd name="connsiteX135" fmla="*/ 5087566 w 6955277"/>
              <a:gd name="connsiteY135" fmla="*/ 489031 h 1656350"/>
              <a:gd name="connsiteX136" fmla="*/ 5136205 w 6955277"/>
              <a:gd name="connsiteY136" fmla="*/ 474439 h 1656350"/>
              <a:gd name="connsiteX137" fmla="*/ 5150796 w 6955277"/>
              <a:gd name="connsiteY137" fmla="*/ 469576 h 1656350"/>
              <a:gd name="connsiteX138" fmla="*/ 5179979 w 6955277"/>
              <a:gd name="connsiteY138" fmla="*/ 464712 h 1656350"/>
              <a:gd name="connsiteX139" fmla="*/ 5194571 w 6955277"/>
              <a:gd name="connsiteY139" fmla="*/ 459848 h 1656350"/>
              <a:gd name="connsiteX140" fmla="*/ 5267528 w 6955277"/>
              <a:gd name="connsiteY140" fmla="*/ 454984 h 1656350"/>
              <a:gd name="connsiteX141" fmla="*/ 5301575 w 6955277"/>
              <a:gd name="connsiteY141" fmla="*/ 450120 h 1656350"/>
              <a:gd name="connsiteX142" fmla="*/ 5321030 w 6955277"/>
              <a:gd name="connsiteY142" fmla="*/ 445256 h 1656350"/>
              <a:gd name="connsiteX143" fmla="*/ 5369668 w 6955277"/>
              <a:gd name="connsiteY143" fmla="*/ 440393 h 1656350"/>
              <a:gd name="connsiteX144" fmla="*/ 5437762 w 6955277"/>
              <a:gd name="connsiteY144" fmla="*/ 430665 h 1656350"/>
              <a:gd name="connsiteX145" fmla="*/ 5466945 w 6955277"/>
              <a:gd name="connsiteY145" fmla="*/ 425801 h 1656350"/>
              <a:gd name="connsiteX146" fmla="*/ 5500992 w 6955277"/>
              <a:gd name="connsiteY146" fmla="*/ 416073 h 1656350"/>
              <a:gd name="connsiteX147" fmla="*/ 5515583 w 6955277"/>
              <a:gd name="connsiteY147" fmla="*/ 411210 h 1656350"/>
              <a:gd name="connsiteX148" fmla="*/ 5564222 w 6955277"/>
              <a:gd name="connsiteY148" fmla="*/ 411211 h 1656350"/>
              <a:gd name="connsiteX149" fmla="*/ 5637179 w 6955277"/>
              <a:gd name="connsiteY149" fmla="*/ 386891 h 1656350"/>
              <a:gd name="connsiteX150" fmla="*/ 5666362 w 6955277"/>
              <a:gd name="connsiteY150" fmla="*/ 391754 h 1656350"/>
              <a:gd name="connsiteX151" fmla="*/ 5685817 w 6955277"/>
              <a:gd name="connsiteY151" fmla="*/ 382027 h 1656350"/>
              <a:gd name="connsiteX152" fmla="*/ 5724728 w 6955277"/>
              <a:gd name="connsiteY152" fmla="*/ 377163 h 1656350"/>
              <a:gd name="connsiteX153" fmla="*/ 5729592 w 6955277"/>
              <a:gd name="connsiteY153" fmla="*/ 362571 h 1656350"/>
              <a:gd name="connsiteX154" fmla="*/ 5744183 w 6955277"/>
              <a:gd name="connsiteY154" fmla="*/ 357707 h 1656350"/>
              <a:gd name="connsiteX155" fmla="*/ 5783094 w 6955277"/>
              <a:gd name="connsiteY155" fmla="*/ 352844 h 1656350"/>
              <a:gd name="connsiteX156" fmla="*/ 5812277 w 6955277"/>
              <a:gd name="connsiteY156" fmla="*/ 338252 h 1656350"/>
              <a:gd name="connsiteX157" fmla="*/ 5841460 w 6955277"/>
              <a:gd name="connsiteY157" fmla="*/ 328524 h 1656350"/>
              <a:gd name="connsiteX158" fmla="*/ 5885234 w 6955277"/>
              <a:gd name="connsiteY158" fmla="*/ 318797 h 1656350"/>
              <a:gd name="connsiteX159" fmla="*/ 5899826 w 6955277"/>
              <a:gd name="connsiteY159" fmla="*/ 309069 h 1656350"/>
              <a:gd name="connsiteX160" fmla="*/ 5997102 w 6955277"/>
              <a:gd name="connsiteY160" fmla="*/ 299341 h 1656350"/>
              <a:gd name="connsiteX161" fmla="*/ 6040877 w 6955277"/>
              <a:gd name="connsiteY161" fmla="*/ 284750 h 1656350"/>
              <a:gd name="connsiteX162" fmla="*/ 6055468 w 6955277"/>
              <a:gd name="connsiteY162" fmla="*/ 275022 h 1656350"/>
              <a:gd name="connsiteX163" fmla="*/ 6079788 w 6955277"/>
              <a:gd name="connsiteY163" fmla="*/ 270159 h 1656350"/>
              <a:gd name="connsiteX164" fmla="*/ 6128426 w 6955277"/>
              <a:gd name="connsiteY164" fmla="*/ 265295 h 1656350"/>
              <a:gd name="connsiteX165" fmla="*/ 6167336 w 6955277"/>
              <a:gd name="connsiteY165" fmla="*/ 260431 h 1656350"/>
              <a:gd name="connsiteX166" fmla="*/ 6206247 w 6955277"/>
              <a:gd name="connsiteY166" fmla="*/ 250703 h 1656350"/>
              <a:gd name="connsiteX167" fmla="*/ 6220839 w 6955277"/>
              <a:gd name="connsiteY167" fmla="*/ 240976 h 1656350"/>
              <a:gd name="connsiteX168" fmla="*/ 6274341 w 6955277"/>
              <a:gd name="connsiteY168" fmla="*/ 236112 h 1656350"/>
              <a:gd name="connsiteX169" fmla="*/ 6395936 w 6955277"/>
              <a:gd name="connsiteY169" fmla="*/ 221520 h 1656350"/>
              <a:gd name="connsiteX170" fmla="*/ 6410528 w 6955277"/>
              <a:gd name="connsiteY170" fmla="*/ 192337 h 1656350"/>
              <a:gd name="connsiteX171" fmla="*/ 6439711 w 6955277"/>
              <a:gd name="connsiteY171" fmla="*/ 187473 h 1656350"/>
              <a:gd name="connsiteX172" fmla="*/ 6488349 w 6955277"/>
              <a:gd name="connsiteY172" fmla="*/ 182610 h 1656350"/>
              <a:gd name="connsiteX173" fmla="*/ 6507805 w 6955277"/>
              <a:gd name="connsiteY173" fmla="*/ 177746 h 1656350"/>
              <a:gd name="connsiteX174" fmla="*/ 6522396 w 6955277"/>
              <a:gd name="connsiteY174" fmla="*/ 172882 h 1656350"/>
              <a:gd name="connsiteX175" fmla="*/ 6561307 w 6955277"/>
              <a:gd name="connsiteY175" fmla="*/ 163154 h 1656350"/>
              <a:gd name="connsiteX176" fmla="*/ 6566171 w 6955277"/>
              <a:gd name="connsiteY176" fmla="*/ 148563 h 1656350"/>
              <a:gd name="connsiteX177" fmla="*/ 6580762 w 6955277"/>
              <a:gd name="connsiteY177" fmla="*/ 143699 h 1656350"/>
              <a:gd name="connsiteX178" fmla="*/ 6605081 w 6955277"/>
              <a:gd name="connsiteY178" fmla="*/ 138835 h 1656350"/>
              <a:gd name="connsiteX179" fmla="*/ 6639128 w 6955277"/>
              <a:gd name="connsiteY179" fmla="*/ 119380 h 1656350"/>
              <a:gd name="connsiteX180" fmla="*/ 6643992 w 6955277"/>
              <a:gd name="connsiteY180" fmla="*/ 99924 h 1656350"/>
              <a:gd name="connsiteX181" fmla="*/ 6780179 w 6955277"/>
              <a:gd name="connsiteY181" fmla="*/ 99924 h 1656350"/>
              <a:gd name="connsiteX182" fmla="*/ 6785043 w 6955277"/>
              <a:gd name="connsiteY182" fmla="*/ 65878 h 1656350"/>
              <a:gd name="connsiteX183" fmla="*/ 6809362 w 6955277"/>
              <a:gd name="connsiteY183" fmla="*/ 61014 h 1656350"/>
              <a:gd name="connsiteX184" fmla="*/ 6828817 w 6955277"/>
              <a:gd name="connsiteY184" fmla="*/ 56150 h 1656350"/>
              <a:gd name="connsiteX185" fmla="*/ 6955277 w 6955277"/>
              <a:gd name="connsiteY185" fmla="*/ 2647 h 1656350"/>
              <a:gd name="connsiteX0" fmla="*/ 0 w 6955277"/>
              <a:gd name="connsiteY0" fmla="*/ 1656350 h 1656350"/>
              <a:gd name="connsiteX1" fmla="*/ 48639 w 6955277"/>
              <a:gd name="connsiteY1" fmla="*/ 1646622 h 1656350"/>
              <a:gd name="connsiteX2" fmla="*/ 77822 w 6955277"/>
              <a:gd name="connsiteY2" fmla="*/ 1632031 h 1656350"/>
              <a:gd name="connsiteX3" fmla="*/ 141051 w 6955277"/>
              <a:gd name="connsiteY3" fmla="*/ 1627167 h 1656350"/>
              <a:gd name="connsiteX4" fmla="*/ 170234 w 6955277"/>
              <a:gd name="connsiteY4" fmla="*/ 1602848 h 1656350"/>
              <a:gd name="connsiteX5" fmla="*/ 184826 w 6955277"/>
              <a:gd name="connsiteY5" fmla="*/ 1593120 h 1656350"/>
              <a:gd name="connsiteX6" fmla="*/ 238328 w 6955277"/>
              <a:gd name="connsiteY6" fmla="*/ 1593120 h 1656350"/>
              <a:gd name="connsiteX7" fmla="*/ 252919 w 6955277"/>
              <a:gd name="connsiteY7" fmla="*/ 1583393 h 1656350"/>
              <a:gd name="connsiteX8" fmla="*/ 301558 w 6955277"/>
              <a:gd name="connsiteY8" fmla="*/ 1578529 h 1656350"/>
              <a:gd name="connsiteX9" fmla="*/ 321013 w 6955277"/>
              <a:gd name="connsiteY9" fmla="*/ 1568801 h 1656350"/>
              <a:gd name="connsiteX10" fmla="*/ 369651 w 6955277"/>
              <a:gd name="connsiteY10" fmla="*/ 1549346 h 1656350"/>
              <a:gd name="connsiteX11" fmla="*/ 418290 w 6955277"/>
              <a:gd name="connsiteY11" fmla="*/ 1549346 h 1656350"/>
              <a:gd name="connsiteX12" fmla="*/ 432881 w 6955277"/>
              <a:gd name="connsiteY12" fmla="*/ 1534754 h 1656350"/>
              <a:gd name="connsiteX13" fmla="*/ 447473 w 6955277"/>
              <a:gd name="connsiteY13" fmla="*/ 1529890 h 1656350"/>
              <a:gd name="connsiteX14" fmla="*/ 515566 w 6955277"/>
              <a:gd name="connsiteY14" fmla="*/ 1529890 h 1656350"/>
              <a:gd name="connsiteX15" fmla="*/ 520430 w 6955277"/>
              <a:gd name="connsiteY15" fmla="*/ 1510435 h 1656350"/>
              <a:gd name="connsiteX16" fmla="*/ 612843 w 6955277"/>
              <a:gd name="connsiteY16" fmla="*/ 1510435 h 1656350"/>
              <a:gd name="connsiteX17" fmla="*/ 617707 w 6955277"/>
              <a:gd name="connsiteY17" fmla="*/ 1495844 h 1656350"/>
              <a:gd name="connsiteX18" fmla="*/ 666345 w 6955277"/>
              <a:gd name="connsiteY18" fmla="*/ 1490980 h 1656350"/>
              <a:gd name="connsiteX19" fmla="*/ 695528 w 6955277"/>
              <a:gd name="connsiteY19" fmla="*/ 1495844 h 1656350"/>
              <a:gd name="connsiteX20" fmla="*/ 753894 w 6955277"/>
              <a:gd name="connsiteY20" fmla="*/ 1486116 h 1656350"/>
              <a:gd name="connsiteX21" fmla="*/ 787941 w 6955277"/>
              <a:gd name="connsiteY21" fmla="*/ 1481252 h 1656350"/>
              <a:gd name="connsiteX22" fmla="*/ 792805 w 6955277"/>
              <a:gd name="connsiteY22" fmla="*/ 1466661 h 1656350"/>
              <a:gd name="connsiteX23" fmla="*/ 836579 w 6955277"/>
              <a:gd name="connsiteY23" fmla="*/ 1461797 h 1656350"/>
              <a:gd name="connsiteX24" fmla="*/ 851171 w 6955277"/>
              <a:gd name="connsiteY24" fmla="*/ 1456933 h 1656350"/>
              <a:gd name="connsiteX25" fmla="*/ 875490 w 6955277"/>
              <a:gd name="connsiteY25" fmla="*/ 1452069 h 1656350"/>
              <a:gd name="connsiteX26" fmla="*/ 894945 w 6955277"/>
              <a:gd name="connsiteY26" fmla="*/ 1447205 h 1656350"/>
              <a:gd name="connsiteX27" fmla="*/ 924128 w 6955277"/>
              <a:gd name="connsiteY27" fmla="*/ 1437478 h 1656350"/>
              <a:gd name="connsiteX28" fmla="*/ 933856 w 6955277"/>
              <a:gd name="connsiteY28" fmla="*/ 1422886 h 1656350"/>
              <a:gd name="connsiteX29" fmla="*/ 982494 w 6955277"/>
              <a:gd name="connsiteY29" fmla="*/ 1418022 h 1656350"/>
              <a:gd name="connsiteX30" fmla="*/ 997085 w 6955277"/>
              <a:gd name="connsiteY30" fmla="*/ 1413159 h 1656350"/>
              <a:gd name="connsiteX31" fmla="*/ 1011677 w 6955277"/>
              <a:gd name="connsiteY31" fmla="*/ 1403431 h 1656350"/>
              <a:gd name="connsiteX32" fmla="*/ 1118681 w 6955277"/>
              <a:gd name="connsiteY32" fmla="*/ 1398567 h 1656350"/>
              <a:gd name="connsiteX33" fmla="*/ 1147864 w 6955277"/>
              <a:gd name="connsiteY33" fmla="*/ 1388839 h 1656350"/>
              <a:gd name="connsiteX34" fmla="*/ 1240277 w 6955277"/>
              <a:gd name="connsiteY34" fmla="*/ 1374248 h 1656350"/>
              <a:gd name="connsiteX35" fmla="*/ 1269460 w 6955277"/>
              <a:gd name="connsiteY35" fmla="*/ 1364520 h 1656350"/>
              <a:gd name="connsiteX36" fmla="*/ 1303507 w 6955277"/>
              <a:gd name="connsiteY36" fmla="*/ 1354793 h 1656350"/>
              <a:gd name="connsiteX37" fmla="*/ 1332690 w 6955277"/>
              <a:gd name="connsiteY37" fmla="*/ 1340201 h 1656350"/>
              <a:gd name="connsiteX38" fmla="*/ 1400783 w 6955277"/>
              <a:gd name="connsiteY38" fmla="*/ 1330473 h 1656350"/>
              <a:gd name="connsiteX39" fmla="*/ 1429966 w 6955277"/>
              <a:gd name="connsiteY39" fmla="*/ 1320746 h 1656350"/>
              <a:gd name="connsiteX40" fmla="*/ 1444558 w 6955277"/>
              <a:gd name="connsiteY40" fmla="*/ 1315882 h 1656350"/>
              <a:gd name="connsiteX41" fmla="*/ 1532107 w 6955277"/>
              <a:gd name="connsiteY41" fmla="*/ 1301290 h 1656350"/>
              <a:gd name="connsiteX42" fmla="*/ 1561290 w 6955277"/>
              <a:gd name="connsiteY42" fmla="*/ 1291563 h 1656350"/>
              <a:gd name="connsiteX43" fmla="*/ 1600200 w 6955277"/>
              <a:gd name="connsiteY43" fmla="*/ 1286699 h 1656350"/>
              <a:gd name="connsiteX44" fmla="*/ 1634247 w 6955277"/>
              <a:gd name="connsiteY44" fmla="*/ 1281835 h 1656350"/>
              <a:gd name="connsiteX45" fmla="*/ 1697477 w 6955277"/>
              <a:gd name="connsiteY45" fmla="*/ 1272107 h 1656350"/>
              <a:gd name="connsiteX46" fmla="*/ 1712068 w 6955277"/>
              <a:gd name="connsiteY46" fmla="*/ 1262380 h 1656350"/>
              <a:gd name="connsiteX47" fmla="*/ 1736388 w 6955277"/>
              <a:gd name="connsiteY47" fmla="*/ 1257516 h 1656350"/>
              <a:gd name="connsiteX48" fmla="*/ 1823936 w 6955277"/>
              <a:gd name="connsiteY48" fmla="*/ 1252652 h 1656350"/>
              <a:gd name="connsiteX49" fmla="*/ 1828800 w 6955277"/>
              <a:gd name="connsiteY49" fmla="*/ 1228333 h 1656350"/>
              <a:gd name="connsiteX50" fmla="*/ 1843392 w 6955277"/>
              <a:gd name="connsiteY50" fmla="*/ 1223469 h 1656350"/>
              <a:gd name="connsiteX51" fmla="*/ 1867711 w 6955277"/>
              <a:gd name="connsiteY51" fmla="*/ 1218605 h 1656350"/>
              <a:gd name="connsiteX52" fmla="*/ 1945532 w 6955277"/>
              <a:gd name="connsiteY52" fmla="*/ 1213741 h 1656350"/>
              <a:gd name="connsiteX53" fmla="*/ 2018490 w 6955277"/>
              <a:gd name="connsiteY53" fmla="*/ 1199150 h 1656350"/>
              <a:gd name="connsiteX54" fmla="*/ 2091447 w 6955277"/>
              <a:gd name="connsiteY54" fmla="*/ 1189422 h 1656350"/>
              <a:gd name="connsiteX55" fmla="*/ 2106039 w 6955277"/>
              <a:gd name="connsiteY55" fmla="*/ 1179695 h 1656350"/>
              <a:gd name="connsiteX56" fmla="*/ 2140085 w 6955277"/>
              <a:gd name="connsiteY56" fmla="*/ 1174831 h 1656350"/>
              <a:gd name="connsiteX57" fmla="*/ 2188724 w 6955277"/>
              <a:gd name="connsiteY57" fmla="*/ 1160239 h 1656350"/>
              <a:gd name="connsiteX58" fmla="*/ 2222771 w 6955277"/>
              <a:gd name="connsiteY58" fmla="*/ 1155376 h 1656350"/>
              <a:gd name="connsiteX59" fmla="*/ 2237362 w 6955277"/>
              <a:gd name="connsiteY59" fmla="*/ 1150512 h 1656350"/>
              <a:gd name="connsiteX60" fmla="*/ 2305456 w 6955277"/>
              <a:gd name="connsiteY60" fmla="*/ 1140784 h 1656350"/>
              <a:gd name="connsiteX61" fmla="*/ 2349230 w 6955277"/>
              <a:gd name="connsiteY61" fmla="*/ 1131056 h 1656350"/>
              <a:gd name="connsiteX62" fmla="*/ 2363822 w 6955277"/>
              <a:gd name="connsiteY62" fmla="*/ 1126193 h 1656350"/>
              <a:gd name="connsiteX63" fmla="*/ 2431915 w 6955277"/>
              <a:gd name="connsiteY63" fmla="*/ 1116465 h 1656350"/>
              <a:gd name="connsiteX64" fmla="*/ 2436779 w 6955277"/>
              <a:gd name="connsiteY64" fmla="*/ 1101873 h 1656350"/>
              <a:gd name="connsiteX65" fmla="*/ 2465962 w 6955277"/>
              <a:gd name="connsiteY65" fmla="*/ 1092146 h 1656350"/>
              <a:gd name="connsiteX66" fmla="*/ 2572966 w 6955277"/>
              <a:gd name="connsiteY66" fmla="*/ 1092146 h 1656350"/>
              <a:gd name="connsiteX67" fmla="*/ 2587558 w 6955277"/>
              <a:gd name="connsiteY67" fmla="*/ 1082418 h 1656350"/>
              <a:gd name="connsiteX68" fmla="*/ 2602149 w 6955277"/>
              <a:gd name="connsiteY68" fmla="*/ 1077554 h 1656350"/>
              <a:gd name="connsiteX69" fmla="*/ 2616741 w 6955277"/>
              <a:gd name="connsiteY69" fmla="*/ 1067827 h 1656350"/>
              <a:gd name="connsiteX70" fmla="*/ 2645924 w 6955277"/>
              <a:gd name="connsiteY70" fmla="*/ 1062963 h 1656350"/>
              <a:gd name="connsiteX71" fmla="*/ 2704290 w 6955277"/>
              <a:gd name="connsiteY71" fmla="*/ 1043507 h 1656350"/>
              <a:gd name="connsiteX72" fmla="*/ 2718881 w 6955277"/>
              <a:gd name="connsiteY72" fmla="*/ 1038644 h 1656350"/>
              <a:gd name="connsiteX73" fmla="*/ 2733473 w 6955277"/>
              <a:gd name="connsiteY73" fmla="*/ 1033780 h 1656350"/>
              <a:gd name="connsiteX74" fmla="*/ 2752928 w 6955277"/>
              <a:gd name="connsiteY74" fmla="*/ 1028916 h 1656350"/>
              <a:gd name="connsiteX75" fmla="*/ 2777247 w 6955277"/>
              <a:gd name="connsiteY75" fmla="*/ 1024052 h 1656350"/>
              <a:gd name="connsiteX76" fmla="*/ 2830749 w 6955277"/>
              <a:gd name="connsiteY76" fmla="*/ 1019188 h 1656350"/>
              <a:gd name="connsiteX77" fmla="*/ 2864796 w 6955277"/>
              <a:gd name="connsiteY77" fmla="*/ 1014324 h 1656350"/>
              <a:gd name="connsiteX78" fmla="*/ 2879388 w 6955277"/>
              <a:gd name="connsiteY78" fmla="*/ 1009461 h 1656350"/>
              <a:gd name="connsiteX79" fmla="*/ 2898843 w 6955277"/>
              <a:gd name="connsiteY79" fmla="*/ 1004597 h 1656350"/>
              <a:gd name="connsiteX80" fmla="*/ 2913434 w 6955277"/>
              <a:gd name="connsiteY80" fmla="*/ 994869 h 1656350"/>
              <a:gd name="connsiteX81" fmla="*/ 2981528 w 6955277"/>
              <a:gd name="connsiteY81" fmla="*/ 985141 h 1656350"/>
              <a:gd name="connsiteX82" fmla="*/ 2986392 w 6955277"/>
              <a:gd name="connsiteY82" fmla="*/ 970550 h 1656350"/>
              <a:gd name="connsiteX83" fmla="*/ 3059349 w 6955277"/>
              <a:gd name="connsiteY83" fmla="*/ 965686 h 1656350"/>
              <a:gd name="connsiteX84" fmla="*/ 3107988 w 6955277"/>
              <a:gd name="connsiteY84" fmla="*/ 960822 h 1656350"/>
              <a:gd name="connsiteX85" fmla="*/ 3185809 w 6955277"/>
              <a:gd name="connsiteY85" fmla="*/ 951095 h 1656350"/>
              <a:gd name="connsiteX86" fmla="*/ 3229583 w 6955277"/>
              <a:gd name="connsiteY86" fmla="*/ 946231 h 1656350"/>
              <a:gd name="connsiteX87" fmla="*/ 3263630 w 6955277"/>
              <a:gd name="connsiteY87" fmla="*/ 936503 h 1656350"/>
              <a:gd name="connsiteX88" fmla="*/ 3302541 w 6955277"/>
              <a:gd name="connsiteY88" fmla="*/ 931639 h 1656350"/>
              <a:gd name="connsiteX89" fmla="*/ 3317132 w 6955277"/>
              <a:gd name="connsiteY89" fmla="*/ 926776 h 1656350"/>
              <a:gd name="connsiteX90" fmla="*/ 3321996 w 6955277"/>
              <a:gd name="connsiteY90" fmla="*/ 912184 h 1656350"/>
              <a:gd name="connsiteX91" fmla="*/ 3433864 w 6955277"/>
              <a:gd name="connsiteY91" fmla="*/ 907320 h 1656350"/>
              <a:gd name="connsiteX92" fmla="*/ 3438728 w 6955277"/>
              <a:gd name="connsiteY92" fmla="*/ 892729 h 1656350"/>
              <a:gd name="connsiteX93" fmla="*/ 3453319 w 6955277"/>
              <a:gd name="connsiteY93" fmla="*/ 883001 h 1656350"/>
              <a:gd name="connsiteX94" fmla="*/ 3540868 w 6955277"/>
              <a:gd name="connsiteY94" fmla="*/ 878137 h 1656350"/>
              <a:gd name="connsiteX95" fmla="*/ 3560324 w 6955277"/>
              <a:gd name="connsiteY95" fmla="*/ 873273 h 1656350"/>
              <a:gd name="connsiteX96" fmla="*/ 3589507 w 6955277"/>
              <a:gd name="connsiteY96" fmla="*/ 863546 h 1656350"/>
              <a:gd name="connsiteX97" fmla="*/ 3618690 w 6955277"/>
              <a:gd name="connsiteY97" fmla="*/ 858682 h 1656350"/>
              <a:gd name="connsiteX98" fmla="*/ 3715966 w 6955277"/>
              <a:gd name="connsiteY98" fmla="*/ 844090 h 1656350"/>
              <a:gd name="connsiteX99" fmla="*/ 3745149 w 6955277"/>
              <a:gd name="connsiteY99" fmla="*/ 834363 h 1656350"/>
              <a:gd name="connsiteX100" fmla="*/ 3750013 w 6955277"/>
              <a:gd name="connsiteY100" fmla="*/ 819771 h 1656350"/>
              <a:gd name="connsiteX101" fmla="*/ 3764605 w 6955277"/>
              <a:gd name="connsiteY101" fmla="*/ 814907 h 1656350"/>
              <a:gd name="connsiteX102" fmla="*/ 3798651 w 6955277"/>
              <a:gd name="connsiteY102" fmla="*/ 810044 h 1656350"/>
              <a:gd name="connsiteX103" fmla="*/ 3822971 w 6955277"/>
              <a:gd name="connsiteY103" fmla="*/ 805180 h 1656350"/>
              <a:gd name="connsiteX104" fmla="*/ 3852154 w 6955277"/>
              <a:gd name="connsiteY104" fmla="*/ 795452 h 1656350"/>
              <a:gd name="connsiteX105" fmla="*/ 3915383 w 6955277"/>
              <a:gd name="connsiteY105" fmla="*/ 790588 h 1656350"/>
              <a:gd name="connsiteX106" fmla="*/ 3959158 w 6955277"/>
              <a:gd name="connsiteY106" fmla="*/ 785724 h 1656350"/>
              <a:gd name="connsiteX107" fmla="*/ 3964022 w 6955277"/>
              <a:gd name="connsiteY107" fmla="*/ 771133 h 1656350"/>
              <a:gd name="connsiteX108" fmla="*/ 3993205 w 6955277"/>
              <a:gd name="connsiteY108" fmla="*/ 761405 h 1656350"/>
              <a:gd name="connsiteX109" fmla="*/ 4017524 w 6955277"/>
              <a:gd name="connsiteY109" fmla="*/ 756541 h 1656350"/>
              <a:gd name="connsiteX110" fmla="*/ 4036979 w 6955277"/>
              <a:gd name="connsiteY110" fmla="*/ 751678 h 1656350"/>
              <a:gd name="connsiteX111" fmla="*/ 4075890 w 6955277"/>
              <a:gd name="connsiteY111" fmla="*/ 746814 h 1656350"/>
              <a:gd name="connsiteX112" fmla="*/ 4095345 w 6955277"/>
              <a:gd name="connsiteY112" fmla="*/ 741950 h 1656350"/>
              <a:gd name="connsiteX113" fmla="*/ 4158575 w 6955277"/>
              <a:gd name="connsiteY113" fmla="*/ 727359 h 1656350"/>
              <a:gd name="connsiteX114" fmla="*/ 4173166 w 6955277"/>
              <a:gd name="connsiteY114" fmla="*/ 722495 h 1656350"/>
              <a:gd name="connsiteX115" fmla="*/ 4187758 w 6955277"/>
              <a:gd name="connsiteY115" fmla="*/ 712767 h 1656350"/>
              <a:gd name="connsiteX116" fmla="*/ 4265579 w 6955277"/>
              <a:gd name="connsiteY116" fmla="*/ 707903 h 1656350"/>
              <a:gd name="connsiteX117" fmla="*/ 4275307 w 6955277"/>
              <a:gd name="connsiteY117" fmla="*/ 693312 h 1656350"/>
              <a:gd name="connsiteX118" fmla="*/ 4421222 w 6955277"/>
              <a:gd name="connsiteY118" fmla="*/ 678720 h 1656350"/>
              <a:gd name="connsiteX119" fmla="*/ 4440677 w 6955277"/>
              <a:gd name="connsiteY119" fmla="*/ 668993 h 1656350"/>
              <a:gd name="connsiteX120" fmla="*/ 4557409 w 6955277"/>
              <a:gd name="connsiteY120" fmla="*/ 659265 h 1656350"/>
              <a:gd name="connsiteX121" fmla="*/ 4576863 w 6955277"/>
              <a:gd name="connsiteY121" fmla="*/ 639809 h 1656350"/>
              <a:gd name="connsiteX122" fmla="*/ 4586592 w 6955277"/>
              <a:gd name="connsiteY122" fmla="*/ 625218 h 1656350"/>
              <a:gd name="connsiteX123" fmla="*/ 4635230 w 6955277"/>
              <a:gd name="connsiteY123" fmla="*/ 634946 h 1656350"/>
              <a:gd name="connsiteX124" fmla="*/ 4669277 w 6955277"/>
              <a:gd name="connsiteY124" fmla="*/ 630082 h 1656350"/>
              <a:gd name="connsiteX125" fmla="*/ 4703324 w 6955277"/>
              <a:gd name="connsiteY125" fmla="*/ 610627 h 1656350"/>
              <a:gd name="connsiteX126" fmla="*/ 4732507 w 6955277"/>
              <a:gd name="connsiteY126" fmla="*/ 605763 h 1656350"/>
              <a:gd name="connsiteX127" fmla="*/ 4790873 w 6955277"/>
              <a:gd name="connsiteY127" fmla="*/ 591171 h 1656350"/>
              <a:gd name="connsiteX128" fmla="*/ 4834646 w 6955277"/>
              <a:gd name="connsiteY128" fmla="*/ 571716 h 1656350"/>
              <a:gd name="connsiteX129" fmla="*/ 4907605 w 6955277"/>
              <a:gd name="connsiteY129" fmla="*/ 547397 h 1656350"/>
              <a:gd name="connsiteX130" fmla="*/ 4990290 w 6955277"/>
              <a:gd name="connsiteY130" fmla="*/ 552261 h 1656350"/>
              <a:gd name="connsiteX131" fmla="*/ 5009745 w 6955277"/>
              <a:gd name="connsiteY131" fmla="*/ 523078 h 1656350"/>
              <a:gd name="connsiteX132" fmla="*/ 5024336 w 6955277"/>
              <a:gd name="connsiteY132" fmla="*/ 513350 h 1656350"/>
              <a:gd name="connsiteX133" fmla="*/ 5058383 w 6955277"/>
              <a:gd name="connsiteY133" fmla="*/ 503622 h 1656350"/>
              <a:gd name="connsiteX134" fmla="*/ 5072975 w 6955277"/>
              <a:gd name="connsiteY134" fmla="*/ 498759 h 1656350"/>
              <a:gd name="connsiteX135" fmla="*/ 5087566 w 6955277"/>
              <a:gd name="connsiteY135" fmla="*/ 489031 h 1656350"/>
              <a:gd name="connsiteX136" fmla="*/ 5136205 w 6955277"/>
              <a:gd name="connsiteY136" fmla="*/ 474439 h 1656350"/>
              <a:gd name="connsiteX137" fmla="*/ 5150796 w 6955277"/>
              <a:gd name="connsiteY137" fmla="*/ 469576 h 1656350"/>
              <a:gd name="connsiteX138" fmla="*/ 5179979 w 6955277"/>
              <a:gd name="connsiteY138" fmla="*/ 464712 h 1656350"/>
              <a:gd name="connsiteX139" fmla="*/ 5194571 w 6955277"/>
              <a:gd name="connsiteY139" fmla="*/ 459848 h 1656350"/>
              <a:gd name="connsiteX140" fmla="*/ 5267528 w 6955277"/>
              <a:gd name="connsiteY140" fmla="*/ 454984 h 1656350"/>
              <a:gd name="connsiteX141" fmla="*/ 5301575 w 6955277"/>
              <a:gd name="connsiteY141" fmla="*/ 450120 h 1656350"/>
              <a:gd name="connsiteX142" fmla="*/ 5321030 w 6955277"/>
              <a:gd name="connsiteY142" fmla="*/ 445256 h 1656350"/>
              <a:gd name="connsiteX143" fmla="*/ 5369668 w 6955277"/>
              <a:gd name="connsiteY143" fmla="*/ 440393 h 1656350"/>
              <a:gd name="connsiteX144" fmla="*/ 5437762 w 6955277"/>
              <a:gd name="connsiteY144" fmla="*/ 430665 h 1656350"/>
              <a:gd name="connsiteX145" fmla="*/ 5466945 w 6955277"/>
              <a:gd name="connsiteY145" fmla="*/ 425801 h 1656350"/>
              <a:gd name="connsiteX146" fmla="*/ 5500992 w 6955277"/>
              <a:gd name="connsiteY146" fmla="*/ 416073 h 1656350"/>
              <a:gd name="connsiteX147" fmla="*/ 5515583 w 6955277"/>
              <a:gd name="connsiteY147" fmla="*/ 411210 h 1656350"/>
              <a:gd name="connsiteX148" fmla="*/ 5564222 w 6955277"/>
              <a:gd name="connsiteY148" fmla="*/ 411211 h 1656350"/>
              <a:gd name="connsiteX149" fmla="*/ 5637179 w 6955277"/>
              <a:gd name="connsiteY149" fmla="*/ 386891 h 1656350"/>
              <a:gd name="connsiteX150" fmla="*/ 5666362 w 6955277"/>
              <a:gd name="connsiteY150" fmla="*/ 391754 h 1656350"/>
              <a:gd name="connsiteX151" fmla="*/ 5685817 w 6955277"/>
              <a:gd name="connsiteY151" fmla="*/ 382027 h 1656350"/>
              <a:gd name="connsiteX152" fmla="*/ 5724728 w 6955277"/>
              <a:gd name="connsiteY152" fmla="*/ 377163 h 1656350"/>
              <a:gd name="connsiteX153" fmla="*/ 5729592 w 6955277"/>
              <a:gd name="connsiteY153" fmla="*/ 362571 h 1656350"/>
              <a:gd name="connsiteX154" fmla="*/ 5744183 w 6955277"/>
              <a:gd name="connsiteY154" fmla="*/ 357707 h 1656350"/>
              <a:gd name="connsiteX155" fmla="*/ 5783094 w 6955277"/>
              <a:gd name="connsiteY155" fmla="*/ 352844 h 1656350"/>
              <a:gd name="connsiteX156" fmla="*/ 5812277 w 6955277"/>
              <a:gd name="connsiteY156" fmla="*/ 338252 h 1656350"/>
              <a:gd name="connsiteX157" fmla="*/ 5841460 w 6955277"/>
              <a:gd name="connsiteY157" fmla="*/ 328524 h 1656350"/>
              <a:gd name="connsiteX158" fmla="*/ 5885234 w 6955277"/>
              <a:gd name="connsiteY158" fmla="*/ 318797 h 1656350"/>
              <a:gd name="connsiteX159" fmla="*/ 5899826 w 6955277"/>
              <a:gd name="connsiteY159" fmla="*/ 309069 h 1656350"/>
              <a:gd name="connsiteX160" fmla="*/ 5997102 w 6955277"/>
              <a:gd name="connsiteY160" fmla="*/ 299341 h 1656350"/>
              <a:gd name="connsiteX161" fmla="*/ 6040877 w 6955277"/>
              <a:gd name="connsiteY161" fmla="*/ 284750 h 1656350"/>
              <a:gd name="connsiteX162" fmla="*/ 6055468 w 6955277"/>
              <a:gd name="connsiteY162" fmla="*/ 275022 h 1656350"/>
              <a:gd name="connsiteX163" fmla="*/ 6079788 w 6955277"/>
              <a:gd name="connsiteY163" fmla="*/ 270159 h 1656350"/>
              <a:gd name="connsiteX164" fmla="*/ 6128426 w 6955277"/>
              <a:gd name="connsiteY164" fmla="*/ 265295 h 1656350"/>
              <a:gd name="connsiteX165" fmla="*/ 6167336 w 6955277"/>
              <a:gd name="connsiteY165" fmla="*/ 260431 h 1656350"/>
              <a:gd name="connsiteX166" fmla="*/ 6206247 w 6955277"/>
              <a:gd name="connsiteY166" fmla="*/ 250703 h 1656350"/>
              <a:gd name="connsiteX167" fmla="*/ 6220839 w 6955277"/>
              <a:gd name="connsiteY167" fmla="*/ 240976 h 1656350"/>
              <a:gd name="connsiteX168" fmla="*/ 6274341 w 6955277"/>
              <a:gd name="connsiteY168" fmla="*/ 236112 h 1656350"/>
              <a:gd name="connsiteX169" fmla="*/ 6395936 w 6955277"/>
              <a:gd name="connsiteY169" fmla="*/ 221520 h 1656350"/>
              <a:gd name="connsiteX170" fmla="*/ 6410528 w 6955277"/>
              <a:gd name="connsiteY170" fmla="*/ 192337 h 1656350"/>
              <a:gd name="connsiteX171" fmla="*/ 6439711 w 6955277"/>
              <a:gd name="connsiteY171" fmla="*/ 187473 h 1656350"/>
              <a:gd name="connsiteX172" fmla="*/ 6488349 w 6955277"/>
              <a:gd name="connsiteY172" fmla="*/ 182610 h 1656350"/>
              <a:gd name="connsiteX173" fmla="*/ 6507805 w 6955277"/>
              <a:gd name="connsiteY173" fmla="*/ 177746 h 1656350"/>
              <a:gd name="connsiteX174" fmla="*/ 6522396 w 6955277"/>
              <a:gd name="connsiteY174" fmla="*/ 172882 h 1656350"/>
              <a:gd name="connsiteX175" fmla="*/ 6561307 w 6955277"/>
              <a:gd name="connsiteY175" fmla="*/ 163154 h 1656350"/>
              <a:gd name="connsiteX176" fmla="*/ 6566171 w 6955277"/>
              <a:gd name="connsiteY176" fmla="*/ 148563 h 1656350"/>
              <a:gd name="connsiteX177" fmla="*/ 6580762 w 6955277"/>
              <a:gd name="connsiteY177" fmla="*/ 143699 h 1656350"/>
              <a:gd name="connsiteX178" fmla="*/ 6605081 w 6955277"/>
              <a:gd name="connsiteY178" fmla="*/ 138835 h 1656350"/>
              <a:gd name="connsiteX179" fmla="*/ 6639128 w 6955277"/>
              <a:gd name="connsiteY179" fmla="*/ 119380 h 1656350"/>
              <a:gd name="connsiteX180" fmla="*/ 6643992 w 6955277"/>
              <a:gd name="connsiteY180" fmla="*/ 99924 h 1656350"/>
              <a:gd name="connsiteX181" fmla="*/ 6780179 w 6955277"/>
              <a:gd name="connsiteY181" fmla="*/ 99924 h 1656350"/>
              <a:gd name="connsiteX182" fmla="*/ 6785043 w 6955277"/>
              <a:gd name="connsiteY182" fmla="*/ 65878 h 1656350"/>
              <a:gd name="connsiteX183" fmla="*/ 6809362 w 6955277"/>
              <a:gd name="connsiteY183" fmla="*/ 61014 h 1656350"/>
              <a:gd name="connsiteX184" fmla="*/ 6828817 w 6955277"/>
              <a:gd name="connsiteY184" fmla="*/ 56150 h 1656350"/>
              <a:gd name="connsiteX185" fmla="*/ 6955277 w 6955277"/>
              <a:gd name="connsiteY185" fmla="*/ 2647 h 1656350"/>
              <a:gd name="connsiteX0" fmla="*/ 0 w 6955277"/>
              <a:gd name="connsiteY0" fmla="*/ 1656350 h 1656350"/>
              <a:gd name="connsiteX1" fmla="*/ 48639 w 6955277"/>
              <a:gd name="connsiteY1" fmla="*/ 1646622 h 1656350"/>
              <a:gd name="connsiteX2" fmla="*/ 77822 w 6955277"/>
              <a:gd name="connsiteY2" fmla="*/ 1632031 h 1656350"/>
              <a:gd name="connsiteX3" fmla="*/ 141051 w 6955277"/>
              <a:gd name="connsiteY3" fmla="*/ 1627167 h 1656350"/>
              <a:gd name="connsiteX4" fmla="*/ 170234 w 6955277"/>
              <a:gd name="connsiteY4" fmla="*/ 1602848 h 1656350"/>
              <a:gd name="connsiteX5" fmla="*/ 184826 w 6955277"/>
              <a:gd name="connsiteY5" fmla="*/ 1593120 h 1656350"/>
              <a:gd name="connsiteX6" fmla="*/ 238328 w 6955277"/>
              <a:gd name="connsiteY6" fmla="*/ 1593120 h 1656350"/>
              <a:gd name="connsiteX7" fmla="*/ 252919 w 6955277"/>
              <a:gd name="connsiteY7" fmla="*/ 1583393 h 1656350"/>
              <a:gd name="connsiteX8" fmla="*/ 301558 w 6955277"/>
              <a:gd name="connsiteY8" fmla="*/ 1578529 h 1656350"/>
              <a:gd name="connsiteX9" fmla="*/ 321013 w 6955277"/>
              <a:gd name="connsiteY9" fmla="*/ 1568801 h 1656350"/>
              <a:gd name="connsiteX10" fmla="*/ 369651 w 6955277"/>
              <a:gd name="connsiteY10" fmla="*/ 1549346 h 1656350"/>
              <a:gd name="connsiteX11" fmla="*/ 418290 w 6955277"/>
              <a:gd name="connsiteY11" fmla="*/ 1549346 h 1656350"/>
              <a:gd name="connsiteX12" fmla="*/ 432881 w 6955277"/>
              <a:gd name="connsiteY12" fmla="*/ 1534754 h 1656350"/>
              <a:gd name="connsiteX13" fmla="*/ 447473 w 6955277"/>
              <a:gd name="connsiteY13" fmla="*/ 1529890 h 1656350"/>
              <a:gd name="connsiteX14" fmla="*/ 515566 w 6955277"/>
              <a:gd name="connsiteY14" fmla="*/ 1529890 h 1656350"/>
              <a:gd name="connsiteX15" fmla="*/ 520430 w 6955277"/>
              <a:gd name="connsiteY15" fmla="*/ 1510435 h 1656350"/>
              <a:gd name="connsiteX16" fmla="*/ 612843 w 6955277"/>
              <a:gd name="connsiteY16" fmla="*/ 1510435 h 1656350"/>
              <a:gd name="connsiteX17" fmla="*/ 617707 w 6955277"/>
              <a:gd name="connsiteY17" fmla="*/ 1495844 h 1656350"/>
              <a:gd name="connsiteX18" fmla="*/ 666345 w 6955277"/>
              <a:gd name="connsiteY18" fmla="*/ 1490980 h 1656350"/>
              <a:gd name="connsiteX19" fmla="*/ 695528 w 6955277"/>
              <a:gd name="connsiteY19" fmla="*/ 1495844 h 1656350"/>
              <a:gd name="connsiteX20" fmla="*/ 753894 w 6955277"/>
              <a:gd name="connsiteY20" fmla="*/ 1486116 h 1656350"/>
              <a:gd name="connsiteX21" fmla="*/ 787941 w 6955277"/>
              <a:gd name="connsiteY21" fmla="*/ 1481252 h 1656350"/>
              <a:gd name="connsiteX22" fmla="*/ 792805 w 6955277"/>
              <a:gd name="connsiteY22" fmla="*/ 1466661 h 1656350"/>
              <a:gd name="connsiteX23" fmla="*/ 836579 w 6955277"/>
              <a:gd name="connsiteY23" fmla="*/ 1461797 h 1656350"/>
              <a:gd name="connsiteX24" fmla="*/ 851171 w 6955277"/>
              <a:gd name="connsiteY24" fmla="*/ 1456933 h 1656350"/>
              <a:gd name="connsiteX25" fmla="*/ 875490 w 6955277"/>
              <a:gd name="connsiteY25" fmla="*/ 1452069 h 1656350"/>
              <a:gd name="connsiteX26" fmla="*/ 894945 w 6955277"/>
              <a:gd name="connsiteY26" fmla="*/ 1447205 h 1656350"/>
              <a:gd name="connsiteX27" fmla="*/ 924128 w 6955277"/>
              <a:gd name="connsiteY27" fmla="*/ 1437478 h 1656350"/>
              <a:gd name="connsiteX28" fmla="*/ 933856 w 6955277"/>
              <a:gd name="connsiteY28" fmla="*/ 1422886 h 1656350"/>
              <a:gd name="connsiteX29" fmla="*/ 982494 w 6955277"/>
              <a:gd name="connsiteY29" fmla="*/ 1418022 h 1656350"/>
              <a:gd name="connsiteX30" fmla="*/ 997085 w 6955277"/>
              <a:gd name="connsiteY30" fmla="*/ 1413159 h 1656350"/>
              <a:gd name="connsiteX31" fmla="*/ 1011677 w 6955277"/>
              <a:gd name="connsiteY31" fmla="*/ 1403431 h 1656350"/>
              <a:gd name="connsiteX32" fmla="*/ 1118681 w 6955277"/>
              <a:gd name="connsiteY32" fmla="*/ 1398567 h 1656350"/>
              <a:gd name="connsiteX33" fmla="*/ 1147864 w 6955277"/>
              <a:gd name="connsiteY33" fmla="*/ 1388839 h 1656350"/>
              <a:gd name="connsiteX34" fmla="*/ 1240277 w 6955277"/>
              <a:gd name="connsiteY34" fmla="*/ 1374248 h 1656350"/>
              <a:gd name="connsiteX35" fmla="*/ 1269460 w 6955277"/>
              <a:gd name="connsiteY35" fmla="*/ 1364520 h 1656350"/>
              <a:gd name="connsiteX36" fmla="*/ 1303507 w 6955277"/>
              <a:gd name="connsiteY36" fmla="*/ 1354793 h 1656350"/>
              <a:gd name="connsiteX37" fmla="*/ 1332690 w 6955277"/>
              <a:gd name="connsiteY37" fmla="*/ 1340201 h 1656350"/>
              <a:gd name="connsiteX38" fmla="*/ 1400783 w 6955277"/>
              <a:gd name="connsiteY38" fmla="*/ 1330473 h 1656350"/>
              <a:gd name="connsiteX39" fmla="*/ 1429966 w 6955277"/>
              <a:gd name="connsiteY39" fmla="*/ 1320746 h 1656350"/>
              <a:gd name="connsiteX40" fmla="*/ 1444558 w 6955277"/>
              <a:gd name="connsiteY40" fmla="*/ 1315882 h 1656350"/>
              <a:gd name="connsiteX41" fmla="*/ 1532107 w 6955277"/>
              <a:gd name="connsiteY41" fmla="*/ 1301290 h 1656350"/>
              <a:gd name="connsiteX42" fmla="*/ 1561290 w 6955277"/>
              <a:gd name="connsiteY42" fmla="*/ 1291563 h 1656350"/>
              <a:gd name="connsiteX43" fmla="*/ 1600200 w 6955277"/>
              <a:gd name="connsiteY43" fmla="*/ 1286699 h 1656350"/>
              <a:gd name="connsiteX44" fmla="*/ 1634247 w 6955277"/>
              <a:gd name="connsiteY44" fmla="*/ 1281835 h 1656350"/>
              <a:gd name="connsiteX45" fmla="*/ 1697477 w 6955277"/>
              <a:gd name="connsiteY45" fmla="*/ 1272107 h 1656350"/>
              <a:gd name="connsiteX46" fmla="*/ 1712068 w 6955277"/>
              <a:gd name="connsiteY46" fmla="*/ 1262380 h 1656350"/>
              <a:gd name="connsiteX47" fmla="*/ 1736388 w 6955277"/>
              <a:gd name="connsiteY47" fmla="*/ 1257516 h 1656350"/>
              <a:gd name="connsiteX48" fmla="*/ 1823936 w 6955277"/>
              <a:gd name="connsiteY48" fmla="*/ 1252652 h 1656350"/>
              <a:gd name="connsiteX49" fmla="*/ 1828800 w 6955277"/>
              <a:gd name="connsiteY49" fmla="*/ 1228333 h 1656350"/>
              <a:gd name="connsiteX50" fmla="*/ 1843392 w 6955277"/>
              <a:gd name="connsiteY50" fmla="*/ 1223469 h 1656350"/>
              <a:gd name="connsiteX51" fmla="*/ 1867711 w 6955277"/>
              <a:gd name="connsiteY51" fmla="*/ 1218605 h 1656350"/>
              <a:gd name="connsiteX52" fmla="*/ 1945532 w 6955277"/>
              <a:gd name="connsiteY52" fmla="*/ 1213741 h 1656350"/>
              <a:gd name="connsiteX53" fmla="*/ 2018490 w 6955277"/>
              <a:gd name="connsiteY53" fmla="*/ 1199150 h 1656350"/>
              <a:gd name="connsiteX54" fmla="*/ 2091447 w 6955277"/>
              <a:gd name="connsiteY54" fmla="*/ 1189422 h 1656350"/>
              <a:gd name="connsiteX55" fmla="*/ 2106039 w 6955277"/>
              <a:gd name="connsiteY55" fmla="*/ 1179695 h 1656350"/>
              <a:gd name="connsiteX56" fmla="*/ 2140085 w 6955277"/>
              <a:gd name="connsiteY56" fmla="*/ 1174831 h 1656350"/>
              <a:gd name="connsiteX57" fmla="*/ 2188724 w 6955277"/>
              <a:gd name="connsiteY57" fmla="*/ 1160239 h 1656350"/>
              <a:gd name="connsiteX58" fmla="*/ 2222771 w 6955277"/>
              <a:gd name="connsiteY58" fmla="*/ 1155376 h 1656350"/>
              <a:gd name="connsiteX59" fmla="*/ 2237362 w 6955277"/>
              <a:gd name="connsiteY59" fmla="*/ 1150512 h 1656350"/>
              <a:gd name="connsiteX60" fmla="*/ 2305456 w 6955277"/>
              <a:gd name="connsiteY60" fmla="*/ 1140784 h 1656350"/>
              <a:gd name="connsiteX61" fmla="*/ 2349230 w 6955277"/>
              <a:gd name="connsiteY61" fmla="*/ 1131056 h 1656350"/>
              <a:gd name="connsiteX62" fmla="*/ 2363822 w 6955277"/>
              <a:gd name="connsiteY62" fmla="*/ 1126193 h 1656350"/>
              <a:gd name="connsiteX63" fmla="*/ 2431915 w 6955277"/>
              <a:gd name="connsiteY63" fmla="*/ 1116465 h 1656350"/>
              <a:gd name="connsiteX64" fmla="*/ 2436779 w 6955277"/>
              <a:gd name="connsiteY64" fmla="*/ 1101873 h 1656350"/>
              <a:gd name="connsiteX65" fmla="*/ 2465962 w 6955277"/>
              <a:gd name="connsiteY65" fmla="*/ 1092146 h 1656350"/>
              <a:gd name="connsiteX66" fmla="*/ 2572966 w 6955277"/>
              <a:gd name="connsiteY66" fmla="*/ 1092146 h 1656350"/>
              <a:gd name="connsiteX67" fmla="*/ 2587558 w 6955277"/>
              <a:gd name="connsiteY67" fmla="*/ 1082418 h 1656350"/>
              <a:gd name="connsiteX68" fmla="*/ 2602149 w 6955277"/>
              <a:gd name="connsiteY68" fmla="*/ 1077554 h 1656350"/>
              <a:gd name="connsiteX69" fmla="*/ 2616741 w 6955277"/>
              <a:gd name="connsiteY69" fmla="*/ 1067827 h 1656350"/>
              <a:gd name="connsiteX70" fmla="*/ 2645924 w 6955277"/>
              <a:gd name="connsiteY70" fmla="*/ 1062963 h 1656350"/>
              <a:gd name="connsiteX71" fmla="*/ 2704290 w 6955277"/>
              <a:gd name="connsiteY71" fmla="*/ 1043507 h 1656350"/>
              <a:gd name="connsiteX72" fmla="*/ 2718881 w 6955277"/>
              <a:gd name="connsiteY72" fmla="*/ 1038644 h 1656350"/>
              <a:gd name="connsiteX73" fmla="*/ 2733473 w 6955277"/>
              <a:gd name="connsiteY73" fmla="*/ 1033780 h 1656350"/>
              <a:gd name="connsiteX74" fmla="*/ 2752928 w 6955277"/>
              <a:gd name="connsiteY74" fmla="*/ 1028916 h 1656350"/>
              <a:gd name="connsiteX75" fmla="*/ 2777247 w 6955277"/>
              <a:gd name="connsiteY75" fmla="*/ 1024052 h 1656350"/>
              <a:gd name="connsiteX76" fmla="*/ 2830749 w 6955277"/>
              <a:gd name="connsiteY76" fmla="*/ 1019188 h 1656350"/>
              <a:gd name="connsiteX77" fmla="*/ 2864796 w 6955277"/>
              <a:gd name="connsiteY77" fmla="*/ 1014324 h 1656350"/>
              <a:gd name="connsiteX78" fmla="*/ 2879388 w 6955277"/>
              <a:gd name="connsiteY78" fmla="*/ 1009461 h 1656350"/>
              <a:gd name="connsiteX79" fmla="*/ 2898843 w 6955277"/>
              <a:gd name="connsiteY79" fmla="*/ 1004597 h 1656350"/>
              <a:gd name="connsiteX80" fmla="*/ 2913434 w 6955277"/>
              <a:gd name="connsiteY80" fmla="*/ 994869 h 1656350"/>
              <a:gd name="connsiteX81" fmla="*/ 2981528 w 6955277"/>
              <a:gd name="connsiteY81" fmla="*/ 985141 h 1656350"/>
              <a:gd name="connsiteX82" fmla="*/ 2986392 w 6955277"/>
              <a:gd name="connsiteY82" fmla="*/ 970550 h 1656350"/>
              <a:gd name="connsiteX83" fmla="*/ 3059349 w 6955277"/>
              <a:gd name="connsiteY83" fmla="*/ 965686 h 1656350"/>
              <a:gd name="connsiteX84" fmla="*/ 3107988 w 6955277"/>
              <a:gd name="connsiteY84" fmla="*/ 960822 h 1656350"/>
              <a:gd name="connsiteX85" fmla="*/ 3185809 w 6955277"/>
              <a:gd name="connsiteY85" fmla="*/ 951095 h 1656350"/>
              <a:gd name="connsiteX86" fmla="*/ 3229583 w 6955277"/>
              <a:gd name="connsiteY86" fmla="*/ 946231 h 1656350"/>
              <a:gd name="connsiteX87" fmla="*/ 3263630 w 6955277"/>
              <a:gd name="connsiteY87" fmla="*/ 936503 h 1656350"/>
              <a:gd name="connsiteX88" fmla="*/ 3302541 w 6955277"/>
              <a:gd name="connsiteY88" fmla="*/ 931639 h 1656350"/>
              <a:gd name="connsiteX89" fmla="*/ 3317132 w 6955277"/>
              <a:gd name="connsiteY89" fmla="*/ 926776 h 1656350"/>
              <a:gd name="connsiteX90" fmla="*/ 3321996 w 6955277"/>
              <a:gd name="connsiteY90" fmla="*/ 912184 h 1656350"/>
              <a:gd name="connsiteX91" fmla="*/ 3433864 w 6955277"/>
              <a:gd name="connsiteY91" fmla="*/ 907320 h 1656350"/>
              <a:gd name="connsiteX92" fmla="*/ 3438728 w 6955277"/>
              <a:gd name="connsiteY92" fmla="*/ 892729 h 1656350"/>
              <a:gd name="connsiteX93" fmla="*/ 3453319 w 6955277"/>
              <a:gd name="connsiteY93" fmla="*/ 883001 h 1656350"/>
              <a:gd name="connsiteX94" fmla="*/ 3540868 w 6955277"/>
              <a:gd name="connsiteY94" fmla="*/ 878137 h 1656350"/>
              <a:gd name="connsiteX95" fmla="*/ 3560324 w 6955277"/>
              <a:gd name="connsiteY95" fmla="*/ 873273 h 1656350"/>
              <a:gd name="connsiteX96" fmla="*/ 3589507 w 6955277"/>
              <a:gd name="connsiteY96" fmla="*/ 863546 h 1656350"/>
              <a:gd name="connsiteX97" fmla="*/ 3618690 w 6955277"/>
              <a:gd name="connsiteY97" fmla="*/ 858682 h 1656350"/>
              <a:gd name="connsiteX98" fmla="*/ 3715966 w 6955277"/>
              <a:gd name="connsiteY98" fmla="*/ 844090 h 1656350"/>
              <a:gd name="connsiteX99" fmla="*/ 3745149 w 6955277"/>
              <a:gd name="connsiteY99" fmla="*/ 834363 h 1656350"/>
              <a:gd name="connsiteX100" fmla="*/ 3750013 w 6955277"/>
              <a:gd name="connsiteY100" fmla="*/ 819771 h 1656350"/>
              <a:gd name="connsiteX101" fmla="*/ 3764605 w 6955277"/>
              <a:gd name="connsiteY101" fmla="*/ 814907 h 1656350"/>
              <a:gd name="connsiteX102" fmla="*/ 3798651 w 6955277"/>
              <a:gd name="connsiteY102" fmla="*/ 810044 h 1656350"/>
              <a:gd name="connsiteX103" fmla="*/ 3822971 w 6955277"/>
              <a:gd name="connsiteY103" fmla="*/ 805180 h 1656350"/>
              <a:gd name="connsiteX104" fmla="*/ 3852154 w 6955277"/>
              <a:gd name="connsiteY104" fmla="*/ 795452 h 1656350"/>
              <a:gd name="connsiteX105" fmla="*/ 3915383 w 6955277"/>
              <a:gd name="connsiteY105" fmla="*/ 790588 h 1656350"/>
              <a:gd name="connsiteX106" fmla="*/ 3959158 w 6955277"/>
              <a:gd name="connsiteY106" fmla="*/ 785724 h 1656350"/>
              <a:gd name="connsiteX107" fmla="*/ 3964022 w 6955277"/>
              <a:gd name="connsiteY107" fmla="*/ 771133 h 1656350"/>
              <a:gd name="connsiteX108" fmla="*/ 3993205 w 6955277"/>
              <a:gd name="connsiteY108" fmla="*/ 761405 h 1656350"/>
              <a:gd name="connsiteX109" fmla="*/ 4017524 w 6955277"/>
              <a:gd name="connsiteY109" fmla="*/ 756541 h 1656350"/>
              <a:gd name="connsiteX110" fmla="*/ 4036979 w 6955277"/>
              <a:gd name="connsiteY110" fmla="*/ 751678 h 1656350"/>
              <a:gd name="connsiteX111" fmla="*/ 4075890 w 6955277"/>
              <a:gd name="connsiteY111" fmla="*/ 746814 h 1656350"/>
              <a:gd name="connsiteX112" fmla="*/ 4095345 w 6955277"/>
              <a:gd name="connsiteY112" fmla="*/ 741950 h 1656350"/>
              <a:gd name="connsiteX113" fmla="*/ 4158575 w 6955277"/>
              <a:gd name="connsiteY113" fmla="*/ 727359 h 1656350"/>
              <a:gd name="connsiteX114" fmla="*/ 4173166 w 6955277"/>
              <a:gd name="connsiteY114" fmla="*/ 722495 h 1656350"/>
              <a:gd name="connsiteX115" fmla="*/ 4187758 w 6955277"/>
              <a:gd name="connsiteY115" fmla="*/ 712767 h 1656350"/>
              <a:gd name="connsiteX116" fmla="*/ 4265579 w 6955277"/>
              <a:gd name="connsiteY116" fmla="*/ 707903 h 1656350"/>
              <a:gd name="connsiteX117" fmla="*/ 4275307 w 6955277"/>
              <a:gd name="connsiteY117" fmla="*/ 693312 h 1656350"/>
              <a:gd name="connsiteX118" fmla="*/ 4421222 w 6955277"/>
              <a:gd name="connsiteY118" fmla="*/ 678720 h 1656350"/>
              <a:gd name="connsiteX119" fmla="*/ 4440677 w 6955277"/>
              <a:gd name="connsiteY119" fmla="*/ 668993 h 1656350"/>
              <a:gd name="connsiteX120" fmla="*/ 4557409 w 6955277"/>
              <a:gd name="connsiteY120" fmla="*/ 659265 h 1656350"/>
              <a:gd name="connsiteX121" fmla="*/ 4576863 w 6955277"/>
              <a:gd name="connsiteY121" fmla="*/ 639809 h 1656350"/>
              <a:gd name="connsiteX122" fmla="*/ 4586592 w 6955277"/>
              <a:gd name="connsiteY122" fmla="*/ 625218 h 1656350"/>
              <a:gd name="connsiteX123" fmla="*/ 4635230 w 6955277"/>
              <a:gd name="connsiteY123" fmla="*/ 634946 h 1656350"/>
              <a:gd name="connsiteX124" fmla="*/ 4669277 w 6955277"/>
              <a:gd name="connsiteY124" fmla="*/ 630082 h 1656350"/>
              <a:gd name="connsiteX125" fmla="*/ 4703324 w 6955277"/>
              <a:gd name="connsiteY125" fmla="*/ 610627 h 1656350"/>
              <a:gd name="connsiteX126" fmla="*/ 4732507 w 6955277"/>
              <a:gd name="connsiteY126" fmla="*/ 605763 h 1656350"/>
              <a:gd name="connsiteX127" fmla="*/ 4790873 w 6955277"/>
              <a:gd name="connsiteY127" fmla="*/ 591171 h 1656350"/>
              <a:gd name="connsiteX128" fmla="*/ 4834646 w 6955277"/>
              <a:gd name="connsiteY128" fmla="*/ 571716 h 1656350"/>
              <a:gd name="connsiteX129" fmla="*/ 4907605 w 6955277"/>
              <a:gd name="connsiteY129" fmla="*/ 561988 h 1656350"/>
              <a:gd name="connsiteX130" fmla="*/ 4990290 w 6955277"/>
              <a:gd name="connsiteY130" fmla="*/ 552261 h 1656350"/>
              <a:gd name="connsiteX131" fmla="*/ 5009745 w 6955277"/>
              <a:gd name="connsiteY131" fmla="*/ 523078 h 1656350"/>
              <a:gd name="connsiteX132" fmla="*/ 5024336 w 6955277"/>
              <a:gd name="connsiteY132" fmla="*/ 513350 h 1656350"/>
              <a:gd name="connsiteX133" fmla="*/ 5058383 w 6955277"/>
              <a:gd name="connsiteY133" fmla="*/ 503622 h 1656350"/>
              <a:gd name="connsiteX134" fmla="*/ 5072975 w 6955277"/>
              <a:gd name="connsiteY134" fmla="*/ 498759 h 1656350"/>
              <a:gd name="connsiteX135" fmla="*/ 5087566 w 6955277"/>
              <a:gd name="connsiteY135" fmla="*/ 489031 h 1656350"/>
              <a:gd name="connsiteX136" fmla="*/ 5136205 w 6955277"/>
              <a:gd name="connsiteY136" fmla="*/ 474439 h 1656350"/>
              <a:gd name="connsiteX137" fmla="*/ 5150796 w 6955277"/>
              <a:gd name="connsiteY137" fmla="*/ 469576 h 1656350"/>
              <a:gd name="connsiteX138" fmla="*/ 5179979 w 6955277"/>
              <a:gd name="connsiteY138" fmla="*/ 464712 h 1656350"/>
              <a:gd name="connsiteX139" fmla="*/ 5194571 w 6955277"/>
              <a:gd name="connsiteY139" fmla="*/ 459848 h 1656350"/>
              <a:gd name="connsiteX140" fmla="*/ 5267528 w 6955277"/>
              <a:gd name="connsiteY140" fmla="*/ 454984 h 1656350"/>
              <a:gd name="connsiteX141" fmla="*/ 5301575 w 6955277"/>
              <a:gd name="connsiteY141" fmla="*/ 450120 h 1656350"/>
              <a:gd name="connsiteX142" fmla="*/ 5321030 w 6955277"/>
              <a:gd name="connsiteY142" fmla="*/ 445256 h 1656350"/>
              <a:gd name="connsiteX143" fmla="*/ 5369668 w 6955277"/>
              <a:gd name="connsiteY143" fmla="*/ 440393 h 1656350"/>
              <a:gd name="connsiteX144" fmla="*/ 5437762 w 6955277"/>
              <a:gd name="connsiteY144" fmla="*/ 430665 h 1656350"/>
              <a:gd name="connsiteX145" fmla="*/ 5466945 w 6955277"/>
              <a:gd name="connsiteY145" fmla="*/ 425801 h 1656350"/>
              <a:gd name="connsiteX146" fmla="*/ 5500992 w 6955277"/>
              <a:gd name="connsiteY146" fmla="*/ 416073 h 1656350"/>
              <a:gd name="connsiteX147" fmla="*/ 5515583 w 6955277"/>
              <a:gd name="connsiteY147" fmla="*/ 411210 h 1656350"/>
              <a:gd name="connsiteX148" fmla="*/ 5564222 w 6955277"/>
              <a:gd name="connsiteY148" fmla="*/ 411211 h 1656350"/>
              <a:gd name="connsiteX149" fmla="*/ 5637179 w 6955277"/>
              <a:gd name="connsiteY149" fmla="*/ 386891 h 1656350"/>
              <a:gd name="connsiteX150" fmla="*/ 5666362 w 6955277"/>
              <a:gd name="connsiteY150" fmla="*/ 391754 h 1656350"/>
              <a:gd name="connsiteX151" fmla="*/ 5685817 w 6955277"/>
              <a:gd name="connsiteY151" fmla="*/ 382027 h 1656350"/>
              <a:gd name="connsiteX152" fmla="*/ 5724728 w 6955277"/>
              <a:gd name="connsiteY152" fmla="*/ 377163 h 1656350"/>
              <a:gd name="connsiteX153" fmla="*/ 5729592 w 6955277"/>
              <a:gd name="connsiteY153" fmla="*/ 362571 h 1656350"/>
              <a:gd name="connsiteX154" fmla="*/ 5744183 w 6955277"/>
              <a:gd name="connsiteY154" fmla="*/ 357707 h 1656350"/>
              <a:gd name="connsiteX155" fmla="*/ 5783094 w 6955277"/>
              <a:gd name="connsiteY155" fmla="*/ 352844 h 1656350"/>
              <a:gd name="connsiteX156" fmla="*/ 5812277 w 6955277"/>
              <a:gd name="connsiteY156" fmla="*/ 338252 h 1656350"/>
              <a:gd name="connsiteX157" fmla="*/ 5841460 w 6955277"/>
              <a:gd name="connsiteY157" fmla="*/ 328524 h 1656350"/>
              <a:gd name="connsiteX158" fmla="*/ 5885234 w 6955277"/>
              <a:gd name="connsiteY158" fmla="*/ 318797 h 1656350"/>
              <a:gd name="connsiteX159" fmla="*/ 5899826 w 6955277"/>
              <a:gd name="connsiteY159" fmla="*/ 309069 h 1656350"/>
              <a:gd name="connsiteX160" fmla="*/ 5997102 w 6955277"/>
              <a:gd name="connsiteY160" fmla="*/ 299341 h 1656350"/>
              <a:gd name="connsiteX161" fmla="*/ 6040877 w 6955277"/>
              <a:gd name="connsiteY161" fmla="*/ 284750 h 1656350"/>
              <a:gd name="connsiteX162" fmla="*/ 6055468 w 6955277"/>
              <a:gd name="connsiteY162" fmla="*/ 275022 h 1656350"/>
              <a:gd name="connsiteX163" fmla="*/ 6079788 w 6955277"/>
              <a:gd name="connsiteY163" fmla="*/ 270159 h 1656350"/>
              <a:gd name="connsiteX164" fmla="*/ 6128426 w 6955277"/>
              <a:gd name="connsiteY164" fmla="*/ 265295 h 1656350"/>
              <a:gd name="connsiteX165" fmla="*/ 6167336 w 6955277"/>
              <a:gd name="connsiteY165" fmla="*/ 260431 h 1656350"/>
              <a:gd name="connsiteX166" fmla="*/ 6206247 w 6955277"/>
              <a:gd name="connsiteY166" fmla="*/ 250703 h 1656350"/>
              <a:gd name="connsiteX167" fmla="*/ 6220839 w 6955277"/>
              <a:gd name="connsiteY167" fmla="*/ 240976 h 1656350"/>
              <a:gd name="connsiteX168" fmla="*/ 6274341 w 6955277"/>
              <a:gd name="connsiteY168" fmla="*/ 236112 h 1656350"/>
              <a:gd name="connsiteX169" fmla="*/ 6395936 w 6955277"/>
              <a:gd name="connsiteY169" fmla="*/ 221520 h 1656350"/>
              <a:gd name="connsiteX170" fmla="*/ 6410528 w 6955277"/>
              <a:gd name="connsiteY170" fmla="*/ 192337 h 1656350"/>
              <a:gd name="connsiteX171" fmla="*/ 6439711 w 6955277"/>
              <a:gd name="connsiteY171" fmla="*/ 187473 h 1656350"/>
              <a:gd name="connsiteX172" fmla="*/ 6488349 w 6955277"/>
              <a:gd name="connsiteY172" fmla="*/ 182610 h 1656350"/>
              <a:gd name="connsiteX173" fmla="*/ 6507805 w 6955277"/>
              <a:gd name="connsiteY173" fmla="*/ 177746 h 1656350"/>
              <a:gd name="connsiteX174" fmla="*/ 6522396 w 6955277"/>
              <a:gd name="connsiteY174" fmla="*/ 172882 h 1656350"/>
              <a:gd name="connsiteX175" fmla="*/ 6561307 w 6955277"/>
              <a:gd name="connsiteY175" fmla="*/ 163154 h 1656350"/>
              <a:gd name="connsiteX176" fmla="*/ 6566171 w 6955277"/>
              <a:gd name="connsiteY176" fmla="*/ 148563 h 1656350"/>
              <a:gd name="connsiteX177" fmla="*/ 6580762 w 6955277"/>
              <a:gd name="connsiteY177" fmla="*/ 143699 h 1656350"/>
              <a:gd name="connsiteX178" fmla="*/ 6605081 w 6955277"/>
              <a:gd name="connsiteY178" fmla="*/ 138835 h 1656350"/>
              <a:gd name="connsiteX179" fmla="*/ 6639128 w 6955277"/>
              <a:gd name="connsiteY179" fmla="*/ 119380 h 1656350"/>
              <a:gd name="connsiteX180" fmla="*/ 6643992 w 6955277"/>
              <a:gd name="connsiteY180" fmla="*/ 99924 h 1656350"/>
              <a:gd name="connsiteX181" fmla="*/ 6780179 w 6955277"/>
              <a:gd name="connsiteY181" fmla="*/ 99924 h 1656350"/>
              <a:gd name="connsiteX182" fmla="*/ 6785043 w 6955277"/>
              <a:gd name="connsiteY182" fmla="*/ 65878 h 1656350"/>
              <a:gd name="connsiteX183" fmla="*/ 6809362 w 6955277"/>
              <a:gd name="connsiteY183" fmla="*/ 61014 h 1656350"/>
              <a:gd name="connsiteX184" fmla="*/ 6828817 w 6955277"/>
              <a:gd name="connsiteY184" fmla="*/ 56150 h 1656350"/>
              <a:gd name="connsiteX185" fmla="*/ 6955277 w 6955277"/>
              <a:gd name="connsiteY185" fmla="*/ 2647 h 1656350"/>
              <a:gd name="connsiteX0" fmla="*/ 0 w 6955277"/>
              <a:gd name="connsiteY0" fmla="*/ 1656350 h 1656350"/>
              <a:gd name="connsiteX1" fmla="*/ 48639 w 6955277"/>
              <a:gd name="connsiteY1" fmla="*/ 1646622 h 1656350"/>
              <a:gd name="connsiteX2" fmla="*/ 77822 w 6955277"/>
              <a:gd name="connsiteY2" fmla="*/ 1632031 h 1656350"/>
              <a:gd name="connsiteX3" fmla="*/ 141051 w 6955277"/>
              <a:gd name="connsiteY3" fmla="*/ 1627167 h 1656350"/>
              <a:gd name="connsiteX4" fmla="*/ 170234 w 6955277"/>
              <a:gd name="connsiteY4" fmla="*/ 1602848 h 1656350"/>
              <a:gd name="connsiteX5" fmla="*/ 184826 w 6955277"/>
              <a:gd name="connsiteY5" fmla="*/ 1593120 h 1656350"/>
              <a:gd name="connsiteX6" fmla="*/ 238328 w 6955277"/>
              <a:gd name="connsiteY6" fmla="*/ 1593120 h 1656350"/>
              <a:gd name="connsiteX7" fmla="*/ 252919 w 6955277"/>
              <a:gd name="connsiteY7" fmla="*/ 1583393 h 1656350"/>
              <a:gd name="connsiteX8" fmla="*/ 301558 w 6955277"/>
              <a:gd name="connsiteY8" fmla="*/ 1578529 h 1656350"/>
              <a:gd name="connsiteX9" fmla="*/ 321013 w 6955277"/>
              <a:gd name="connsiteY9" fmla="*/ 1568801 h 1656350"/>
              <a:gd name="connsiteX10" fmla="*/ 369651 w 6955277"/>
              <a:gd name="connsiteY10" fmla="*/ 1549346 h 1656350"/>
              <a:gd name="connsiteX11" fmla="*/ 418290 w 6955277"/>
              <a:gd name="connsiteY11" fmla="*/ 1549346 h 1656350"/>
              <a:gd name="connsiteX12" fmla="*/ 432881 w 6955277"/>
              <a:gd name="connsiteY12" fmla="*/ 1534754 h 1656350"/>
              <a:gd name="connsiteX13" fmla="*/ 447473 w 6955277"/>
              <a:gd name="connsiteY13" fmla="*/ 1529890 h 1656350"/>
              <a:gd name="connsiteX14" fmla="*/ 515566 w 6955277"/>
              <a:gd name="connsiteY14" fmla="*/ 1529890 h 1656350"/>
              <a:gd name="connsiteX15" fmla="*/ 520430 w 6955277"/>
              <a:gd name="connsiteY15" fmla="*/ 1510435 h 1656350"/>
              <a:gd name="connsiteX16" fmla="*/ 612843 w 6955277"/>
              <a:gd name="connsiteY16" fmla="*/ 1510435 h 1656350"/>
              <a:gd name="connsiteX17" fmla="*/ 617707 w 6955277"/>
              <a:gd name="connsiteY17" fmla="*/ 1495844 h 1656350"/>
              <a:gd name="connsiteX18" fmla="*/ 666345 w 6955277"/>
              <a:gd name="connsiteY18" fmla="*/ 1490980 h 1656350"/>
              <a:gd name="connsiteX19" fmla="*/ 695528 w 6955277"/>
              <a:gd name="connsiteY19" fmla="*/ 1495844 h 1656350"/>
              <a:gd name="connsiteX20" fmla="*/ 753894 w 6955277"/>
              <a:gd name="connsiteY20" fmla="*/ 1486116 h 1656350"/>
              <a:gd name="connsiteX21" fmla="*/ 787941 w 6955277"/>
              <a:gd name="connsiteY21" fmla="*/ 1481252 h 1656350"/>
              <a:gd name="connsiteX22" fmla="*/ 792805 w 6955277"/>
              <a:gd name="connsiteY22" fmla="*/ 1466661 h 1656350"/>
              <a:gd name="connsiteX23" fmla="*/ 836579 w 6955277"/>
              <a:gd name="connsiteY23" fmla="*/ 1461797 h 1656350"/>
              <a:gd name="connsiteX24" fmla="*/ 851171 w 6955277"/>
              <a:gd name="connsiteY24" fmla="*/ 1456933 h 1656350"/>
              <a:gd name="connsiteX25" fmla="*/ 875490 w 6955277"/>
              <a:gd name="connsiteY25" fmla="*/ 1452069 h 1656350"/>
              <a:gd name="connsiteX26" fmla="*/ 894945 w 6955277"/>
              <a:gd name="connsiteY26" fmla="*/ 1447205 h 1656350"/>
              <a:gd name="connsiteX27" fmla="*/ 924128 w 6955277"/>
              <a:gd name="connsiteY27" fmla="*/ 1437478 h 1656350"/>
              <a:gd name="connsiteX28" fmla="*/ 933856 w 6955277"/>
              <a:gd name="connsiteY28" fmla="*/ 1422886 h 1656350"/>
              <a:gd name="connsiteX29" fmla="*/ 982494 w 6955277"/>
              <a:gd name="connsiteY29" fmla="*/ 1418022 h 1656350"/>
              <a:gd name="connsiteX30" fmla="*/ 997085 w 6955277"/>
              <a:gd name="connsiteY30" fmla="*/ 1413159 h 1656350"/>
              <a:gd name="connsiteX31" fmla="*/ 1011677 w 6955277"/>
              <a:gd name="connsiteY31" fmla="*/ 1403431 h 1656350"/>
              <a:gd name="connsiteX32" fmla="*/ 1118681 w 6955277"/>
              <a:gd name="connsiteY32" fmla="*/ 1398567 h 1656350"/>
              <a:gd name="connsiteX33" fmla="*/ 1147864 w 6955277"/>
              <a:gd name="connsiteY33" fmla="*/ 1388839 h 1656350"/>
              <a:gd name="connsiteX34" fmla="*/ 1240277 w 6955277"/>
              <a:gd name="connsiteY34" fmla="*/ 1374248 h 1656350"/>
              <a:gd name="connsiteX35" fmla="*/ 1269460 w 6955277"/>
              <a:gd name="connsiteY35" fmla="*/ 1364520 h 1656350"/>
              <a:gd name="connsiteX36" fmla="*/ 1303507 w 6955277"/>
              <a:gd name="connsiteY36" fmla="*/ 1354793 h 1656350"/>
              <a:gd name="connsiteX37" fmla="*/ 1332690 w 6955277"/>
              <a:gd name="connsiteY37" fmla="*/ 1340201 h 1656350"/>
              <a:gd name="connsiteX38" fmla="*/ 1400783 w 6955277"/>
              <a:gd name="connsiteY38" fmla="*/ 1330473 h 1656350"/>
              <a:gd name="connsiteX39" fmla="*/ 1429966 w 6955277"/>
              <a:gd name="connsiteY39" fmla="*/ 1320746 h 1656350"/>
              <a:gd name="connsiteX40" fmla="*/ 1444558 w 6955277"/>
              <a:gd name="connsiteY40" fmla="*/ 1315882 h 1656350"/>
              <a:gd name="connsiteX41" fmla="*/ 1532107 w 6955277"/>
              <a:gd name="connsiteY41" fmla="*/ 1301290 h 1656350"/>
              <a:gd name="connsiteX42" fmla="*/ 1561290 w 6955277"/>
              <a:gd name="connsiteY42" fmla="*/ 1291563 h 1656350"/>
              <a:gd name="connsiteX43" fmla="*/ 1600200 w 6955277"/>
              <a:gd name="connsiteY43" fmla="*/ 1286699 h 1656350"/>
              <a:gd name="connsiteX44" fmla="*/ 1634247 w 6955277"/>
              <a:gd name="connsiteY44" fmla="*/ 1281835 h 1656350"/>
              <a:gd name="connsiteX45" fmla="*/ 1697477 w 6955277"/>
              <a:gd name="connsiteY45" fmla="*/ 1272107 h 1656350"/>
              <a:gd name="connsiteX46" fmla="*/ 1712068 w 6955277"/>
              <a:gd name="connsiteY46" fmla="*/ 1262380 h 1656350"/>
              <a:gd name="connsiteX47" fmla="*/ 1736388 w 6955277"/>
              <a:gd name="connsiteY47" fmla="*/ 1257516 h 1656350"/>
              <a:gd name="connsiteX48" fmla="*/ 1823936 w 6955277"/>
              <a:gd name="connsiteY48" fmla="*/ 1252652 h 1656350"/>
              <a:gd name="connsiteX49" fmla="*/ 1828800 w 6955277"/>
              <a:gd name="connsiteY49" fmla="*/ 1228333 h 1656350"/>
              <a:gd name="connsiteX50" fmla="*/ 1843392 w 6955277"/>
              <a:gd name="connsiteY50" fmla="*/ 1223469 h 1656350"/>
              <a:gd name="connsiteX51" fmla="*/ 1867711 w 6955277"/>
              <a:gd name="connsiteY51" fmla="*/ 1218605 h 1656350"/>
              <a:gd name="connsiteX52" fmla="*/ 1945532 w 6955277"/>
              <a:gd name="connsiteY52" fmla="*/ 1213741 h 1656350"/>
              <a:gd name="connsiteX53" fmla="*/ 2018490 w 6955277"/>
              <a:gd name="connsiteY53" fmla="*/ 1199150 h 1656350"/>
              <a:gd name="connsiteX54" fmla="*/ 2091447 w 6955277"/>
              <a:gd name="connsiteY54" fmla="*/ 1189422 h 1656350"/>
              <a:gd name="connsiteX55" fmla="*/ 2106039 w 6955277"/>
              <a:gd name="connsiteY55" fmla="*/ 1179695 h 1656350"/>
              <a:gd name="connsiteX56" fmla="*/ 2140085 w 6955277"/>
              <a:gd name="connsiteY56" fmla="*/ 1174831 h 1656350"/>
              <a:gd name="connsiteX57" fmla="*/ 2188724 w 6955277"/>
              <a:gd name="connsiteY57" fmla="*/ 1160239 h 1656350"/>
              <a:gd name="connsiteX58" fmla="*/ 2222771 w 6955277"/>
              <a:gd name="connsiteY58" fmla="*/ 1155376 h 1656350"/>
              <a:gd name="connsiteX59" fmla="*/ 2237362 w 6955277"/>
              <a:gd name="connsiteY59" fmla="*/ 1150512 h 1656350"/>
              <a:gd name="connsiteX60" fmla="*/ 2305456 w 6955277"/>
              <a:gd name="connsiteY60" fmla="*/ 1140784 h 1656350"/>
              <a:gd name="connsiteX61" fmla="*/ 2349230 w 6955277"/>
              <a:gd name="connsiteY61" fmla="*/ 1131056 h 1656350"/>
              <a:gd name="connsiteX62" fmla="*/ 2363822 w 6955277"/>
              <a:gd name="connsiteY62" fmla="*/ 1126193 h 1656350"/>
              <a:gd name="connsiteX63" fmla="*/ 2431915 w 6955277"/>
              <a:gd name="connsiteY63" fmla="*/ 1116465 h 1656350"/>
              <a:gd name="connsiteX64" fmla="*/ 2436779 w 6955277"/>
              <a:gd name="connsiteY64" fmla="*/ 1101873 h 1656350"/>
              <a:gd name="connsiteX65" fmla="*/ 2465962 w 6955277"/>
              <a:gd name="connsiteY65" fmla="*/ 1092146 h 1656350"/>
              <a:gd name="connsiteX66" fmla="*/ 2572966 w 6955277"/>
              <a:gd name="connsiteY66" fmla="*/ 1092146 h 1656350"/>
              <a:gd name="connsiteX67" fmla="*/ 2587558 w 6955277"/>
              <a:gd name="connsiteY67" fmla="*/ 1082418 h 1656350"/>
              <a:gd name="connsiteX68" fmla="*/ 2602149 w 6955277"/>
              <a:gd name="connsiteY68" fmla="*/ 1077554 h 1656350"/>
              <a:gd name="connsiteX69" fmla="*/ 2616741 w 6955277"/>
              <a:gd name="connsiteY69" fmla="*/ 1067827 h 1656350"/>
              <a:gd name="connsiteX70" fmla="*/ 2645924 w 6955277"/>
              <a:gd name="connsiteY70" fmla="*/ 1062963 h 1656350"/>
              <a:gd name="connsiteX71" fmla="*/ 2704290 w 6955277"/>
              <a:gd name="connsiteY71" fmla="*/ 1043507 h 1656350"/>
              <a:gd name="connsiteX72" fmla="*/ 2718881 w 6955277"/>
              <a:gd name="connsiteY72" fmla="*/ 1038644 h 1656350"/>
              <a:gd name="connsiteX73" fmla="*/ 2733473 w 6955277"/>
              <a:gd name="connsiteY73" fmla="*/ 1033780 h 1656350"/>
              <a:gd name="connsiteX74" fmla="*/ 2752928 w 6955277"/>
              <a:gd name="connsiteY74" fmla="*/ 1028916 h 1656350"/>
              <a:gd name="connsiteX75" fmla="*/ 2777247 w 6955277"/>
              <a:gd name="connsiteY75" fmla="*/ 1024052 h 1656350"/>
              <a:gd name="connsiteX76" fmla="*/ 2830749 w 6955277"/>
              <a:gd name="connsiteY76" fmla="*/ 1019188 h 1656350"/>
              <a:gd name="connsiteX77" fmla="*/ 2864796 w 6955277"/>
              <a:gd name="connsiteY77" fmla="*/ 1014324 h 1656350"/>
              <a:gd name="connsiteX78" fmla="*/ 2879388 w 6955277"/>
              <a:gd name="connsiteY78" fmla="*/ 1009461 h 1656350"/>
              <a:gd name="connsiteX79" fmla="*/ 2898843 w 6955277"/>
              <a:gd name="connsiteY79" fmla="*/ 1004597 h 1656350"/>
              <a:gd name="connsiteX80" fmla="*/ 2913434 w 6955277"/>
              <a:gd name="connsiteY80" fmla="*/ 994869 h 1656350"/>
              <a:gd name="connsiteX81" fmla="*/ 2981528 w 6955277"/>
              <a:gd name="connsiteY81" fmla="*/ 985141 h 1656350"/>
              <a:gd name="connsiteX82" fmla="*/ 2986392 w 6955277"/>
              <a:gd name="connsiteY82" fmla="*/ 970550 h 1656350"/>
              <a:gd name="connsiteX83" fmla="*/ 3059349 w 6955277"/>
              <a:gd name="connsiteY83" fmla="*/ 965686 h 1656350"/>
              <a:gd name="connsiteX84" fmla="*/ 3107988 w 6955277"/>
              <a:gd name="connsiteY84" fmla="*/ 960822 h 1656350"/>
              <a:gd name="connsiteX85" fmla="*/ 3185809 w 6955277"/>
              <a:gd name="connsiteY85" fmla="*/ 951095 h 1656350"/>
              <a:gd name="connsiteX86" fmla="*/ 3229583 w 6955277"/>
              <a:gd name="connsiteY86" fmla="*/ 946231 h 1656350"/>
              <a:gd name="connsiteX87" fmla="*/ 3263630 w 6955277"/>
              <a:gd name="connsiteY87" fmla="*/ 936503 h 1656350"/>
              <a:gd name="connsiteX88" fmla="*/ 3302541 w 6955277"/>
              <a:gd name="connsiteY88" fmla="*/ 931639 h 1656350"/>
              <a:gd name="connsiteX89" fmla="*/ 3317132 w 6955277"/>
              <a:gd name="connsiteY89" fmla="*/ 926776 h 1656350"/>
              <a:gd name="connsiteX90" fmla="*/ 3321996 w 6955277"/>
              <a:gd name="connsiteY90" fmla="*/ 912184 h 1656350"/>
              <a:gd name="connsiteX91" fmla="*/ 3433864 w 6955277"/>
              <a:gd name="connsiteY91" fmla="*/ 907320 h 1656350"/>
              <a:gd name="connsiteX92" fmla="*/ 3438728 w 6955277"/>
              <a:gd name="connsiteY92" fmla="*/ 892729 h 1656350"/>
              <a:gd name="connsiteX93" fmla="*/ 3453319 w 6955277"/>
              <a:gd name="connsiteY93" fmla="*/ 883001 h 1656350"/>
              <a:gd name="connsiteX94" fmla="*/ 3540868 w 6955277"/>
              <a:gd name="connsiteY94" fmla="*/ 878137 h 1656350"/>
              <a:gd name="connsiteX95" fmla="*/ 3560324 w 6955277"/>
              <a:gd name="connsiteY95" fmla="*/ 873273 h 1656350"/>
              <a:gd name="connsiteX96" fmla="*/ 3589507 w 6955277"/>
              <a:gd name="connsiteY96" fmla="*/ 863546 h 1656350"/>
              <a:gd name="connsiteX97" fmla="*/ 3618690 w 6955277"/>
              <a:gd name="connsiteY97" fmla="*/ 858682 h 1656350"/>
              <a:gd name="connsiteX98" fmla="*/ 3715966 w 6955277"/>
              <a:gd name="connsiteY98" fmla="*/ 844090 h 1656350"/>
              <a:gd name="connsiteX99" fmla="*/ 3745149 w 6955277"/>
              <a:gd name="connsiteY99" fmla="*/ 834363 h 1656350"/>
              <a:gd name="connsiteX100" fmla="*/ 3750013 w 6955277"/>
              <a:gd name="connsiteY100" fmla="*/ 819771 h 1656350"/>
              <a:gd name="connsiteX101" fmla="*/ 3764605 w 6955277"/>
              <a:gd name="connsiteY101" fmla="*/ 814907 h 1656350"/>
              <a:gd name="connsiteX102" fmla="*/ 3798651 w 6955277"/>
              <a:gd name="connsiteY102" fmla="*/ 810044 h 1656350"/>
              <a:gd name="connsiteX103" fmla="*/ 3822971 w 6955277"/>
              <a:gd name="connsiteY103" fmla="*/ 805180 h 1656350"/>
              <a:gd name="connsiteX104" fmla="*/ 3852154 w 6955277"/>
              <a:gd name="connsiteY104" fmla="*/ 795452 h 1656350"/>
              <a:gd name="connsiteX105" fmla="*/ 3915383 w 6955277"/>
              <a:gd name="connsiteY105" fmla="*/ 790588 h 1656350"/>
              <a:gd name="connsiteX106" fmla="*/ 3959158 w 6955277"/>
              <a:gd name="connsiteY106" fmla="*/ 785724 h 1656350"/>
              <a:gd name="connsiteX107" fmla="*/ 3964022 w 6955277"/>
              <a:gd name="connsiteY107" fmla="*/ 771133 h 1656350"/>
              <a:gd name="connsiteX108" fmla="*/ 3993205 w 6955277"/>
              <a:gd name="connsiteY108" fmla="*/ 761405 h 1656350"/>
              <a:gd name="connsiteX109" fmla="*/ 4017524 w 6955277"/>
              <a:gd name="connsiteY109" fmla="*/ 756541 h 1656350"/>
              <a:gd name="connsiteX110" fmla="*/ 4036979 w 6955277"/>
              <a:gd name="connsiteY110" fmla="*/ 751678 h 1656350"/>
              <a:gd name="connsiteX111" fmla="*/ 4075890 w 6955277"/>
              <a:gd name="connsiteY111" fmla="*/ 746814 h 1656350"/>
              <a:gd name="connsiteX112" fmla="*/ 4095345 w 6955277"/>
              <a:gd name="connsiteY112" fmla="*/ 741950 h 1656350"/>
              <a:gd name="connsiteX113" fmla="*/ 4158575 w 6955277"/>
              <a:gd name="connsiteY113" fmla="*/ 727359 h 1656350"/>
              <a:gd name="connsiteX114" fmla="*/ 4173166 w 6955277"/>
              <a:gd name="connsiteY114" fmla="*/ 722495 h 1656350"/>
              <a:gd name="connsiteX115" fmla="*/ 4187758 w 6955277"/>
              <a:gd name="connsiteY115" fmla="*/ 712767 h 1656350"/>
              <a:gd name="connsiteX116" fmla="*/ 4265579 w 6955277"/>
              <a:gd name="connsiteY116" fmla="*/ 707903 h 1656350"/>
              <a:gd name="connsiteX117" fmla="*/ 4275307 w 6955277"/>
              <a:gd name="connsiteY117" fmla="*/ 693312 h 1656350"/>
              <a:gd name="connsiteX118" fmla="*/ 4421222 w 6955277"/>
              <a:gd name="connsiteY118" fmla="*/ 678720 h 1656350"/>
              <a:gd name="connsiteX119" fmla="*/ 4440677 w 6955277"/>
              <a:gd name="connsiteY119" fmla="*/ 668993 h 1656350"/>
              <a:gd name="connsiteX120" fmla="*/ 4557409 w 6955277"/>
              <a:gd name="connsiteY120" fmla="*/ 659265 h 1656350"/>
              <a:gd name="connsiteX121" fmla="*/ 4576863 w 6955277"/>
              <a:gd name="connsiteY121" fmla="*/ 639809 h 1656350"/>
              <a:gd name="connsiteX122" fmla="*/ 4586592 w 6955277"/>
              <a:gd name="connsiteY122" fmla="*/ 625218 h 1656350"/>
              <a:gd name="connsiteX123" fmla="*/ 4635230 w 6955277"/>
              <a:gd name="connsiteY123" fmla="*/ 634946 h 1656350"/>
              <a:gd name="connsiteX124" fmla="*/ 4669277 w 6955277"/>
              <a:gd name="connsiteY124" fmla="*/ 630082 h 1656350"/>
              <a:gd name="connsiteX125" fmla="*/ 4703324 w 6955277"/>
              <a:gd name="connsiteY125" fmla="*/ 610627 h 1656350"/>
              <a:gd name="connsiteX126" fmla="*/ 4732507 w 6955277"/>
              <a:gd name="connsiteY126" fmla="*/ 605763 h 1656350"/>
              <a:gd name="connsiteX127" fmla="*/ 4790873 w 6955277"/>
              <a:gd name="connsiteY127" fmla="*/ 591171 h 1656350"/>
              <a:gd name="connsiteX128" fmla="*/ 4834646 w 6955277"/>
              <a:gd name="connsiteY128" fmla="*/ 571716 h 1656350"/>
              <a:gd name="connsiteX129" fmla="*/ 4897877 w 6955277"/>
              <a:gd name="connsiteY129" fmla="*/ 561988 h 1656350"/>
              <a:gd name="connsiteX130" fmla="*/ 4990290 w 6955277"/>
              <a:gd name="connsiteY130" fmla="*/ 552261 h 1656350"/>
              <a:gd name="connsiteX131" fmla="*/ 5009745 w 6955277"/>
              <a:gd name="connsiteY131" fmla="*/ 523078 h 1656350"/>
              <a:gd name="connsiteX132" fmla="*/ 5024336 w 6955277"/>
              <a:gd name="connsiteY132" fmla="*/ 513350 h 1656350"/>
              <a:gd name="connsiteX133" fmla="*/ 5058383 w 6955277"/>
              <a:gd name="connsiteY133" fmla="*/ 503622 h 1656350"/>
              <a:gd name="connsiteX134" fmla="*/ 5072975 w 6955277"/>
              <a:gd name="connsiteY134" fmla="*/ 498759 h 1656350"/>
              <a:gd name="connsiteX135" fmla="*/ 5087566 w 6955277"/>
              <a:gd name="connsiteY135" fmla="*/ 489031 h 1656350"/>
              <a:gd name="connsiteX136" fmla="*/ 5136205 w 6955277"/>
              <a:gd name="connsiteY136" fmla="*/ 474439 h 1656350"/>
              <a:gd name="connsiteX137" fmla="*/ 5150796 w 6955277"/>
              <a:gd name="connsiteY137" fmla="*/ 469576 h 1656350"/>
              <a:gd name="connsiteX138" fmla="*/ 5179979 w 6955277"/>
              <a:gd name="connsiteY138" fmla="*/ 464712 h 1656350"/>
              <a:gd name="connsiteX139" fmla="*/ 5194571 w 6955277"/>
              <a:gd name="connsiteY139" fmla="*/ 459848 h 1656350"/>
              <a:gd name="connsiteX140" fmla="*/ 5267528 w 6955277"/>
              <a:gd name="connsiteY140" fmla="*/ 454984 h 1656350"/>
              <a:gd name="connsiteX141" fmla="*/ 5301575 w 6955277"/>
              <a:gd name="connsiteY141" fmla="*/ 450120 h 1656350"/>
              <a:gd name="connsiteX142" fmla="*/ 5321030 w 6955277"/>
              <a:gd name="connsiteY142" fmla="*/ 445256 h 1656350"/>
              <a:gd name="connsiteX143" fmla="*/ 5369668 w 6955277"/>
              <a:gd name="connsiteY143" fmla="*/ 440393 h 1656350"/>
              <a:gd name="connsiteX144" fmla="*/ 5437762 w 6955277"/>
              <a:gd name="connsiteY144" fmla="*/ 430665 h 1656350"/>
              <a:gd name="connsiteX145" fmla="*/ 5466945 w 6955277"/>
              <a:gd name="connsiteY145" fmla="*/ 425801 h 1656350"/>
              <a:gd name="connsiteX146" fmla="*/ 5500992 w 6955277"/>
              <a:gd name="connsiteY146" fmla="*/ 416073 h 1656350"/>
              <a:gd name="connsiteX147" fmla="*/ 5515583 w 6955277"/>
              <a:gd name="connsiteY147" fmla="*/ 411210 h 1656350"/>
              <a:gd name="connsiteX148" fmla="*/ 5564222 w 6955277"/>
              <a:gd name="connsiteY148" fmla="*/ 411211 h 1656350"/>
              <a:gd name="connsiteX149" fmla="*/ 5637179 w 6955277"/>
              <a:gd name="connsiteY149" fmla="*/ 386891 h 1656350"/>
              <a:gd name="connsiteX150" fmla="*/ 5666362 w 6955277"/>
              <a:gd name="connsiteY150" fmla="*/ 391754 h 1656350"/>
              <a:gd name="connsiteX151" fmla="*/ 5685817 w 6955277"/>
              <a:gd name="connsiteY151" fmla="*/ 382027 h 1656350"/>
              <a:gd name="connsiteX152" fmla="*/ 5724728 w 6955277"/>
              <a:gd name="connsiteY152" fmla="*/ 377163 h 1656350"/>
              <a:gd name="connsiteX153" fmla="*/ 5729592 w 6955277"/>
              <a:gd name="connsiteY153" fmla="*/ 362571 h 1656350"/>
              <a:gd name="connsiteX154" fmla="*/ 5744183 w 6955277"/>
              <a:gd name="connsiteY154" fmla="*/ 357707 h 1656350"/>
              <a:gd name="connsiteX155" fmla="*/ 5783094 w 6955277"/>
              <a:gd name="connsiteY155" fmla="*/ 352844 h 1656350"/>
              <a:gd name="connsiteX156" fmla="*/ 5812277 w 6955277"/>
              <a:gd name="connsiteY156" fmla="*/ 338252 h 1656350"/>
              <a:gd name="connsiteX157" fmla="*/ 5841460 w 6955277"/>
              <a:gd name="connsiteY157" fmla="*/ 328524 h 1656350"/>
              <a:gd name="connsiteX158" fmla="*/ 5885234 w 6955277"/>
              <a:gd name="connsiteY158" fmla="*/ 318797 h 1656350"/>
              <a:gd name="connsiteX159" fmla="*/ 5899826 w 6955277"/>
              <a:gd name="connsiteY159" fmla="*/ 309069 h 1656350"/>
              <a:gd name="connsiteX160" fmla="*/ 5997102 w 6955277"/>
              <a:gd name="connsiteY160" fmla="*/ 299341 h 1656350"/>
              <a:gd name="connsiteX161" fmla="*/ 6040877 w 6955277"/>
              <a:gd name="connsiteY161" fmla="*/ 284750 h 1656350"/>
              <a:gd name="connsiteX162" fmla="*/ 6055468 w 6955277"/>
              <a:gd name="connsiteY162" fmla="*/ 275022 h 1656350"/>
              <a:gd name="connsiteX163" fmla="*/ 6079788 w 6955277"/>
              <a:gd name="connsiteY163" fmla="*/ 270159 h 1656350"/>
              <a:gd name="connsiteX164" fmla="*/ 6128426 w 6955277"/>
              <a:gd name="connsiteY164" fmla="*/ 265295 h 1656350"/>
              <a:gd name="connsiteX165" fmla="*/ 6167336 w 6955277"/>
              <a:gd name="connsiteY165" fmla="*/ 260431 h 1656350"/>
              <a:gd name="connsiteX166" fmla="*/ 6206247 w 6955277"/>
              <a:gd name="connsiteY166" fmla="*/ 250703 h 1656350"/>
              <a:gd name="connsiteX167" fmla="*/ 6220839 w 6955277"/>
              <a:gd name="connsiteY167" fmla="*/ 240976 h 1656350"/>
              <a:gd name="connsiteX168" fmla="*/ 6274341 w 6955277"/>
              <a:gd name="connsiteY168" fmla="*/ 236112 h 1656350"/>
              <a:gd name="connsiteX169" fmla="*/ 6395936 w 6955277"/>
              <a:gd name="connsiteY169" fmla="*/ 221520 h 1656350"/>
              <a:gd name="connsiteX170" fmla="*/ 6410528 w 6955277"/>
              <a:gd name="connsiteY170" fmla="*/ 192337 h 1656350"/>
              <a:gd name="connsiteX171" fmla="*/ 6439711 w 6955277"/>
              <a:gd name="connsiteY171" fmla="*/ 187473 h 1656350"/>
              <a:gd name="connsiteX172" fmla="*/ 6488349 w 6955277"/>
              <a:gd name="connsiteY172" fmla="*/ 182610 h 1656350"/>
              <a:gd name="connsiteX173" fmla="*/ 6507805 w 6955277"/>
              <a:gd name="connsiteY173" fmla="*/ 177746 h 1656350"/>
              <a:gd name="connsiteX174" fmla="*/ 6522396 w 6955277"/>
              <a:gd name="connsiteY174" fmla="*/ 172882 h 1656350"/>
              <a:gd name="connsiteX175" fmla="*/ 6561307 w 6955277"/>
              <a:gd name="connsiteY175" fmla="*/ 163154 h 1656350"/>
              <a:gd name="connsiteX176" fmla="*/ 6566171 w 6955277"/>
              <a:gd name="connsiteY176" fmla="*/ 148563 h 1656350"/>
              <a:gd name="connsiteX177" fmla="*/ 6580762 w 6955277"/>
              <a:gd name="connsiteY177" fmla="*/ 143699 h 1656350"/>
              <a:gd name="connsiteX178" fmla="*/ 6605081 w 6955277"/>
              <a:gd name="connsiteY178" fmla="*/ 138835 h 1656350"/>
              <a:gd name="connsiteX179" fmla="*/ 6639128 w 6955277"/>
              <a:gd name="connsiteY179" fmla="*/ 119380 h 1656350"/>
              <a:gd name="connsiteX180" fmla="*/ 6643992 w 6955277"/>
              <a:gd name="connsiteY180" fmla="*/ 99924 h 1656350"/>
              <a:gd name="connsiteX181" fmla="*/ 6780179 w 6955277"/>
              <a:gd name="connsiteY181" fmla="*/ 99924 h 1656350"/>
              <a:gd name="connsiteX182" fmla="*/ 6785043 w 6955277"/>
              <a:gd name="connsiteY182" fmla="*/ 65878 h 1656350"/>
              <a:gd name="connsiteX183" fmla="*/ 6809362 w 6955277"/>
              <a:gd name="connsiteY183" fmla="*/ 61014 h 1656350"/>
              <a:gd name="connsiteX184" fmla="*/ 6828817 w 6955277"/>
              <a:gd name="connsiteY184" fmla="*/ 56150 h 1656350"/>
              <a:gd name="connsiteX185" fmla="*/ 6955277 w 6955277"/>
              <a:gd name="connsiteY185" fmla="*/ 2647 h 1656350"/>
              <a:gd name="connsiteX0" fmla="*/ 0 w 6955277"/>
              <a:gd name="connsiteY0" fmla="*/ 1656350 h 1656350"/>
              <a:gd name="connsiteX1" fmla="*/ 48639 w 6955277"/>
              <a:gd name="connsiteY1" fmla="*/ 1646622 h 1656350"/>
              <a:gd name="connsiteX2" fmla="*/ 77822 w 6955277"/>
              <a:gd name="connsiteY2" fmla="*/ 1632031 h 1656350"/>
              <a:gd name="connsiteX3" fmla="*/ 141051 w 6955277"/>
              <a:gd name="connsiteY3" fmla="*/ 1627167 h 1656350"/>
              <a:gd name="connsiteX4" fmla="*/ 170234 w 6955277"/>
              <a:gd name="connsiteY4" fmla="*/ 1602848 h 1656350"/>
              <a:gd name="connsiteX5" fmla="*/ 184826 w 6955277"/>
              <a:gd name="connsiteY5" fmla="*/ 1593120 h 1656350"/>
              <a:gd name="connsiteX6" fmla="*/ 238328 w 6955277"/>
              <a:gd name="connsiteY6" fmla="*/ 1593120 h 1656350"/>
              <a:gd name="connsiteX7" fmla="*/ 252919 w 6955277"/>
              <a:gd name="connsiteY7" fmla="*/ 1583393 h 1656350"/>
              <a:gd name="connsiteX8" fmla="*/ 301558 w 6955277"/>
              <a:gd name="connsiteY8" fmla="*/ 1578529 h 1656350"/>
              <a:gd name="connsiteX9" fmla="*/ 321013 w 6955277"/>
              <a:gd name="connsiteY9" fmla="*/ 1568801 h 1656350"/>
              <a:gd name="connsiteX10" fmla="*/ 369651 w 6955277"/>
              <a:gd name="connsiteY10" fmla="*/ 1549346 h 1656350"/>
              <a:gd name="connsiteX11" fmla="*/ 418290 w 6955277"/>
              <a:gd name="connsiteY11" fmla="*/ 1549346 h 1656350"/>
              <a:gd name="connsiteX12" fmla="*/ 432881 w 6955277"/>
              <a:gd name="connsiteY12" fmla="*/ 1534754 h 1656350"/>
              <a:gd name="connsiteX13" fmla="*/ 447473 w 6955277"/>
              <a:gd name="connsiteY13" fmla="*/ 1529890 h 1656350"/>
              <a:gd name="connsiteX14" fmla="*/ 515566 w 6955277"/>
              <a:gd name="connsiteY14" fmla="*/ 1529890 h 1656350"/>
              <a:gd name="connsiteX15" fmla="*/ 520430 w 6955277"/>
              <a:gd name="connsiteY15" fmla="*/ 1510435 h 1656350"/>
              <a:gd name="connsiteX16" fmla="*/ 612843 w 6955277"/>
              <a:gd name="connsiteY16" fmla="*/ 1510435 h 1656350"/>
              <a:gd name="connsiteX17" fmla="*/ 617707 w 6955277"/>
              <a:gd name="connsiteY17" fmla="*/ 1495844 h 1656350"/>
              <a:gd name="connsiteX18" fmla="*/ 666345 w 6955277"/>
              <a:gd name="connsiteY18" fmla="*/ 1490980 h 1656350"/>
              <a:gd name="connsiteX19" fmla="*/ 695528 w 6955277"/>
              <a:gd name="connsiteY19" fmla="*/ 1495844 h 1656350"/>
              <a:gd name="connsiteX20" fmla="*/ 753894 w 6955277"/>
              <a:gd name="connsiteY20" fmla="*/ 1486116 h 1656350"/>
              <a:gd name="connsiteX21" fmla="*/ 787941 w 6955277"/>
              <a:gd name="connsiteY21" fmla="*/ 1481252 h 1656350"/>
              <a:gd name="connsiteX22" fmla="*/ 792805 w 6955277"/>
              <a:gd name="connsiteY22" fmla="*/ 1466661 h 1656350"/>
              <a:gd name="connsiteX23" fmla="*/ 836579 w 6955277"/>
              <a:gd name="connsiteY23" fmla="*/ 1461797 h 1656350"/>
              <a:gd name="connsiteX24" fmla="*/ 851171 w 6955277"/>
              <a:gd name="connsiteY24" fmla="*/ 1456933 h 1656350"/>
              <a:gd name="connsiteX25" fmla="*/ 875490 w 6955277"/>
              <a:gd name="connsiteY25" fmla="*/ 1452069 h 1656350"/>
              <a:gd name="connsiteX26" fmla="*/ 894945 w 6955277"/>
              <a:gd name="connsiteY26" fmla="*/ 1447205 h 1656350"/>
              <a:gd name="connsiteX27" fmla="*/ 924128 w 6955277"/>
              <a:gd name="connsiteY27" fmla="*/ 1437478 h 1656350"/>
              <a:gd name="connsiteX28" fmla="*/ 933856 w 6955277"/>
              <a:gd name="connsiteY28" fmla="*/ 1422886 h 1656350"/>
              <a:gd name="connsiteX29" fmla="*/ 982494 w 6955277"/>
              <a:gd name="connsiteY29" fmla="*/ 1418022 h 1656350"/>
              <a:gd name="connsiteX30" fmla="*/ 997085 w 6955277"/>
              <a:gd name="connsiteY30" fmla="*/ 1413159 h 1656350"/>
              <a:gd name="connsiteX31" fmla="*/ 1011677 w 6955277"/>
              <a:gd name="connsiteY31" fmla="*/ 1403431 h 1656350"/>
              <a:gd name="connsiteX32" fmla="*/ 1118681 w 6955277"/>
              <a:gd name="connsiteY32" fmla="*/ 1398567 h 1656350"/>
              <a:gd name="connsiteX33" fmla="*/ 1147864 w 6955277"/>
              <a:gd name="connsiteY33" fmla="*/ 1388839 h 1656350"/>
              <a:gd name="connsiteX34" fmla="*/ 1240277 w 6955277"/>
              <a:gd name="connsiteY34" fmla="*/ 1374248 h 1656350"/>
              <a:gd name="connsiteX35" fmla="*/ 1269460 w 6955277"/>
              <a:gd name="connsiteY35" fmla="*/ 1364520 h 1656350"/>
              <a:gd name="connsiteX36" fmla="*/ 1303507 w 6955277"/>
              <a:gd name="connsiteY36" fmla="*/ 1354793 h 1656350"/>
              <a:gd name="connsiteX37" fmla="*/ 1332690 w 6955277"/>
              <a:gd name="connsiteY37" fmla="*/ 1340201 h 1656350"/>
              <a:gd name="connsiteX38" fmla="*/ 1400783 w 6955277"/>
              <a:gd name="connsiteY38" fmla="*/ 1330473 h 1656350"/>
              <a:gd name="connsiteX39" fmla="*/ 1429966 w 6955277"/>
              <a:gd name="connsiteY39" fmla="*/ 1320746 h 1656350"/>
              <a:gd name="connsiteX40" fmla="*/ 1444558 w 6955277"/>
              <a:gd name="connsiteY40" fmla="*/ 1315882 h 1656350"/>
              <a:gd name="connsiteX41" fmla="*/ 1532107 w 6955277"/>
              <a:gd name="connsiteY41" fmla="*/ 1301290 h 1656350"/>
              <a:gd name="connsiteX42" fmla="*/ 1561290 w 6955277"/>
              <a:gd name="connsiteY42" fmla="*/ 1291563 h 1656350"/>
              <a:gd name="connsiteX43" fmla="*/ 1600200 w 6955277"/>
              <a:gd name="connsiteY43" fmla="*/ 1286699 h 1656350"/>
              <a:gd name="connsiteX44" fmla="*/ 1634247 w 6955277"/>
              <a:gd name="connsiteY44" fmla="*/ 1281835 h 1656350"/>
              <a:gd name="connsiteX45" fmla="*/ 1697477 w 6955277"/>
              <a:gd name="connsiteY45" fmla="*/ 1272107 h 1656350"/>
              <a:gd name="connsiteX46" fmla="*/ 1712068 w 6955277"/>
              <a:gd name="connsiteY46" fmla="*/ 1262380 h 1656350"/>
              <a:gd name="connsiteX47" fmla="*/ 1736388 w 6955277"/>
              <a:gd name="connsiteY47" fmla="*/ 1257516 h 1656350"/>
              <a:gd name="connsiteX48" fmla="*/ 1823936 w 6955277"/>
              <a:gd name="connsiteY48" fmla="*/ 1252652 h 1656350"/>
              <a:gd name="connsiteX49" fmla="*/ 1828800 w 6955277"/>
              <a:gd name="connsiteY49" fmla="*/ 1228333 h 1656350"/>
              <a:gd name="connsiteX50" fmla="*/ 1843392 w 6955277"/>
              <a:gd name="connsiteY50" fmla="*/ 1223469 h 1656350"/>
              <a:gd name="connsiteX51" fmla="*/ 1867711 w 6955277"/>
              <a:gd name="connsiteY51" fmla="*/ 1218605 h 1656350"/>
              <a:gd name="connsiteX52" fmla="*/ 1945532 w 6955277"/>
              <a:gd name="connsiteY52" fmla="*/ 1213741 h 1656350"/>
              <a:gd name="connsiteX53" fmla="*/ 2018490 w 6955277"/>
              <a:gd name="connsiteY53" fmla="*/ 1199150 h 1656350"/>
              <a:gd name="connsiteX54" fmla="*/ 2091447 w 6955277"/>
              <a:gd name="connsiteY54" fmla="*/ 1189422 h 1656350"/>
              <a:gd name="connsiteX55" fmla="*/ 2106039 w 6955277"/>
              <a:gd name="connsiteY55" fmla="*/ 1179695 h 1656350"/>
              <a:gd name="connsiteX56" fmla="*/ 2140085 w 6955277"/>
              <a:gd name="connsiteY56" fmla="*/ 1174831 h 1656350"/>
              <a:gd name="connsiteX57" fmla="*/ 2188724 w 6955277"/>
              <a:gd name="connsiteY57" fmla="*/ 1160239 h 1656350"/>
              <a:gd name="connsiteX58" fmla="*/ 2222771 w 6955277"/>
              <a:gd name="connsiteY58" fmla="*/ 1155376 h 1656350"/>
              <a:gd name="connsiteX59" fmla="*/ 2237362 w 6955277"/>
              <a:gd name="connsiteY59" fmla="*/ 1150512 h 1656350"/>
              <a:gd name="connsiteX60" fmla="*/ 2305456 w 6955277"/>
              <a:gd name="connsiteY60" fmla="*/ 1140784 h 1656350"/>
              <a:gd name="connsiteX61" fmla="*/ 2349230 w 6955277"/>
              <a:gd name="connsiteY61" fmla="*/ 1131056 h 1656350"/>
              <a:gd name="connsiteX62" fmla="*/ 2363822 w 6955277"/>
              <a:gd name="connsiteY62" fmla="*/ 1126193 h 1656350"/>
              <a:gd name="connsiteX63" fmla="*/ 2431915 w 6955277"/>
              <a:gd name="connsiteY63" fmla="*/ 1116465 h 1656350"/>
              <a:gd name="connsiteX64" fmla="*/ 2436779 w 6955277"/>
              <a:gd name="connsiteY64" fmla="*/ 1101873 h 1656350"/>
              <a:gd name="connsiteX65" fmla="*/ 2465962 w 6955277"/>
              <a:gd name="connsiteY65" fmla="*/ 1092146 h 1656350"/>
              <a:gd name="connsiteX66" fmla="*/ 2572966 w 6955277"/>
              <a:gd name="connsiteY66" fmla="*/ 1092146 h 1656350"/>
              <a:gd name="connsiteX67" fmla="*/ 2587558 w 6955277"/>
              <a:gd name="connsiteY67" fmla="*/ 1082418 h 1656350"/>
              <a:gd name="connsiteX68" fmla="*/ 2602149 w 6955277"/>
              <a:gd name="connsiteY68" fmla="*/ 1077554 h 1656350"/>
              <a:gd name="connsiteX69" fmla="*/ 2616741 w 6955277"/>
              <a:gd name="connsiteY69" fmla="*/ 1067827 h 1656350"/>
              <a:gd name="connsiteX70" fmla="*/ 2645924 w 6955277"/>
              <a:gd name="connsiteY70" fmla="*/ 1062963 h 1656350"/>
              <a:gd name="connsiteX71" fmla="*/ 2704290 w 6955277"/>
              <a:gd name="connsiteY71" fmla="*/ 1043507 h 1656350"/>
              <a:gd name="connsiteX72" fmla="*/ 2718881 w 6955277"/>
              <a:gd name="connsiteY72" fmla="*/ 1038644 h 1656350"/>
              <a:gd name="connsiteX73" fmla="*/ 2733473 w 6955277"/>
              <a:gd name="connsiteY73" fmla="*/ 1033780 h 1656350"/>
              <a:gd name="connsiteX74" fmla="*/ 2752928 w 6955277"/>
              <a:gd name="connsiteY74" fmla="*/ 1028916 h 1656350"/>
              <a:gd name="connsiteX75" fmla="*/ 2777247 w 6955277"/>
              <a:gd name="connsiteY75" fmla="*/ 1024052 h 1656350"/>
              <a:gd name="connsiteX76" fmla="*/ 2830749 w 6955277"/>
              <a:gd name="connsiteY76" fmla="*/ 1019188 h 1656350"/>
              <a:gd name="connsiteX77" fmla="*/ 2864796 w 6955277"/>
              <a:gd name="connsiteY77" fmla="*/ 1014324 h 1656350"/>
              <a:gd name="connsiteX78" fmla="*/ 2879388 w 6955277"/>
              <a:gd name="connsiteY78" fmla="*/ 1009461 h 1656350"/>
              <a:gd name="connsiteX79" fmla="*/ 2898843 w 6955277"/>
              <a:gd name="connsiteY79" fmla="*/ 1004597 h 1656350"/>
              <a:gd name="connsiteX80" fmla="*/ 2913434 w 6955277"/>
              <a:gd name="connsiteY80" fmla="*/ 994869 h 1656350"/>
              <a:gd name="connsiteX81" fmla="*/ 2981528 w 6955277"/>
              <a:gd name="connsiteY81" fmla="*/ 985141 h 1656350"/>
              <a:gd name="connsiteX82" fmla="*/ 2986392 w 6955277"/>
              <a:gd name="connsiteY82" fmla="*/ 970550 h 1656350"/>
              <a:gd name="connsiteX83" fmla="*/ 3059349 w 6955277"/>
              <a:gd name="connsiteY83" fmla="*/ 965686 h 1656350"/>
              <a:gd name="connsiteX84" fmla="*/ 3107988 w 6955277"/>
              <a:gd name="connsiteY84" fmla="*/ 960822 h 1656350"/>
              <a:gd name="connsiteX85" fmla="*/ 3185809 w 6955277"/>
              <a:gd name="connsiteY85" fmla="*/ 951095 h 1656350"/>
              <a:gd name="connsiteX86" fmla="*/ 3229583 w 6955277"/>
              <a:gd name="connsiteY86" fmla="*/ 946231 h 1656350"/>
              <a:gd name="connsiteX87" fmla="*/ 3263630 w 6955277"/>
              <a:gd name="connsiteY87" fmla="*/ 936503 h 1656350"/>
              <a:gd name="connsiteX88" fmla="*/ 3302541 w 6955277"/>
              <a:gd name="connsiteY88" fmla="*/ 931639 h 1656350"/>
              <a:gd name="connsiteX89" fmla="*/ 3317132 w 6955277"/>
              <a:gd name="connsiteY89" fmla="*/ 926776 h 1656350"/>
              <a:gd name="connsiteX90" fmla="*/ 3321996 w 6955277"/>
              <a:gd name="connsiteY90" fmla="*/ 912184 h 1656350"/>
              <a:gd name="connsiteX91" fmla="*/ 3433864 w 6955277"/>
              <a:gd name="connsiteY91" fmla="*/ 907320 h 1656350"/>
              <a:gd name="connsiteX92" fmla="*/ 3438728 w 6955277"/>
              <a:gd name="connsiteY92" fmla="*/ 892729 h 1656350"/>
              <a:gd name="connsiteX93" fmla="*/ 3453319 w 6955277"/>
              <a:gd name="connsiteY93" fmla="*/ 883001 h 1656350"/>
              <a:gd name="connsiteX94" fmla="*/ 3540868 w 6955277"/>
              <a:gd name="connsiteY94" fmla="*/ 878137 h 1656350"/>
              <a:gd name="connsiteX95" fmla="*/ 3560324 w 6955277"/>
              <a:gd name="connsiteY95" fmla="*/ 873273 h 1656350"/>
              <a:gd name="connsiteX96" fmla="*/ 3589507 w 6955277"/>
              <a:gd name="connsiteY96" fmla="*/ 863546 h 1656350"/>
              <a:gd name="connsiteX97" fmla="*/ 3618690 w 6955277"/>
              <a:gd name="connsiteY97" fmla="*/ 858682 h 1656350"/>
              <a:gd name="connsiteX98" fmla="*/ 3715966 w 6955277"/>
              <a:gd name="connsiteY98" fmla="*/ 844090 h 1656350"/>
              <a:gd name="connsiteX99" fmla="*/ 3745149 w 6955277"/>
              <a:gd name="connsiteY99" fmla="*/ 834363 h 1656350"/>
              <a:gd name="connsiteX100" fmla="*/ 3750013 w 6955277"/>
              <a:gd name="connsiteY100" fmla="*/ 819771 h 1656350"/>
              <a:gd name="connsiteX101" fmla="*/ 3764605 w 6955277"/>
              <a:gd name="connsiteY101" fmla="*/ 814907 h 1656350"/>
              <a:gd name="connsiteX102" fmla="*/ 3798651 w 6955277"/>
              <a:gd name="connsiteY102" fmla="*/ 810044 h 1656350"/>
              <a:gd name="connsiteX103" fmla="*/ 3822971 w 6955277"/>
              <a:gd name="connsiteY103" fmla="*/ 805180 h 1656350"/>
              <a:gd name="connsiteX104" fmla="*/ 3852154 w 6955277"/>
              <a:gd name="connsiteY104" fmla="*/ 795452 h 1656350"/>
              <a:gd name="connsiteX105" fmla="*/ 3915383 w 6955277"/>
              <a:gd name="connsiteY105" fmla="*/ 790588 h 1656350"/>
              <a:gd name="connsiteX106" fmla="*/ 3959158 w 6955277"/>
              <a:gd name="connsiteY106" fmla="*/ 785724 h 1656350"/>
              <a:gd name="connsiteX107" fmla="*/ 3964022 w 6955277"/>
              <a:gd name="connsiteY107" fmla="*/ 771133 h 1656350"/>
              <a:gd name="connsiteX108" fmla="*/ 3993205 w 6955277"/>
              <a:gd name="connsiteY108" fmla="*/ 761405 h 1656350"/>
              <a:gd name="connsiteX109" fmla="*/ 4017524 w 6955277"/>
              <a:gd name="connsiteY109" fmla="*/ 756541 h 1656350"/>
              <a:gd name="connsiteX110" fmla="*/ 4036979 w 6955277"/>
              <a:gd name="connsiteY110" fmla="*/ 751678 h 1656350"/>
              <a:gd name="connsiteX111" fmla="*/ 4075890 w 6955277"/>
              <a:gd name="connsiteY111" fmla="*/ 746814 h 1656350"/>
              <a:gd name="connsiteX112" fmla="*/ 4095345 w 6955277"/>
              <a:gd name="connsiteY112" fmla="*/ 741950 h 1656350"/>
              <a:gd name="connsiteX113" fmla="*/ 4158575 w 6955277"/>
              <a:gd name="connsiteY113" fmla="*/ 727359 h 1656350"/>
              <a:gd name="connsiteX114" fmla="*/ 4173166 w 6955277"/>
              <a:gd name="connsiteY114" fmla="*/ 722495 h 1656350"/>
              <a:gd name="connsiteX115" fmla="*/ 4187758 w 6955277"/>
              <a:gd name="connsiteY115" fmla="*/ 712767 h 1656350"/>
              <a:gd name="connsiteX116" fmla="*/ 4265579 w 6955277"/>
              <a:gd name="connsiteY116" fmla="*/ 707903 h 1656350"/>
              <a:gd name="connsiteX117" fmla="*/ 4275307 w 6955277"/>
              <a:gd name="connsiteY117" fmla="*/ 693312 h 1656350"/>
              <a:gd name="connsiteX118" fmla="*/ 4421222 w 6955277"/>
              <a:gd name="connsiteY118" fmla="*/ 678720 h 1656350"/>
              <a:gd name="connsiteX119" fmla="*/ 4440677 w 6955277"/>
              <a:gd name="connsiteY119" fmla="*/ 668993 h 1656350"/>
              <a:gd name="connsiteX120" fmla="*/ 4557409 w 6955277"/>
              <a:gd name="connsiteY120" fmla="*/ 659265 h 1656350"/>
              <a:gd name="connsiteX121" fmla="*/ 4576863 w 6955277"/>
              <a:gd name="connsiteY121" fmla="*/ 639809 h 1656350"/>
              <a:gd name="connsiteX122" fmla="*/ 4586592 w 6955277"/>
              <a:gd name="connsiteY122" fmla="*/ 625218 h 1656350"/>
              <a:gd name="connsiteX123" fmla="*/ 4635230 w 6955277"/>
              <a:gd name="connsiteY123" fmla="*/ 634946 h 1656350"/>
              <a:gd name="connsiteX124" fmla="*/ 4669277 w 6955277"/>
              <a:gd name="connsiteY124" fmla="*/ 630082 h 1656350"/>
              <a:gd name="connsiteX125" fmla="*/ 4703324 w 6955277"/>
              <a:gd name="connsiteY125" fmla="*/ 610627 h 1656350"/>
              <a:gd name="connsiteX126" fmla="*/ 4732507 w 6955277"/>
              <a:gd name="connsiteY126" fmla="*/ 605763 h 1656350"/>
              <a:gd name="connsiteX127" fmla="*/ 4790873 w 6955277"/>
              <a:gd name="connsiteY127" fmla="*/ 591171 h 1656350"/>
              <a:gd name="connsiteX128" fmla="*/ 4834646 w 6955277"/>
              <a:gd name="connsiteY128" fmla="*/ 571716 h 1656350"/>
              <a:gd name="connsiteX129" fmla="*/ 4902741 w 6955277"/>
              <a:gd name="connsiteY129" fmla="*/ 566852 h 1656350"/>
              <a:gd name="connsiteX130" fmla="*/ 4990290 w 6955277"/>
              <a:gd name="connsiteY130" fmla="*/ 552261 h 1656350"/>
              <a:gd name="connsiteX131" fmla="*/ 5009745 w 6955277"/>
              <a:gd name="connsiteY131" fmla="*/ 523078 h 1656350"/>
              <a:gd name="connsiteX132" fmla="*/ 5024336 w 6955277"/>
              <a:gd name="connsiteY132" fmla="*/ 513350 h 1656350"/>
              <a:gd name="connsiteX133" fmla="*/ 5058383 w 6955277"/>
              <a:gd name="connsiteY133" fmla="*/ 503622 h 1656350"/>
              <a:gd name="connsiteX134" fmla="*/ 5072975 w 6955277"/>
              <a:gd name="connsiteY134" fmla="*/ 498759 h 1656350"/>
              <a:gd name="connsiteX135" fmla="*/ 5087566 w 6955277"/>
              <a:gd name="connsiteY135" fmla="*/ 489031 h 1656350"/>
              <a:gd name="connsiteX136" fmla="*/ 5136205 w 6955277"/>
              <a:gd name="connsiteY136" fmla="*/ 474439 h 1656350"/>
              <a:gd name="connsiteX137" fmla="*/ 5150796 w 6955277"/>
              <a:gd name="connsiteY137" fmla="*/ 469576 h 1656350"/>
              <a:gd name="connsiteX138" fmla="*/ 5179979 w 6955277"/>
              <a:gd name="connsiteY138" fmla="*/ 464712 h 1656350"/>
              <a:gd name="connsiteX139" fmla="*/ 5194571 w 6955277"/>
              <a:gd name="connsiteY139" fmla="*/ 459848 h 1656350"/>
              <a:gd name="connsiteX140" fmla="*/ 5267528 w 6955277"/>
              <a:gd name="connsiteY140" fmla="*/ 454984 h 1656350"/>
              <a:gd name="connsiteX141" fmla="*/ 5301575 w 6955277"/>
              <a:gd name="connsiteY141" fmla="*/ 450120 h 1656350"/>
              <a:gd name="connsiteX142" fmla="*/ 5321030 w 6955277"/>
              <a:gd name="connsiteY142" fmla="*/ 445256 h 1656350"/>
              <a:gd name="connsiteX143" fmla="*/ 5369668 w 6955277"/>
              <a:gd name="connsiteY143" fmla="*/ 440393 h 1656350"/>
              <a:gd name="connsiteX144" fmla="*/ 5437762 w 6955277"/>
              <a:gd name="connsiteY144" fmla="*/ 430665 h 1656350"/>
              <a:gd name="connsiteX145" fmla="*/ 5466945 w 6955277"/>
              <a:gd name="connsiteY145" fmla="*/ 425801 h 1656350"/>
              <a:gd name="connsiteX146" fmla="*/ 5500992 w 6955277"/>
              <a:gd name="connsiteY146" fmla="*/ 416073 h 1656350"/>
              <a:gd name="connsiteX147" fmla="*/ 5515583 w 6955277"/>
              <a:gd name="connsiteY147" fmla="*/ 411210 h 1656350"/>
              <a:gd name="connsiteX148" fmla="*/ 5564222 w 6955277"/>
              <a:gd name="connsiteY148" fmla="*/ 411211 h 1656350"/>
              <a:gd name="connsiteX149" fmla="*/ 5637179 w 6955277"/>
              <a:gd name="connsiteY149" fmla="*/ 386891 h 1656350"/>
              <a:gd name="connsiteX150" fmla="*/ 5666362 w 6955277"/>
              <a:gd name="connsiteY150" fmla="*/ 391754 h 1656350"/>
              <a:gd name="connsiteX151" fmla="*/ 5685817 w 6955277"/>
              <a:gd name="connsiteY151" fmla="*/ 382027 h 1656350"/>
              <a:gd name="connsiteX152" fmla="*/ 5724728 w 6955277"/>
              <a:gd name="connsiteY152" fmla="*/ 377163 h 1656350"/>
              <a:gd name="connsiteX153" fmla="*/ 5729592 w 6955277"/>
              <a:gd name="connsiteY153" fmla="*/ 362571 h 1656350"/>
              <a:gd name="connsiteX154" fmla="*/ 5744183 w 6955277"/>
              <a:gd name="connsiteY154" fmla="*/ 357707 h 1656350"/>
              <a:gd name="connsiteX155" fmla="*/ 5783094 w 6955277"/>
              <a:gd name="connsiteY155" fmla="*/ 352844 h 1656350"/>
              <a:gd name="connsiteX156" fmla="*/ 5812277 w 6955277"/>
              <a:gd name="connsiteY156" fmla="*/ 338252 h 1656350"/>
              <a:gd name="connsiteX157" fmla="*/ 5841460 w 6955277"/>
              <a:gd name="connsiteY157" fmla="*/ 328524 h 1656350"/>
              <a:gd name="connsiteX158" fmla="*/ 5885234 w 6955277"/>
              <a:gd name="connsiteY158" fmla="*/ 318797 h 1656350"/>
              <a:gd name="connsiteX159" fmla="*/ 5899826 w 6955277"/>
              <a:gd name="connsiteY159" fmla="*/ 309069 h 1656350"/>
              <a:gd name="connsiteX160" fmla="*/ 5997102 w 6955277"/>
              <a:gd name="connsiteY160" fmla="*/ 299341 h 1656350"/>
              <a:gd name="connsiteX161" fmla="*/ 6040877 w 6955277"/>
              <a:gd name="connsiteY161" fmla="*/ 284750 h 1656350"/>
              <a:gd name="connsiteX162" fmla="*/ 6055468 w 6955277"/>
              <a:gd name="connsiteY162" fmla="*/ 275022 h 1656350"/>
              <a:gd name="connsiteX163" fmla="*/ 6079788 w 6955277"/>
              <a:gd name="connsiteY163" fmla="*/ 270159 h 1656350"/>
              <a:gd name="connsiteX164" fmla="*/ 6128426 w 6955277"/>
              <a:gd name="connsiteY164" fmla="*/ 265295 h 1656350"/>
              <a:gd name="connsiteX165" fmla="*/ 6167336 w 6955277"/>
              <a:gd name="connsiteY165" fmla="*/ 260431 h 1656350"/>
              <a:gd name="connsiteX166" fmla="*/ 6206247 w 6955277"/>
              <a:gd name="connsiteY166" fmla="*/ 250703 h 1656350"/>
              <a:gd name="connsiteX167" fmla="*/ 6220839 w 6955277"/>
              <a:gd name="connsiteY167" fmla="*/ 240976 h 1656350"/>
              <a:gd name="connsiteX168" fmla="*/ 6274341 w 6955277"/>
              <a:gd name="connsiteY168" fmla="*/ 236112 h 1656350"/>
              <a:gd name="connsiteX169" fmla="*/ 6395936 w 6955277"/>
              <a:gd name="connsiteY169" fmla="*/ 221520 h 1656350"/>
              <a:gd name="connsiteX170" fmla="*/ 6410528 w 6955277"/>
              <a:gd name="connsiteY170" fmla="*/ 192337 h 1656350"/>
              <a:gd name="connsiteX171" fmla="*/ 6439711 w 6955277"/>
              <a:gd name="connsiteY171" fmla="*/ 187473 h 1656350"/>
              <a:gd name="connsiteX172" fmla="*/ 6488349 w 6955277"/>
              <a:gd name="connsiteY172" fmla="*/ 182610 h 1656350"/>
              <a:gd name="connsiteX173" fmla="*/ 6507805 w 6955277"/>
              <a:gd name="connsiteY173" fmla="*/ 177746 h 1656350"/>
              <a:gd name="connsiteX174" fmla="*/ 6522396 w 6955277"/>
              <a:gd name="connsiteY174" fmla="*/ 172882 h 1656350"/>
              <a:gd name="connsiteX175" fmla="*/ 6561307 w 6955277"/>
              <a:gd name="connsiteY175" fmla="*/ 163154 h 1656350"/>
              <a:gd name="connsiteX176" fmla="*/ 6566171 w 6955277"/>
              <a:gd name="connsiteY176" fmla="*/ 148563 h 1656350"/>
              <a:gd name="connsiteX177" fmla="*/ 6580762 w 6955277"/>
              <a:gd name="connsiteY177" fmla="*/ 143699 h 1656350"/>
              <a:gd name="connsiteX178" fmla="*/ 6605081 w 6955277"/>
              <a:gd name="connsiteY178" fmla="*/ 138835 h 1656350"/>
              <a:gd name="connsiteX179" fmla="*/ 6639128 w 6955277"/>
              <a:gd name="connsiteY179" fmla="*/ 119380 h 1656350"/>
              <a:gd name="connsiteX180" fmla="*/ 6643992 w 6955277"/>
              <a:gd name="connsiteY180" fmla="*/ 99924 h 1656350"/>
              <a:gd name="connsiteX181" fmla="*/ 6780179 w 6955277"/>
              <a:gd name="connsiteY181" fmla="*/ 99924 h 1656350"/>
              <a:gd name="connsiteX182" fmla="*/ 6785043 w 6955277"/>
              <a:gd name="connsiteY182" fmla="*/ 65878 h 1656350"/>
              <a:gd name="connsiteX183" fmla="*/ 6809362 w 6955277"/>
              <a:gd name="connsiteY183" fmla="*/ 61014 h 1656350"/>
              <a:gd name="connsiteX184" fmla="*/ 6828817 w 6955277"/>
              <a:gd name="connsiteY184" fmla="*/ 56150 h 1656350"/>
              <a:gd name="connsiteX185" fmla="*/ 6955277 w 6955277"/>
              <a:gd name="connsiteY185" fmla="*/ 2647 h 1656350"/>
              <a:gd name="connsiteX0" fmla="*/ 0 w 6955277"/>
              <a:gd name="connsiteY0" fmla="*/ 1656350 h 1656350"/>
              <a:gd name="connsiteX1" fmla="*/ 48639 w 6955277"/>
              <a:gd name="connsiteY1" fmla="*/ 1646622 h 1656350"/>
              <a:gd name="connsiteX2" fmla="*/ 77822 w 6955277"/>
              <a:gd name="connsiteY2" fmla="*/ 1632031 h 1656350"/>
              <a:gd name="connsiteX3" fmla="*/ 141051 w 6955277"/>
              <a:gd name="connsiteY3" fmla="*/ 1627167 h 1656350"/>
              <a:gd name="connsiteX4" fmla="*/ 170234 w 6955277"/>
              <a:gd name="connsiteY4" fmla="*/ 1602848 h 1656350"/>
              <a:gd name="connsiteX5" fmla="*/ 184826 w 6955277"/>
              <a:gd name="connsiteY5" fmla="*/ 1593120 h 1656350"/>
              <a:gd name="connsiteX6" fmla="*/ 238328 w 6955277"/>
              <a:gd name="connsiteY6" fmla="*/ 1593120 h 1656350"/>
              <a:gd name="connsiteX7" fmla="*/ 252919 w 6955277"/>
              <a:gd name="connsiteY7" fmla="*/ 1583393 h 1656350"/>
              <a:gd name="connsiteX8" fmla="*/ 301558 w 6955277"/>
              <a:gd name="connsiteY8" fmla="*/ 1578529 h 1656350"/>
              <a:gd name="connsiteX9" fmla="*/ 321013 w 6955277"/>
              <a:gd name="connsiteY9" fmla="*/ 1568801 h 1656350"/>
              <a:gd name="connsiteX10" fmla="*/ 369651 w 6955277"/>
              <a:gd name="connsiteY10" fmla="*/ 1549346 h 1656350"/>
              <a:gd name="connsiteX11" fmla="*/ 418290 w 6955277"/>
              <a:gd name="connsiteY11" fmla="*/ 1549346 h 1656350"/>
              <a:gd name="connsiteX12" fmla="*/ 432881 w 6955277"/>
              <a:gd name="connsiteY12" fmla="*/ 1534754 h 1656350"/>
              <a:gd name="connsiteX13" fmla="*/ 447473 w 6955277"/>
              <a:gd name="connsiteY13" fmla="*/ 1529890 h 1656350"/>
              <a:gd name="connsiteX14" fmla="*/ 515566 w 6955277"/>
              <a:gd name="connsiteY14" fmla="*/ 1529890 h 1656350"/>
              <a:gd name="connsiteX15" fmla="*/ 520430 w 6955277"/>
              <a:gd name="connsiteY15" fmla="*/ 1510435 h 1656350"/>
              <a:gd name="connsiteX16" fmla="*/ 612843 w 6955277"/>
              <a:gd name="connsiteY16" fmla="*/ 1510435 h 1656350"/>
              <a:gd name="connsiteX17" fmla="*/ 617707 w 6955277"/>
              <a:gd name="connsiteY17" fmla="*/ 1495844 h 1656350"/>
              <a:gd name="connsiteX18" fmla="*/ 666345 w 6955277"/>
              <a:gd name="connsiteY18" fmla="*/ 1490980 h 1656350"/>
              <a:gd name="connsiteX19" fmla="*/ 695528 w 6955277"/>
              <a:gd name="connsiteY19" fmla="*/ 1495844 h 1656350"/>
              <a:gd name="connsiteX20" fmla="*/ 753894 w 6955277"/>
              <a:gd name="connsiteY20" fmla="*/ 1486116 h 1656350"/>
              <a:gd name="connsiteX21" fmla="*/ 787941 w 6955277"/>
              <a:gd name="connsiteY21" fmla="*/ 1481252 h 1656350"/>
              <a:gd name="connsiteX22" fmla="*/ 792805 w 6955277"/>
              <a:gd name="connsiteY22" fmla="*/ 1466661 h 1656350"/>
              <a:gd name="connsiteX23" fmla="*/ 836579 w 6955277"/>
              <a:gd name="connsiteY23" fmla="*/ 1461797 h 1656350"/>
              <a:gd name="connsiteX24" fmla="*/ 851171 w 6955277"/>
              <a:gd name="connsiteY24" fmla="*/ 1456933 h 1656350"/>
              <a:gd name="connsiteX25" fmla="*/ 875490 w 6955277"/>
              <a:gd name="connsiteY25" fmla="*/ 1452069 h 1656350"/>
              <a:gd name="connsiteX26" fmla="*/ 894945 w 6955277"/>
              <a:gd name="connsiteY26" fmla="*/ 1447205 h 1656350"/>
              <a:gd name="connsiteX27" fmla="*/ 924128 w 6955277"/>
              <a:gd name="connsiteY27" fmla="*/ 1437478 h 1656350"/>
              <a:gd name="connsiteX28" fmla="*/ 933856 w 6955277"/>
              <a:gd name="connsiteY28" fmla="*/ 1422886 h 1656350"/>
              <a:gd name="connsiteX29" fmla="*/ 982494 w 6955277"/>
              <a:gd name="connsiteY29" fmla="*/ 1418022 h 1656350"/>
              <a:gd name="connsiteX30" fmla="*/ 997085 w 6955277"/>
              <a:gd name="connsiteY30" fmla="*/ 1413159 h 1656350"/>
              <a:gd name="connsiteX31" fmla="*/ 1011677 w 6955277"/>
              <a:gd name="connsiteY31" fmla="*/ 1403431 h 1656350"/>
              <a:gd name="connsiteX32" fmla="*/ 1118681 w 6955277"/>
              <a:gd name="connsiteY32" fmla="*/ 1398567 h 1656350"/>
              <a:gd name="connsiteX33" fmla="*/ 1147864 w 6955277"/>
              <a:gd name="connsiteY33" fmla="*/ 1388839 h 1656350"/>
              <a:gd name="connsiteX34" fmla="*/ 1240277 w 6955277"/>
              <a:gd name="connsiteY34" fmla="*/ 1374248 h 1656350"/>
              <a:gd name="connsiteX35" fmla="*/ 1269460 w 6955277"/>
              <a:gd name="connsiteY35" fmla="*/ 1364520 h 1656350"/>
              <a:gd name="connsiteX36" fmla="*/ 1303507 w 6955277"/>
              <a:gd name="connsiteY36" fmla="*/ 1354793 h 1656350"/>
              <a:gd name="connsiteX37" fmla="*/ 1332690 w 6955277"/>
              <a:gd name="connsiteY37" fmla="*/ 1340201 h 1656350"/>
              <a:gd name="connsiteX38" fmla="*/ 1400783 w 6955277"/>
              <a:gd name="connsiteY38" fmla="*/ 1330473 h 1656350"/>
              <a:gd name="connsiteX39" fmla="*/ 1429966 w 6955277"/>
              <a:gd name="connsiteY39" fmla="*/ 1320746 h 1656350"/>
              <a:gd name="connsiteX40" fmla="*/ 1444558 w 6955277"/>
              <a:gd name="connsiteY40" fmla="*/ 1315882 h 1656350"/>
              <a:gd name="connsiteX41" fmla="*/ 1532107 w 6955277"/>
              <a:gd name="connsiteY41" fmla="*/ 1301290 h 1656350"/>
              <a:gd name="connsiteX42" fmla="*/ 1561290 w 6955277"/>
              <a:gd name="connsiteY42" fmla="*/ 1291563 h 1656350"/>
              <a:gd name="connsiteX43" fmla="*/ 1600200 w 6955277"/>
              <a:gd name="connsiteY43" fmla="*/ 1286699 h 1656350"/>
              <a:gd name="connsiteX44" fmla="*/ 1634247 w 6955277"/>
              <a:gd name="connsiteY44" fmla="*/ 1281835 h 1656350"/>
              <a:gd name="connsiteX45" fmla="*/ 1697477 w 6955277"/>
              <a:gd name="connsiteY45" fmla="*/ 1272107 h 1656350"/>
              <a:gd name="connsiteX46" fmla="*/ 1712068 w 6955277"/>
              <a:gd name="connsiteY46" fmla="*/ 1262380 h 1656350"/>
              <a:gd name="connsiteX47" fmla="*/ 1736388 w 6955277"/>
              <a:gd name="connsiteY47" fmla="*/ 1257516 h 1656350"/>
              <a:gd name="connsiteX48" fmla="*/ 1823936 w 6955277"/>
              <a:gd name="connsiteY48" fmla="*/ 1252652 h 1656350"/>
              <a:gd name="connsiteX49" fmla="*/ 1828800 w 6955277"/>
              <a:gd name="connsiteY49" fmla="*/ 1228333 h 1656350"/>
              <a:gd name="connsiteX50" fmla="*/ 1843392 w 6955277"/>
              <a:gd name="connsiteY50" fmla="*/ 1223469 h 1656350"/>
              <a:gd name="connsiteX51" fmla="*/ 1867711 w 6955277"/>
              <a:gd name="connsiteY51" fmla="*/ 1218605 h 1656350"/>
              <a:gd name="connsiteX52" fmla="*/ 1945532 w 6955277"/>
              <a:gd name="connsiteY52" fmla="*/ 1213741 h 1656350"/>
              <a:gd name="connsiteX53" fmla="*/ 2018490 w 6955277"/>
              <a:gd name="connsiteY53" fmla="*/ 1199150 h 1656350"/>
              <a:gd name="connsiteX54" fmla="*/ 2091447 w 6955277"/>
              <a:gd name="connsiteY54" fmla="*/ 1189422 h 1656350"/>
              <a:gd name="connsiteX55" fmla="*/ 2106039 w 6955277"/>
              <a:gd name="connsiteY55" fmla="*/ 1179695 h 1656350"/>
              <a:gd name="connsiteX56" fmla="*/ 2140085 w 6955277"/>
              <a:gd name="connsiteY56" fmla="*/ 1174831 h 1656350"/>
              <a:gd name="connsiteX57" fmla="*/ 2188724 w 6955277"/>
              <a:gd name="connsiteY57" fmla="*/ 1160239 h 1656350"/>
              <a:gd name="connsiteX58" fmla="*/ 2222771 w 6955277"/>
              <a:gd name="connsiteY58" fmla="*/ 1155376 h 1656350"/>
              <a:gd name="connsiteX59" fmla="*/ 2237362 w 6955277"/>
              <a:gd name="connsiteY59" fmla="*/ 1150512 h 1656350"/>
              <a:gd name="connsiteX60" fmla="*/ 2305456 w 6955277"/>
              <a:gd name="connsiteY60" fmla="*/ 1140784 h 1656350"/>
              <a:gd name="connsiteX61" fmla="*/ 2349230 w 6955277"/>
              <a:gd name="connsiteY61" fmla="*/ 1131056 h 1656350"/>
              <a:gd name="connsiteX62" fmla="*/ 2363822 w 6955277"/>
              <a:gd name="connsiteY62" fmla="*/ 1126193 h 1656350"/>
              <a:gd name="connsiteX63" fmla="*/ 2431915 w 6955277"/>
              <a:gd name="connsiteY63" fmla="*/ 1116465 h 1656350"/>
              <a:gd name="connsiteX64" fmla="*/ 2436779 w 6955277"/>
              <a:gd name="connsiteY64" fmla="*/ 1101873 h 1656350"/>
              <a:gd name="connsiteX65" fmla="*/ 2465962 w 6955277"/>
              <a:gd name="connsiteY65" fmla="*/ 1092146 h 1656350"/>
              <a:gd name="connsiteX66" fmla="*/ 2572966 w 6955277"/>
              <a:gd name="connsiteY66" fmla="*/ 1092146 h 1656350"/>
              <a:gd name="connsiteX67" fmla="*/ 2587558 w 6955277"/>
              <a:gd name="connsiteY67" fmla="*/ 1082418 h 1656350"/>
              <a:gd name="connsiteX68" fmla="*/ 2602149 w 6955277"/>
              <a:gd name="connsiteY68" fmla="*/ 1077554 h 1656350"/>
              <a:gd name="connsiteX69" fmla="*/ 2616741 w 6955277"/>
              <a:gd name="connsiteY69" fmla="*/ 1067827 h 1656350"/>
              <a:gd name="connsiteX70" fmla="*/ 2645924 w 6955277"/>
              <a:gd name="connsiteY70" fmla="*/ 1062963 h 1656350"/>
              <a:gd name="connsiteX71" fmla="*/ 2704290 w 6955277"/>
              <a:gd name="connsiteY71" fmla="*/ 1043507 h 1656350"/>
              <a:gd name="connsiteX72" fmla="*/ 2718881 w 6955277"/>
              <a:gd name="connsiteY72" fmla="*/ 1038644 h 1656350"/>
              <a:gd name="connsiteX73" fmla="*/ 2733473 w 6955277"/>
              <a:gd name="connsiteY73" fmla="*/ 1033780 h 1656350"/>
              <a:gd name="connsiteX74" fmla="*/ 2752928 w 6955277"/>
              <a:gd name="connsiteY74" fmla="*/ 1028916 h 1656350"/>
              <a:gd name="connsiteX75" fmla="*/ 2777247 w 6955277"/>
              <a:gd name="connsiteY75" fmla="*/ 1024052 h 1656350"/>
              <a:gd name="connsiteX76" fmla="*/ 2830749 w 6955277"/>
              <a:gd name="connsiteY76" fmla="*/ 1019188 h 1656350"/>
              <a:gd name="connsiteX77" fmla="*/ 2864796 w 6955277"/>
              <a:gd name="connsiteY77" fmla="*/ 1014324 h 1656350"/>
              <a:gd name="connsiteX78" fmla="*/ 2879388 w 6955277"/>
              <a:gd name="connsiteY78" fmla="*/ 1009461 h 1656350"/>
              <a:gd name="connsiteX79" fmla="*/ 2898843 w 6955277"/>
              <a:gd name="connsiteY79" fmla="*/ 1004597 h 1656350"/>
              <a:gd name="connsiteX80" fmla="*/ 2913434 w 6955277"/>
              <a:gd name="connsiteY80" fmla="*/ 994869 h 1656350"/>
              <a:gd name="connsiteX81" fmla="*/ 2981528 w 6955277"/>
              <a:gd name="connsiteY81" fmla="*/ 985141 h 1656350"/>
              <a:gd name="connsiteX82" fmla="*/ 2986392 w 6955277"/>
              <a:gd name="connsiteY82" fmla="*/ 970550 h 1656350"/>
              <a:gd name="connsiteX83" fmla="*/ 3059349 w 6955277"/>
              <a:gd name="connsiteY83" fmla="*/ 965686 h 1656350"/>
              <a:gd name="connsiteX84" fmla="*/ 3107988 w 6955277"/>
              <a:gd name="connsiteY84" fmla="*/ 960822 h 1656350"/>
              <a:gd name="connsiteX85" fmla="*/ 3185809 w 6955277"/>
              <a:gd name="connsiteY85" fmla="*/ 951095 h 1656350"/>
              <a:gd name="connsiteX86" fmla="*/ 3229583 w 6955277"/>
              <a:gd name="connsiteY86" fmla="*/ 946231 h 1656350"/>
              <a:gd name="connsiteX87" fmla="*/ 3263630 w 6955277"/>
              <a:gd name="connsiteY87" fmla="*/ 936503 h 1656350"/>
              <a:gd name="connsiteX88" fmla="*/ 3302541 w 6955277"/>
              <a:gd name="connsiteY88" fmla="*/ 931639 h 1656350"/>
              <a:gd name="connsiteX89" fmla="*/ 3317132 w 6955277"/>
              <a:gd name="connsiteY89" fmla="*/ 926776 h 1656350"/>
              <a:gd name="connsiteX90" fmla="*/ 3321996 w 6955277"/>
              <a:gd name="connsiteY90" fmla="*/ 912184 h 1656350"/>
              <a:gd name="connsiteX91" fmla="*/ 3433864 w 6955277"/>
              <a:gd name="connsiteY91" fmla="*/ 907320 h 1656350"/>
              <a:gd name="connsiteX92" fmla="*/ 3438728 w 6955277"/>
              <a:gd name="connsiteY92" fmla="*/ 892729 h 1656350"/>
              <a:gd name="connsiteX93" fmla="*/ 3453319 w 6955277"/>
              <a:gd name="connsiteY93" fmla="*/ 883001 h 1656350"/>
              <a:gd name="connsiteX94" fmla="*/ 3540868 w 6955277"/>
              <a:gd name="connsiteY94" fmla="*/ 878137 h 1656350"/>
              <a:gd name="connsiteX95" fmla="*/ 3560324 w 6955277"/>
              <a:gd name="connsiteY95" fmla="*/ 873273 h 1656350"/>
              <a:gd name="connsiteX96" fmla="*/ 3589507 w 6955277"/>
              <a:gd name="connsiteY96" fmla="*/ 863546 h 1656350"/>
              <a:gd name="connsiteX97" fmla="*/ 3618690 w 6955277"/>
              <a:gd name="connsiteY97" fmla="*/ 858682 h 1656350"/>
              <a:gd name="connsiteX98" fmla="*/ 3715966 w 6955277"/>
              <a:gd name="connsiteY98" fmla="*/ 844090 h 1656350"/>
              <a:gd name="connsiteX99" fmla="*/ 3745149 w 6955277"/>
              <a:gd name="connsiteY99" fmla="*/ 834363 h 1656350"/>
              <a:gd name="connsiteX100" fmla="*/ 3750013 w 6955277"/>
              <a:gd name="connsiteY100" fmla="*/ 819771 h 1656350"/>
              <a:gd name="connsiteX101" fmla="*/ 3764605 w 6955277"/>
              <a:gd name="connsiteY101" fmla="*/ 814907 h 1656350"/>
              <a:gd name="connsiteX102" fmla="*/ 3798651 w 6955277"/>
              <a:gd name="connsiteY102" fmla="*/ 810044 h 1656350"/>
              <a:gd name="connsiteX103" fmla="*/ 3822971 w 6955277"/>
              <a:gd name="connsiteY103" fmla="*/ 805180 h 1656350"/>
              <a:gd name="connsiteX104" fmla="*/ 3852154 w 6955277"/>
              <a:gd name="connsiteY104" fmla="*/ 795452 h 1656350"/>
              <a:gd name="connsiteX105" fmla="*/ 3915383 w 6955277"/>
              <a:gd name="connsiteY105" fmla="*/ 790588 h 1656350"/>
              <a:gd name="connsiteX106" fmla="*/ 3959158 w 6955277"/>
              <a:gd name="connsiteY106" fmla="*/ 785724 h 1656350"/>
              <a:gd name="connsiteX107" fmla="*/ 3964022 w 6955277"/>
              <a:gd name="connsiteY107" fmla="*/ 771133 h 1656350"/>
              <a:gd name="connsiteX108" fmla="*/ 3993205 w 6955277"/>
              <a:gd name="connsiteY108" fmla="*/ 761405 h 1656350"/>
              <a:gd name="connsiteX109" fmla="*/ 4017524 w 6955277"/>
              <a:gd name="connsiteY109" fmla="*/ 756541 h 1656350"/>
              <a:gd name="connsiteX110" fmla="*/ 4036979 w 6955277"/>
              <a:gd name="connsiteY110" fmla="*/ 751678 h 1656350"/>
              <a:gd name="connsiteX111" fmla="*/ 4075890 w 6955277"/>
              <a:gd name="connsiteY111" fmla="*/ 746814 h 1656350"/>
              <a:gd name="connsiteX112" fmla="*/ 4095345 w 6955277"/>
              <a:gd name="connsiteY112" fmla="*/ 741950 h 1656350"/>
              <a:gd name="connsiteX113" fmla="*/ 4158575 w 6955277"/>
              <a:gd name="connsiteY113" fmla="*/ 727359 h 1656350"/>
              <a:gd name="connsiteX114" fmla="*/ 4173166 w 6955277"/>
              <a:gd name="connsiteY114" fmla="*/ 722495 h 1656350"/>
              <a:gd name="connsiteX115" fmla="*/ 4187758 w 6955277"/>
              <a:gd name="connsiteY115" fmla="*/ 712767 h 1656350"/>
              <a:gd name="connsiteX116" fmla="*/ 4265579 w 6955277"/>
              <a:gd name="connsiteY116" fmla="*/ 707903 h 1656350"/>
              <a:gd name="connsiteX117" fmla="*/ 4275307 w 6955277"/>
              <a:gd name="connsiteY117" fmla="*/ 693312 h 1656350"/>
              <a:gd name="connsiteX118" fmla="*/ 4421222 w 6955277"/>
              <a:gd name="connsiteY118" fmla="*/ 678720 h 1656350"/>
              <a:gd name="connsiteX119" fmla="*/ 4440677 w 6955277"/>
              <a:gd name="connsiteY119" fmla="*/ 668993 h 1656350"/>
              <a:gd name="connsiteX120" fmla="*/ 4557409 w 6955277"/>
              <a:gd name="connsiteY120" fmla="*/ 659265 h 1656350"/>
              <a:gd name="connsiteX121" fmla="*/ 4576863 w 6955277"/>
              <a:gd name="connsiteY121" fmla="*/ 639809 h 1656350"/>
              <a:gd name="connsiteX122" fmla="*/ 4586592 w 6955277"/>
              <a:gd name="connsiteY122" fmla="*/ 625218 h 1656350"/>
              <a:gd name="connsiteX123" fmla="*/ 4635230 w 6955277"/>
              <a:gd name="connsiteY123" fmla="*/ 634946 h 1656350"/>
              <a:gd name="connsiteX124" fmla="*/ 4669277 w 6955277"/>
              <a:gd name="connsiteY124" fmla="*/ 630082 h 1656350"/>
              <a:gd name="connsiteX125" fmla="*/ 4703324 w 6955277"/>
              <a:gd name="connsiteY125" fmla="*/ 610627 h 1656350"/>
              <a:gd name="connsiteX126" fmla="*/ 4732507 w 6955277"/>
              <a:gd name="connsiteY126" fmla="*/ 605763 h 1656350"/>
              <a:gd name="connsiteX127" fmla="*/ 4790873 w 6955277"/>
              <a:gd name="connsiteY127" fmla="*/ 591171 h 1656350"/>
              <a:gd name="connsiteX128" fmla="*/ 4834646 w 6955277"/>
              <a:gd name="connsiteY128" fmla="*/ 571716 h 1656350"/>
              <a:gd name="connsiteX129" fmla="*/ 4902741 w 6955277"/>
              <a:gd name="connsiteY129" fmla="*/ 566852 h 1656350"/>
              <a:gd name="connsiteX130" fmla="*/ 4990290 w 6955277"/>
              <a:gd name="connsiteY130" fmla="*/ 552261 h 1656350"/>
              <a:gd name="connsiteX131" fmla="*/ 5009745 w 6955277"/>
              <a:gd name="connsiteY131" fmla="*/ 523078 h 1656350"/>
              <a:gd name="connsiteX132" fmla="*/ 5024336 w 6955277"/>
              <a:gd name="connsiteY132" fmla="*/ 513350 h 1656350"/>
              <a:gd name="connsiteX133" fmla="*/ 5058383 w 6955277"/>
              <a:gd name="connsiteY133" fmla="*/ 503622 h 1656350"/>
              <a:gd name="connsiteX134" fmla="*/ 5072975 w 6955277"/>
              <a:gd name="connsiteY134" fmla="*/ 498759 h 1656350"/>
              <a:gd name="connsiteX135" fmla="*/ 5087566 w 6955277"/>
              <a:gd name="connsiteY135" fmla="*/ 489031 h 1656350"/>
              <a:gd name="connsiteX136" fmla="*/ 5136205 w 6955277"/>
              <a:gd name="connsiteY136" fmla="*/ 474439 h 1656350"/>
              <a:gd name="connsiteX137" fmla="*/ 5150796 w 6955277"/>
              <a:gd name="connsiteY137" fmla="*/ 469576 h 1656350"/>
              <a:gd name="connsiteX138" fmla="*/ 5179979 w 6955277"/>
              <a:gd name="connsiteY138" fmla="*/ 464712 h 1656350"/>
              <a:gd name="connsiteX139" fmla="*/ 5194571 w 6955277"/>
              <a:gd name="connsiteY139" fmla="*/ 459848 h 1656350"/>
              <a:gd name="connsiteX140" fmla="*/ 5267528 w 6955277"/>
              <a:gd name="connsiteY140" fmla="*/ 454984 h 1656350"/>
              <a:gd name="connsiteX141" fmla="*/ 5301575 w 6955277"/>
              <a:gd name="connsiteY141" fmla="*/ 450120 h 1656350"/>
              <a:gd name="connsiteX142" fmla="*/ 5321030 w 6955277"/>
              <a:gd name="connsiteY142" fmla="*/ 445256 h 1656350"/>
              <a:gd name="connsiteX143" fmla="*/ 5369668 w 6955277"/>
              <a:gd name="connsiteY143" fmla="*/ 440393 h 1656350"/>
              <a:gd name="connsiteX144" fmla="*/ 5437762 w 6955277"/>
              <a:gd name="connsiteY144" fmla="*/ 430665 h 1656350"/>
              <a:gd name="connsiteX145" fmla="*/ 5466945 w 6955277"/>
              <a:gd name="connsiteY145" fmla="*/ 425801 h 1656350"/>
              <a:gd name="connsiteX146" fmla="*/ 5500992 w 6955277"/>
              <a:gd name="connsiteY146" fmla="*/ 416073 h 1656350"/>
              <a:gd name="connsiteX147" fmla="*/ 5515583 w 6955277"/>
              <a:gd name="connsiteY147" fmla="*/ 411210 h 1656350"/>
              <a:gd name="connsiteX148" fmla="*/ 5564222 w 6955277"/>
              <a:gd name="connsiteY148" fmla="*/ 411211 h 1656350"/>
              <a:gd name="connsiteX149" fmla="*/ 5637179 w 6955277"/>
              <a:gd name="connsiteY149" fmla="*/ 386891 h 1656350"/>
              <a:gd name="connsiteX150" fmla="*/ 5666362 w 6955277"/>
              <a:gd name="connsiteY150" fmla="*/ 391754 h 1656350"/>
              <a:gd name="connsiteX151" fmla="*/ 5685817 w 6955277"/>
              <a:gd name="connsiteY151" fmla="*/ 382027 h 1656350"/>
              <a:gd name="connsiteX152" fmla="*/ 5724728 w 6955277"/>
              <a:gd name="connsiteY152" fmla="*/ 377163 h 1656350"/>
              <a:gd name="connsiteX153" fmla="*/ 5729592 w 6955277"/>
              <a:gd name="connsiteY153" fmla="*/ 362571 h 1656350"/>
              <a:gd name="connsiteX154" fmla="*/ 5744183 w 6955277"/>
              <a:gd name="connsiteY154" fmla="*/ 357707 h 1656350"/>
              <a:gd name="connsiteX155" fmla="*/ 5783094 w 6955277"/>
              <a:gd name="connsiteY155" fmla="*/ 352844 h 1656350"/>
              <a:gd name="connsiteX156" fmla="*/ 5812277 w 6955277"/>
              <a:gd name="connsiteY156" fmla="*/ 338252 h 1656350"/>
              <a:gd name="connsiteX157" fmla="*/ 5841460 w 6955277"/>
              <a:gd name="connsiteY157" fmla="*/ 328524 h 1656350"/>
              <a:gd name="connsiteX158" fmla="*/ 5885234 w 6955277"/>
              <a:gd name="connsiteY158" fmla="*/ 318797 h 1656350"/>
              <a:gd name="connsiteX159" fmla="*/ 5899826 w 6955277"/>
              <a:gd name="connsiteY159" fmla="*/ 309069 h 1656350"/>
              <a:gd name="connsiteX160" fmla="*/ 5997102 w 6955277"/>
              <a:gd name="connsiteY160" fmla="*/ 299341 h 1656350"/>
              <a:gd name="connsiteX161" fmla="*/ 6040877 w 6955277"/>
              <a:gd name="connsiteY161" fmla="*/ 284750 h 1656350"/>
              <a:gd name="connsiteX162" fmla="*/ 6055468 w 6955277"/>
              <a:gd name="connsiteY162" fmla="*/ 275022 h 1656350"/>
              <a:gd name="connsiteX163" fmla="*/ 6079788 w 6955277"/>
              <a:gd name="connsiteY163" fmla="*/ 270159 h 1656350"/>
              <a:gd name="connsiteX164" fmla="*/ 6128426 w 6955277"/>
              <a:gd name="connsiteY164" fmla="*/ 265295 h 1656350"/>
              <a:gd name="connsiteX165" fmla="*/ 6167336 w 6955277"/>
              <a:gd name="connsiteY165" fmla="*/ 260431 h 1656350"/>
              <a:gd name="connsiteX166" fmla="*/ 6206247 w 6955277"/>
              <a:gd name="connsiteY166" fmla="*/ 250703 h 1656350"/>
              <a:gd name="connsiteX167" fmla="*/ 6220839 w 6955277"/>
              <a:gd name="connsiteY167" fmla="*/ 240976 h 1656350"/>
              <a:gd name="connsiteX168" fmla="*/ 6274341 w 6955277"/>
              <a:gd name="connsiteY168" fmla="*/ 236112 h 1656350"/>
              <a:gd name="connsiteX169" fmla="*/ 6395936 w 6955277"/>
              <a:gd name="connsiteY169" fmla="*/ 221520 h 1656350"/>
              <a:gd name="connsiteX170" fmla="*/ 6410528 w 6955277"/>
              <a:gd name="connsiteY170" fmla="*/ 192337 h 1656350"/>
              <a:gd name="connsiteX171" fmla="*/ 6439711 w 6955277"/>
              <a:gd name="connsiteY171" fmla="*/ 187473 h 1656350"/>
              <a:gd name="connsiteX172" fmla="*/ 6488349 w 6955277"/>
              <a:gd name="connsiteY172" fmla="*/ 182610 h 1656350"/>
              <a:gd name="connsiteX173" fmla="*/ 6507805 w 6955277"/>
              <a:gd name="connsiteY173" fmla="*/ 177746 h 1656350"/>
              <a:gd name="connsiteX174" fmla="*/ 6522396 w 6955277"/>
              <a:gd name="connsiteY174" fmla="*/ 172882 h 1656350"/>
              <a:gd name="connsiteX175" fmla="*/ 6561307 w 6955277"/>
              <a:gd name="connsiteY175" fmla="*/ 163154 h 1656350"/>
              <a:gd name="connsiteX176" fmla="*/ 6566171 w 6955277"/>
              <a:gd name="connsiteY176" fmla="*/ 148563 h 1656350"/>
              <a:gd name="connsiteX177" fmla="*/ 6580762 w 6955277"/>
              <a:gd name="connsiteY177" fmla="*/ 143699 h 1656350"/>
              <a:gd name="connsiteX178" fmla="*/ 6605081 w 6955277"/>
              <a:gd name="connsiteY178" fmla="*/ 138835 h 1656350"/>
              <a:gd name="connsiteX179" fmla="*/ 6639128 w 6955277"/>
              <a:gd name="connsiteY179" fmla="*/ 119380 h 1656350"/>
              <a:gd name="connsiteX180" fmla="*/ 6643992 w 6955277"/>
              <a:gd name="connsiteY180" fmla="*/ 99924 h 1656350"/>
              <a:gd name="connsiteX181" fmla="*/ 6780179 w 6955277"/>
              <a:gd name="connsiteY181" fmla="*/ 99924 h 1656350"/>
              <a:gd name="connsiteX182" fmla="*/ 6785043 w 6955277"/>
              <a:gd name="connsiteY182" fmla="*/ 65878 h 1656350"/>
              <a:gd name="connsiteX183" fmla="*/ 6809362 w 6955277"/>
              <a:gd name="connsiteY183" fmla="*/ 61014 h 1656350"/>
              <a:gd name="connsiteX184" fmla="*/ 6828817 w 6955277"/>
              <a:gd name="connsiteY184" fmla="*/ 56150 h 1656350"/>
              <a:gd name="connsiteX185" fmla="*/ 6955277 w 6955277"/>
              <a:gd name="connsiteY185" fmla="*/ 2647 h 1656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</a:cxnLst>
            <a:rect l="l" t="t" r="r" b="b"/>
            <a:pathLst>
              <a:path w="6955277" h="1656350">
                <a:moveTo>
                  <a:pt x="0" y="1656350"/>
                </a:moveTo>
                <a:cubicBezTo>
                  <a:pt x="12549" y="1654557"/>
                  <a:pt x="35056" y="1653413"/>
                  <a:pt x="48639" y="1646622"/>
                </a:cubicBezTo>
                <a:cubicBezTo>
                  <a:pt x="63122" y="1639381"/>
                  <a:pt x="61521" y="1634069"/>
                  <a:pt x="77822" y="1632031"/>
                </a:cubicBezTo>
                <a:cubicBezTo>
                  <a:pt x="98797" y="1629409"/>
                  <a:pt x="119975" y="1628788"/>
                  <a:pt x="141051" y="1627167"/>
                </a:cubicBezTo>
                <a:cubicBezTo>
                  <a:pt x="177281" y="1603014"/>
                  <a:pt x="132784" y="1634057"/>
                  <a:pt x="170234" y="1602848"/>
                </a:cubicBezTo>
                <a:cubicBezTo>
                  <a:pt x="174725" y="1599106"/>
                  <a:pt x="179962" y="1596363"/>
                  <a:pt x="184826" y="1593120"/>
                </a:cubicBezTo>
                <a:cubicBezTo>
                  <a:pt x="209065" y="1597160"/>
                  <a:pt x="215319" y="1601748"/>
                  <a:pt x="238328" y="1593120"/>
                </a:cubicBezTo>
                <a:cubicBezTo>
                  <a:pt x="243801" y="1591068"/>
                  <a:pt x="247223" y="1584707"/>
                  <a:pt x="252919" y="1583393"/>
                </a:cubicBezTo>
                <a:cubicBezTo>
                  <a:pt x="268796" y="1579729"/>
                  <a:pt x="285345" y="1580150"/>
                  <a:pt x="301558" y="1578529"/>
                </a:cubicBezTo>
                <a:cubicBezTo>
                  <a:pt x="308043" y="1575286"/>
                  <a:pt x="313948" y="1570431"/>
                  <a:pt x="321013" y="1568801"/>
                </a:cubicBezTo>
                <a:cubicBezTo>
                  <a:pt x="371995" y="1557036"/>
                  <a:pt x="359409" y="1580077"/>
                  <a:pt x="369651" y="1549346"/>
                </a:cubicBezTo>
                <a:cubicBezTo>
                  <a:pt x="388974" y="1554177"/>
                  <a:pt x="396824" y="1558887"/>
                  <a:pt x="418290" y="1549346"/>
                </a:cubicBezTo>
                <a:cubicBezTo>
                  <a:pt x="424576" y="1546552"/>
                  <a:pt x="427158" y="1538570"/>
                  <a:pt x="432881" y="1534754"/>
                </a:cubicBezTo>
                <a:cubicBezTo>
                  <a:pt x="437147" y="1531910"/>
                  <a:pt x="442609" y="1531511"/>
                  <a:pt x="447473" y="1529890"/>
                </a:cubicBezTo>
                <a:cubicBezTo>
                  <a:pt x="471765" y="1537988"/>
                  <a:pt x="482413" y="1543704"/>
                  <a:pt x="515566" y="1529890"/>
                </a:cubicBezTo>
                <a:cubicBezTo>
                  <a:pt x="521736" y="1527319"/>
                  <a:pt x="518809" y="1516920"/>
                  <a:pt x="520430" y="1510435"/>
                </a:cubicBezTo>
                <a:cubicBezTo>
                  <a:pt x="554708" y="1521861"/>
                  <a:pt x="555107" y="1524020"/>
                  <a:pt x="612843" y="1510435"/>
                </a:cubicBezTo>
                <a:cubicBezTo>
                  <a:pt x="617834" y="1509261"/>
                  <a:pt x="612889" y="1497596"/>
                  <a:pt x="617707" y="1495844"/>
                </a:cubicBezTo>
                <a:cubicBezTo>
                  <a:pt x="633020" y="1490276"/>
                  <a:pt x="650132" y="1492601"/>
                  <a:pt x="666345" y="1490980"/>
                </a:cubicBezTo>
                <a:cubicBezTo>
                  <a:pt x="676073" y="1492601"/>
                  <a:pt x="685666" y="1495844"/>
                  <a:pt x="695528" y="1495844"/>
                </a:cubicBezTo>
                <a:cubicBezTo>
                  <a:pt x="771687" y="1495844"/>
                  <a:pt x="715844" y="1493726"/>
                  <a:pt x="753894" y="1486116"/>
                </a:cubicBezTo>
                <a:cubicBezTo>
                  <a:pt x="765136" y="1483868"/>
                  <a:pt x="776592" y="1482873"/>
                  <a:pt x="787941" y="1481252"/>
                </a:cubicBezTo>
                <a:cubicBezTo>
                  <a:pt x="789562" y="1476388"/>
                  <a:pt x="788045" y="1468565"/>
                  <a:pt x="792805" y="1466661"/>
                </a:cubicBezTo>
                <a:cubicBezTo>
                  <a:pt x="806436" y="1461209"/>
                  <a:pt x="822098" y="1464211"/>
                  <a:pt x="836579" y="1461797"/>
                </a:cubicBezTo>
                <a:cubicBezTo>
                  <a:pt x="841636" y="1460954"/>
                  <a:pt x="846197" y="1458177"/>
                  <a:pt x="851171" y="1456933"/>
                </a:cubicBezTo>
                <a:cubicBezTo>
                  <a:pt x="859191" y="1454928"/>
                  <a:pt x="867420" y="1453862"/>
                  <a:pt x="875490" y="1452069"/>
                </a:cubicBezTo>
                <a:cubicBezTo>
                  <a:pt x="882015" y="1450619"/>
                  <a:pt x="888542" y="1449126"/>
                  <a:pt x="894945" y="1447205"/>
                </a:cubicBezTo>
                <a:cubicBezTo>
                  <a:pt x="904766" y="1444259"/>
                  <a:pt x="924128" y="1437478"/>
                  <a:pt x="924128" y="1437478"/>
                </a:cubicBezTo>
                <a:cubicBezTo>
                  <a:pt x="927371" y="1432614"/>
                  <a:pt x="929722" y="1427020"/>
                  <a:pt x="933856" y="1422886"/>
                </a:cubicBezTo>
                <a:cubicBezTo>
                  <a:pt x="950947" y="1405795"/>
                  <a:pt x="956465" y="1414304"/>
                  <a:pt x="982494" y="1418022"/>
                </a:cubicBezTo>
                <a:cubicBezTo>
                  <a:pt x="987358" y="1416401"/>
                  <a:pt x="992500" y="1415452"/>
                  <a:pt x="997085" y="1413159"/>
                </a:cubicBezTo>
                <a:cubicBezTo>
                  <a:pt x="1002314" y="1410545"/>
                  <a:pt x="1005873" y="1404128"/>
                  <a:pt x="1011677" y="1403431"/>
                </a:cubicBezTo>
                <a:cubicBezTo>
                  <a:pt x="1047127" y="1399177"/>
                  <a:pt x="1083013" y="1400188"/>
                  <a:pt x="1118681" y="1398567"/>
                </a:cubicBezTo>
                <a:cubicBezTo>
                  <a:pt x="1128409" y="1395324"/>
                  <a:pt x="1137809" y="1390850"/>
                  <a:pt x="1147864" y="1388839"/>
                </a:cubicBezTo>
                <a:cubicBezTo>
                  <a:pt x="1210898" y="1376233"/>
                  <a:pt x="1180069" y="1380938"/>
                  <a:pt x="1240277" y="1374248"/>
                </a:cubicBezTo>
                <a:cubicBezTo>
                  <a:pt x="1250005" y="1371005"/>
                  <a:pt x="1259512" y="1367007"/>
                  <a:pt x="1269460" y="1364520"/>
                </a:cubicBezTo>
                <a:cubicBezTo>
                  <a:pt x="1293889" y="1358412"/>
                  <a:pt x="1282573" y="1361769"/>
                  <a:pt x="1303507" y="1354793"/>
                </a:cubicBezTo>
                <a:cubicBezTo>
                  <a:pt x="1314712" y="1347323"/>
                  <a:pt x="1319264" y="1342439"/>
                  <a:pt x="1332690" y="1340201"/>
                </a:cubicBezTo>
                <a:cubicBezTo>
                  <a:pt x="1364776" y="1334853"/>
                  <a:pt x="1373276" y="1337975"/>
                  <a:pt x="1400783" y="1330473"/>
                </a:cubicBezTo>
                <a:cubicBezTo>
                  <a:pt x="1410676" y="1327775"/>
                  <a:pt x="1420238" y="1323988"/>
                  <a:pt x="1429966" y="1320746"/>
                </a:cubicBezTo>
                <a:lnTo>
                  <a:pt x="1444558" y="1315882"/>
                </a:lnTo>
                <a:cubicBezTo>
                  <a:pt x="1482176" y="1290801"/>
                  <a:pt x="1441858" y="1314182"/>
                  <a:pt x="1532107" y="1301290"/>
                </a:cubicBezTo>
                <a:cubicBezTo>
                  <a:pt x="1542258" y="1299840"/>
                  <a:pt x="1561290" y="1291563"/>
                  <a:pt x="1561290" y="1291563"/>
                </a:cubicBezTo>
                <a:cubicBezTo>
                  <a:pt x="1589134" y="1272999"/>
                  <a:pt x="1561134" y="1286699"/>
                  <a:pt x="1600200" y="1286699"/>
                </a:cubicBezTo>
                <a:cubicBezTo>
                  <a:pt x="1611664" y="1286699"/>
                  <a:pt x="1622898" y="1283456"/>
                  <a:pt x="1634247" y="1281835"/>
                </a:cubicBezTo>
                <a:cubicBezTo>
                  <a:pt x="1685855" y="1264632"/>
                  <a:pt x="1575227" y="1300318"/>
                  <a:pt x="1697477" y="1272107"/>
                </a:cubicBezTo>
                <a:cubicBezTo>
                  <a:pt x="1703173" y="1270793"/>
                  <a:pt x="1706595" y="1264432"/>
                  <a:pt x="1712068" y="1262380"/>
                </a:cubicBezTo>
                <a:cubicBezTo>
                  <a:pt x="1719809" y="1259477"/>
                  <a:pt x="1728152" y="1258232"/>
                  <a:pt x="1736388" y="1257516"/>
                </a:cubicBezTo>
                <a:cubicBezTo>
                  <a:pt x="1765506" y="1254984"/>
                  <a:pt x="1794753" y="1254273"/>
                  <a:pt x="1823936" y="1252652"/>
                </a:cubicBezTo>
                <a:cubicBezTo>
                  <a:pt x="1825557" y="1244546"/>
                  <a:pt x="1824214" y="1235211"/>
                  <a:pt x="1828800" y="1228333"/>
                </a:cubicBezTo>
                <a:cubicBezTo>
                  <a:pt x="1831644" y="1224067"/>
                  <a:pt x="1838418" y="1224713"/>
                  <a:pt x="1843392" y="1223469"/>
                </a:cubicBezTo>
                <a:cubicBezTo>
                  <a:pt x="1851412" y="1221464"/>
                  <a:pt x="1859605" y="1220226"/>
                  <a:pt x="1867711" y="1218605"/>
                </a:cubicBezTo>
                <a:cubicBezTo>
                  <a:pt x="1966174" y="1229546"/>
                  <a:pt x="1920402" y="1216983"/>
                  <a:pt x="1945532" y="1213741"/>
                </a:cubicBezTo>
                <a:cubicBezTo>
                  <a:pt x="1970662" y="1210499"/>
                  <a:pt x="1989307" y="1200771"/>
                  <a:pt x="2018490" y="1199150"/>
                </a:cubicBezTo>
                <a:cubicBezTo>
                  <a:pt x="2054079" y="1189660"/>
                  <a:pt x="2076856" y="1192664"/>
                  <a:pt x="2091447" y="1189422"/>
                </a:cubicBezTo>
                <a:cubicBezTo>
                  <a:pt x="2106038" y="1186180"/>
                  <a:pt x="2100440" y="1181375"/>
                  <a:pt x="2106039" y="1179695"/>
                </a:cubicBezTo>
                <a:cubicBezTo>
                  <a:pt x="2117019" y="1176401"/>
                  <a:pt x="2128736" y="1176452"/>
                  <a:pt x="2140085" y="1174831"/>
                </a:cubicBezTo>
                <a:cubicBezTo>
                  <a:pt x="2155313" y="1169755"/>
                  <a:pt x="2172553" y="1163179"/>
                  <a:pt x="2188724" y="1160239"/>
                </a:cubicBezTo>
                <a:cubicBezTo>
                  <a:pt x="2200003" y="1158188"/>
                  <a:pt x="2211422" y="1156997"/>
                  <a:pt x="2222771" y="1155376"/>
                </a:cubicBezTo>
                <a:cubicBezTo>
                  <a:pt x="2227635" y="1153755"/>
                  <a:pt x="2232313" y="1151403"/>
                  <a:pt x="2237362" y="1150512"/>
                </a:cubicBezTo>
                <a:cubicBezTo>
                  <a:pt x="2259942" y="1146527"/>
                  <a:pt x="2305456" y="1140784"/>
                  <a:pt x="2305456" y="1140784"/>
                </a:cubicBezTo>
                <a:cubicBezTo>
                  <a:pt x="2338296" y="1129837"/>
                  <a:pt x="2297883" y="1142465"/>
                  <a:pt x="2349230" y="1131056"/>
                </a:cubicBezTo>
                <a:cubicBezTo>
                  <a:pt x="2354235" y="1129944"/>
                  <a:pt x="2358848" y="1127436"/>
                  <a:pt x="2363822" y="1126193"/>
                </a:cubicBezTo>
                <a:cubicBezTo>
                  <a:pt x="2388605" y="1119998"/>
                  <a:pt x="2404667" y="1119493"/>
                  <a:pt x="2431915" y="1116465"/>
                </a:cubicBezTo>
                <a:cubicBezTo>
                  <a:pt x="2433536" y="1111601"/>
                  <a:pt x="2432607" y="1104853"/>
                  <a:pt x="2436779" y="1101873"/>
                </a:cubicBezTo>
                <a:cubicBezTo>
                  <a:pt x="2445123" y="1095913"/>
                  <a:pt x="2465962" y="1092146"/>
                  <a:pt x="2465962" y="1092146"/>
                </a:cubicBezTo>
                <a:cubicBezTo>
                  <a:pt x="2509813" y="1096531"/>
                  <a:pt x="2527375" y="1101264"/>
                  <a:pt x="2572966" y="1092146"/>
                </a:cubicBezTo>
                <a:cubicBezTo>
                  <a:pt x="2578698" y="1091000"/>
                  <a:pt x="2582329" y="1085032"/>
                  <a:pt x="2587558" y="1082418"/>
                </a:cubicBezTo>
                <a:cubicBezTo>
                  <a:pt x="2592144" y="1080125"/>
                  <a:pt x="2597563" y="1079847"/>
                  <a:pt x="2602149" y="1077554"/>
                </a:cubicBezTo>
                <a:cubicBezTo>
                  <a:pt x="2607378" y="1074940"/>
                  <a:pt x="2611195" y="1069675"/>
                  <a:pt x="2616741" y="1067827"/>
                </a:cubicBezTo>
                <a:cubicBezTo>
                  <a:pt x="2626097" y="1064709"/>
                  <a:pt x="2636196" y="1064584"/>
                  <a:pt x="2645924" y="1062963"/>
                </a:cubicBezTo>
                <a:lnTo>
                  <a:pt x="2704290" y="1043507"/>
                </a:lnTo>
                <a:lnTo>
                  <a:pt x="2718881" y="1038644"/>
                </a:lnTo>
                <a:cubicBezTo>
                  <a:pt x="2723745" y="1037023"/>
                  <a:pt x="2728499" y="1035024"/>
                  <a:pt x="2733473" y="1033780"/>
                </a:cubicBezTo>
                <a:cubicBezTo>
                  <a:pt x="2739958" y="1032159"/>
                  <a:pt x="2746403" y="1030366"/>
                  <a:pt x="2752928" y="1028916"/>
                </a:cubicBezTo>
                <a:cubicBezTo>
                  <a:pt x="2760998" y="1027123"/>
                  <a:pt x="2769044" y="1025077"/>
                  <a:pt x="2777247" y="1024052"/>
                </a:cubicBezTo>
                <a:cubicBezTo>
                  <a:pt x="2795016" y="1021831"/>
                  <a:pt x="2812951" y="1021166"/>
                  <a:pt x="2830749" y="1019188"/>
                </a:cubicBezTo>
                <a:cubicBezTo>
                  <a:pt x="2842143" y="1017922"/>
                  <a:pt x="2853447" y="1015945"/>
                  <a:pt x="2864796" y="1014324"/>
                </a:cubicBezTo>
                <a:cubicBezTo>
                  <a:pt x="2869660" y="1012703"/>
                  <a:pt x="2874458" y="1010869"/>
                  <a:pt x="2879388" y="1009461"/>
                </a:cubicBezTo>
                <a:cubicBezTo>
                  <a:pt x="2885815" y="1007625"/>
                  <a:pt x="2892699" y="1007230"/>
                  <a:pt x="2898843" y="1004597"/>
                </a:cubicBezTo>
                <a:cubicBezTo>
                  <a:pt x="2904216" y="1002294"/>
                  <a:pt x="2907744" y="996208"/>
                  <a:pt x="2913434" y="994869"/>
                </a:cubicBezTo>
                <a:cubicBezTo>
                  <a:pt x="2935753" y="989617"/>
                  <a:pt x="2958830" y="988384"/>
                  <a:pt x="2981528" y="985141"/>
                </a:cubicBezTo>
                <a:cubicBezTo>
                  <a:pt x="2983149" y="980277"/>
                  <a:pt x="2981418" y="971793"/>
                  <a:pt x="2986392" y="970550"/>
                </a:cubicBezTo>
                <a:cubicBezTo>
                  <a:pt x="3010037" y="964639"/>
                  <a:pt x="3035054" y="967630"/>
                  <a:pt x="3059349" y="965686"/>
                </a:cubicBezTo>
                <a:cubicBezTo>
                  <a:pt x="3075591" y="964387"/>
                  <a:pt x="3091775" y="962443"/>
                  <a:pt x="3107988" y="960822"/>
                </a:cubicBezTo>
                <a:cubicBezTo>
                  <a:pt x="3143590" y="948956"/>
                  <a:pt x="3113524" y="957667"/>
                  <a:pt x="3185809" y="951095"/>
                </a:cubicBezTo>
                <a:cubicBezTo>
                  <a:pt x="3200430" y="949766"/>
                  <a:pt x="3214992" y="947852"/>
                  <a:pt x="3229583" y="946231"/>
                </a:cubicBezTo>
                <a:cubicBezTo>
                  <a:pt x="3241147" y="942376"/>
                  <a:pt x="3251417" y="938539"/>
                  <a:pt x="3263630" y="936503"/>
                </a:cubicBezTo>
                <a:cubicBezTo>
                  <a:pt x="3276523" y="934354"/>
                  <a:pt x="3289571" y="933260"/>
                  <a:pt x="3302541" y="931639"/>
                </a:cubicBezTo>
                <a:cubicBezTo>
                  <a:pt x="3307405" y="930018"/>
                  <a:pt x="3313507" y="930401"/>
                  <a:pt x="3317132" y="926776"/>
                </a:cubicBezTo>
                <a:cubicBezTo>
                  <a:pt x="3320757" y="923151"/>
                  <a:pt x="3316939" y="913027"/>
                  <a:pt x="3321996" y="912184"/>
                </a:cubicBezTo>
                <a:cubicBezTo>
                  <a:pt x="3358813" y="906048"/>
                  <a:pt x="3396575" y="908941"/>
                  <a:pt x="3433864" y="907320"/>
                </a:cubicBezTo>
                <a:cubicBezTo>
                  <a:pt x="3435485" y="902456"/>
                  <a:pt x="3435525" y="896732"/>
                  <a:pt x="3438728" y="892729"/>
                </a:cubicBezTo>
                <a:cubicBezTo>
                  <a:pt x="3442380" y="888164"/>
                  <a:pt x="3447532" y="883828"/>
                  <a:pt x="3453319" y="883001"/>
                </a:cubicBezTo>
                <a:cubicBezTo>
                  <a:pt x="3482253" y="878867"/>
                  <a:pt x="3511685" y="879758"/>
                  <a:pt x="3540868" y="878137"/>
                </a:cubicBezTo>
                <a:cubicBezTo>
                  <a:pt x="3547353" y="876516"/>
                  <a:pt x="3553921" y="875194"/>
                  <a:pt x="3560324" y="873273"/>
                </a:cubicBezTo>
                <a:cubicBezTo>
                  <a:pt x="3570145" y="870327"/>
                  <a:pt x="3579393" y="865232"/>
                  <a:pt x="3589507" y="863546"/>
                </a:cubicBezTo>
                <a:lnTo>
                  <a:pt x="3618690" y="858682"/>
                </a:lnTo>
                <a:cubicBezTo>
                  <a:pt x="3669461" y="841758"/>
                  <a:pt x="3637645" y="849685"/>
                  <a:pt x="3715966" y="844090"/>
                </a:cubicBezTo>
                <a:cubicBezTo>
                  <a:pt x="3725694" y="840848"/>
                  <a:pt x="3741906" y="844091"/>
                  <a:pt x="3745149" y="834363"/>
                </a:cubicBezTo>
                <a:cubicBezTo>
                  <a:pt x="3746770" y="829499"/>
                  <a:pt x="3746388" y="823396"/>
                  <a:pt x="3750013" y="819771"/>
                </a:cubicBezTo>
                <a:cubicBezTo>
                  <a:pt x="3753638" y="816146"/>
                  <a:pt x="3759577" y="815912"/>
                  <a:pt x="3764605" y="814907"/>
                </a:cubicBezTo>
                <a:cubicBezTo>
                  <a:pt x="3775846" y="812659"/>
                  <a:pt x="3787343" y="811929"/>
                  <a:pt x="3798651" y="810044"/>
                </a:cubicBezTo>
                <a:cubicBezTo>
                  <a:pt x="3806806" y="808685"/>
                  <a:pt x="3814995" y="807355"/>
                  <a:pt x="3822971" y="805180"/>
                </a:cubicBezTo>
                <a:cubicBezTo>
                  <a:pt x="3832864" y="802482"/>
                  <a:pt x="3852154" y="795452"/>
                  <a:pt x="3852154" y="795452"/>
                </a:cubicBezTo>
                <a:cubicBezTo>
                  <a:pt x="3883232" y="774732"/>
                  <a:pt x="3852761" y="790588"/>
                  <a:pt x="3915383" y="790588"/>
                </a:cubicBezTo>
                <a:cubicBezTo>
                  <a:pt x="3930064" y="790588"/>
                  <a:pt x="3944566" y="787345"/>
                  <a:pt x="3959158" y="785724"/>
                </a:cubicBezTo>
                <a:cubicBezTo>
                  <a:pt x="3960779" y="780860"/>
                  <a:pt x="3959850" y="774113"/>
                  <a:pt x="3964022" y="771133"/>
                </a:cubicBezTo>
                <a:cubicBezTo>
                  <a:pt x="3972366" y="765173"/>
                  <a:pt x="3983150" y="763416"/>
                  <a:pt x="3993205" y="761405"/>
                </a:cubicBezTo>
                <a:cubicBezTo>
                  <a:pt x="4001311" y="759784"/>
                  <a:pt x="4009454" y="758334"/>
                  <a:pt x="4017524" y="756541"/>
                </a:cubicBezTo>
                <a:cubicBezTo>
                  <a:pt x="4024049" y="755091"/>
                  <a:pt x="4030385" y="752777"/>
                  <a:pt x="4036979" y="751678"/>
                </a:cubicBezTo>
                <a:cubicBezTo>
                  <a:pt x="4049872" y="749529"/>
                  <a:pt x="4062920" y="748435"/>
                  <a:pt x="4075890" y="746814"/>
                </a:cubicBezTo>
                <a:cubicBezTo>
                  <a:pt x="4082375" y="745193"/>
                  <a:pt x="4088820" y="743400"/>
                  <a:pt x="4095345" y="741950"/>
                </a:cubicBezTo>
                <a:cubicBezTo>
                  <a:pt x="4118486" y="736807"/>
                  <a:pt x="4134750" y="735301"/>
                  <a:pt x="4158575" y="727359"/>
                </a:cubicBezTo>
                <a:cubicBezTo>
                  <a:pt x="4163439" y="725738"/>
                  <a:pt x="4168580" y="724788"/>
                  <a:pt x="4173166" y="722495"/>
                </a:cubicBezTo>
                <a:cubicBezTo>
                  <a:pt x="4178395" y="719881"/>
                  <a:pt x="4181984" y="713679"/>
                  <a:pt x="4187758" y="712767"/>
                </a:cubicBezTo>
                <a:cubicBezTo>
                  <a:pt x="4213431" y="708713"/>
                  <a:pt x="4239639" y="709524"/>
                  <a:pt x="4265579" y="707903"/>
                </a:cubicBezTo>
                <a:cubicBezTo>
                  <a:pt x="4268822" y="703039"/>
                  <a:pt x="4269728" y="695056"/>
                  <a:pt x="4275307" y="693312"/>
                </a:cubicBezTo>
                <a:cubicBezTo>
                  <a:pt x="4305466" y="683887"/>
                  <a:pt x="4392685" y="680504"/>
                  <a:pt x="4421222" y="678720"/>
                </a:cubicBezTo>
                <a:cubicBezTo>
                  <a:pt x="4427707" y="675478"/>
                  <a:pt x="4433478" y="669857"/>
                  <a:pt x="4440677" y="668993"/>
                </a:cubicBezTo>
                <a:cubicBezTo>
                  <a:pt x="4584327" y="651755"/>
                  <a:pt x="4505007" y="676732"/>
                  <a:pt x="4557409" y="659265"/>
                </a:cubicBezTo>
                <a:cubicBezTo>
                  <a:pt x="4560651" y="654401"/>
                  <a:pt x="4571999" y="645483"/>
                  <a:pt x="4576863" y="639809"/>
                </a:cubicBezTo>
                <a:cubicBezTo>
                  <a:pt x="4581727" y="634135"/>
                  <a:pt x="4576864" y="626029"/>
                  <a:pt x="4586592" y="625218"/>
                </a:cubicBezTo>
                <a:cubicBezTo>
                  <a:pt x="4596320" y="624408"/>
                  <a:pt x="4621449" y="634135"/>
                  <a:pt x="4635230" y="634946"/>
                </a:cubicBezTo>
                <a:cubicBezTo>
                  <a:pt x="4649011" y="635757"/>
                  <a:pt x="4657928" y="631703"/>
                  <a:pt x="4669277" y="630082"/>
                </a:cubicBezTo>
                <a:cubicBezTo>
                  <a:pt x="4679050" y="623566"/>
                  <a:pt x="4692099" y="613994"/>
                  <a:pt x="4703324" y="610627"/>
                </a:cubicBezTo>
                <a:cubicBezTo>
                  <a:pt x="4712770" y="607793"/>
                  <a:pt x="4722779" y="607384"/>
                  <a:pt x="4732507" y="605763"/>
                </a:cubicBezTo>
                <a:cubicBezTo>
                  <a:pt x="4759820" y="587553"/>
                  <a:pt x="4773850" y="596846"/>
                  <a:pt x="4790873" y="591171"/>
                </a:cubicBezTo>
                <a:cubicBezTo>
                  <a:pt x="4807896" y="585497"/>
                  <a:pt x="4816001" y="575769"/>
                  <a:pt x="4834646" y="571716"/>
                </a:cubicBezTo>
                <a:cubicBezTo>
                  <a:pt x="4853291" y="567663"/>
                  <a:pt x="4889186" y="568546"/>
                  <a:pt x="4902741" y="566852"/>
                </a:cubicBezTo>
                <a:cubicBezTo>
                  <a:pt x="4930071" y="545313"/>
                  <a:pt x="4972456" y="559557"/>
                  <a:pt x="4990290" y="552261"/>
                </a:cubicBezTo>
                <a:cubicBezTo>
                  <a:pt x="5008124" y="544965"/>
                  <a:pt x="5000018" y="529563"/>
                  <a:pt x="5009745" y="523078"/>
                </a:cubicBezTo>
                <a:cubicBezTo>
                  <a:pt x="5014609" y="519835"/>
                  <a:pt x="5019108" y="515964"/>
                  <a:pt x="5024336" y="513350"/>
                </a:cubicBezTo>
                <a:cubicBezTo>
                  <a:pt x="5032108" y="509464"/>
                  <a:pt x="5051113" y="505699"/>
                  <a:pt x="5058383" y="503622"/>
                </a:cubicBezTo>
                <a:cubicBezTo>
                  <a:pt x="5063313" y="502214"/>
                  <a:pt x="5068111" y="500380"/>
                  <a:pt x="5072975" y="498759"/>
                </a:cubicBezTo>
                <a:cubicBezTo>
                  <a:pt x="5077839" y="495516"/>
                  <a:pt x="5082224" y="491405"/>
                  <a:pt x="5087566" y="489031"/>
                </a:cubicBezTo>
                <a:cubicBezTo>
                  <a:pt x="5108367" y="479786"/>
                  <a:pt x="5116400" y="480097"/>
                  <a:pt x="5136205" y="474439"/>
                </a:cubicBezTo>
                <a:cubicBezTo>
                  <a:pt x="5141134" y="473031"/>
                  <a:pt x="5145791" y="470688"/>
                  <a:pt x="5150796" y="469576"/>
                </a:cubicBezTo>
                <a:cubicBezTo>
                  <a:pt x="5160423" y="467437"/>
                  <a:pt x="5170352" y="466851"/>
                  <a:pt x="5179979" y="464712"/>
                </a:cubicBezTo>
                <a:cubicBezTo>
                  <a:pt x="5184984" y="463600"/>
                  <a:pt x="5189475" y="460414"/>
                  <a:pt x="5194571" y="459848"/>
                </a:cubicBezTo>
                <a:cubicBezTo>
                  <a:pt x="5218795" y="457156"/>
                  <a:pt x="5243209" y="456605"/>
                  <a:pt x="5267528" y="454984"/>
                </a:cubicBezTo>
                <a:cubicBezTo>
                  <a:pt x="5278877" y="453363"/>
                  <a:pt x="5290296" y="452171"/>
                  <a:pt x="5301575" y="450120"/>
                </a:cubicBezTo>
                <a:cubicBezTo>
                  <a:pt x="5308152" y="448924"/>
                  <a:pt x="5314413" y="446201"/>
                  <a:pt x="5321030" y="445256"/>
                </a:cubicBezTo>
                <a:cubicBezTo>
                  <a:pt x="5337160" y="442952"/>
                  <a:pt x="5353455" y="442014"/>
                  <a:pt x="5369668" y="440393"/>
                </a:cubicBezTo>
                <a:cubicBezTo>
                  <a:pt x="5403329" y="429173"/>
                  <a:pt x="5371888" y="438415"/>
                  <a:pt x="5437762" y="430665"/>
                </a:cubicBezTo>
                <a:cubicBezTo>
                  <a:pt x="5447556" y="429513"/>
                  <a:pt x="5457217" y="427422"/>
                  <a:pt x="5466945" y="425801"/>
                </a:cubicBezTo>
                <a:cubicBezTo>
                  <a:pt x="5501908" y="414146"/>
                  <a:pt x="5458268" y="428279"/>
                  <a:pt x="5500992" y="416073"/>
                </a:cubicBezTo>
                <a:cubicBezTo>
                  <a:pt x="5505921" y="414665"/>
                  <a:pt x="5505045" y="412020"/>
                  <a:pt x="5515583" y="411210"/>
                </a:cubicBezTo>
                <a:cubicBezTo>
                  <a:pt x="5526121" y="410400"/>
                  <a:pt x="5548009" y="411211"/>
                  <a:pt x="5564222" y="411211"/>
                </a:cubicBezTo>
                <a:cubicBezTo>
                  <a:pt x="5594319" y="391145"/>
                  <a:pt x="5620156" y="390134"/>
                  <a:pt x="5637179" y="386891"/>
                </a:cubicBezTo>
                <a:cubicBezTo>
                  <a:pt x="5654202" y="383648"/>
                  <a:pt x="5648528" y="393375"/>
                  <a:pt x="5666362" y="391754"/>
                </a:cubicBezTo>
                <a:cubicBezTo>
                  <a:pt x="5672847" y="388512"/>
                  <a:pt x="5678783" y="383785"/>
                  <a:pt x="5685817" y="382027"/>
                </a:cubicBezTo>
                <a:cubicBezTo>
                  <a:pt x="5698498" y="378857"/>
                  <a:pt x="5712783" y="382472"/>
                  <a:pt x="5724728" y="377163"/>
                </a:cubicBezTo>
                <a:cubicBezTo>
                  <a:pt x="5729413" y="375081"/>
                  <a:pt x="5725967" y="366197"/>
                  <a:pt x="5729592" y="362571"/>
                </a:cubicBezTo>
                <a:cubicBezTo>
                  <a:pt x="5733217" y="358946"/>
                  <a:pt x="5739139" y="358624"/>
                  <a:pt x="5744183" y="357707"/>
                </a:cubicBezTo>
                <a:cubicBezTo>
                  <a:pt x="5757043" y="355369"/>
                  <a:pt x="5770124" y="354465"/>
                  <a:pt x="5783094" y="352844"/>
                </a:cubicBezTo>
                <a:cubicBezTo>
                  <a:pt x="5836310" y="335104"/>
                  <a:pt x="5755701" y="363397"/>
                  <a:pt x="5812277" y="338252"/>
                </a:cubicBezTo>
                <a:cubicBezTo>
                  <a:pt x="5821647" y="334087"/>
                  <a:pt x="5831732" y="331766"/>
                  <a:pt x="5841460" y="328524"/>
                </a:cubicBezTo>
                <a:cubicBezTo>
                  <a:pt x="5865401" y="320544"/>
                  <a:pt x="5851005" y="324502"/>
                  <a:pt x="5885234" y="318797"/>
                </a:cubicBezTo>
                <a:cubicBezTo>
                  <a:pt x="5890098" y="315554"/>
                  <a:pt x="5894597" y="311683"/>
                  <a:pt x="5899826" y="309069"/>
                </a:cubicBezTo>
                <a:cubicBezTo>
                  <a:pt x="5925203" y="296380"/>
                  <a:pt x="5992265" y="299626"/>
                  <a:pt x="5997102" y="299341"/>
                </a:cubicBezTo>
                <a:cubicBezTo>
                  <a:pt x="6030261" y="277237"/>
                  <a:pt x="5988448" y="302227"/>
                  <a:pt x="6040877" y="284750"/>
                </a:cubicBezTo>
                <a:cubicBezTo>
                  <a:pt x="6046423" y="282901"/>
                  <a:pt x="6049995" y="277074"/>
                  <a:pt x="6055468" y="275022"/>
                </a:cubicBezTo>
                <a:cubicBezTo>
                  <a:pt x="6063209" y="272119"/>
                  <a:pt x="6071681" y="271780"/>
                  <a:pt x="6079788" y="270159"/>
                </a:cubicBezTo>
                <a:cubicBezTo>
                  <a:pt x="6108270" y="251170"/>
                  <a:pt x="6080057" y="265295"/>
                  <a:pt x="6128426" y="265295"/>
                </a:cubicBezTo>
                <a:cubicBezTo>
                  <a:pt x="6141497" y="265295"/>
                  <a:pt x="6154417" y="262419"/>
                  <a:pt x="6167336" y="260431"/>
                </a:cubicBezTo>
                <a:cubicBezTo>
                  <a:pt x="6175356" y="259197"/>
                  <a:pt x="6197039" y="255307"/>
                  <a:pt x="6206247" y="250703"/>
                </a:cubicBezTo>
                <a:cubicBezTo>
                  <a:pt x="6211476" y="248089"/>
                  <a:pt x="6215123" y="242201"/>
                  <a:pt x="6220839" y="240976"/>
                </a:cubicBezTo>
                <a:cubicBezTo>
                  <a:pt x="6238349" y="237224"/>
                  <a:pt x="6256507" y="237733"/>
                  <a:pt x="6274341" y="236112"/>
                </a:cubicBezTo>
                <a:cubicBezTo>
                  <a:pt x="6332788" y="216629"/>
                  <a:pt x="6293284" y="226923"/>
                  <a:pt x="6395936" y="221520"/>
                </a:cubicBezTo>
                <a:cubicBezTo>
                  <a:pt x="6398238" y="214614"/>
                  <a:pt x="6402985" y="196108"/>
                  <a:pt x="6410528" y="192337"/>
                </a:cubicBezTo>
                <a:cubicBezTo>
                  <a:pt x="6419349" y="187927"/>
                  <a:pt x="6429925" y="188696"/>
                  <a:pt x="6439711" y="187473"/>
                </a:cubicBezTo>
                <a:cubicBezTo>
                  <a:pt x="6455879" y="185452"/>
                  <a:pt x="6472136" y="184231"/>
                  <a:pt x="6488349" y="182610"/>
                </a:cubicBezTo>
                <a:cubicBezTo>
                  <a:pt x="6494834" y="180989"/>
                  <a:pt x="6501377" y="179583"/>
                  <a:pt x="6507805" y="177746"/>
                </a:cubicBezTo>
                <a:cubicBezTo>
                  <a:pt x="6512735" y="176338"/>
                  <a:pt x="6517450" y="174231"/>
                  <a:pt x="6522396" y="172882"/>
                </a:cubicBezTo>
                <a:cubicBezTo>
                  <a:pt x="6535294" y="169364"/>
                  <a:pt x="6561307" y="163154"/>
                  <a:pt x="6561307" y="163154"/>
                </a:cubicBezTo>
                <a:cubicBezTo>
                  <a:pt x="6562928" y="158290"/>
                  <a:pt x="6562546" y="152188"/>
                  <a:pt x="6566171" y="148563"/>
                </a:cubicBezTo>
                <a:cubicBezTo>
                  <a:pt x="6569796" y="144938"/>
                  <a:pt x="6575788" y="144942"/>
                  <a:pt x="6580762" y="143699"/>
                </a:cubicBezTo>
                <a:cubicBezTo>
                  <a:pt x="6588782" y="141694"/>
                  <a:pt x="6596975" y="140456"/>
                  <a:pt x="6605081" y="138835"/>
                </a:cubicBezTo>
                <a:cubicBezTo>
                  <a:pt x="6617329" y="102094"/>
                  <a:pt x="6596684" y="149698"/>
                  <a:pt x="6639128" y="119380"/>
                </a:cubicBezTo>
                <a:cubicBezTo>
                  <a:pt x="6644568" y="115494"/>
                  <a:pt x="6642371" y="106409"/>
                  <a:pt x="6643992" y="99924"/>
                </a:cubicBezTo>
                <a:cubicBezTo>
                  <a:pt x="6659830" y="100980"/>
                  <a:pt x="6760481" y="111180"/>
                  <a:pt x="6780179" y="99924"/>
                </a:cubicBezTo>
                <a:cubicBezTo>
                  <a:pt x="6790133" y="94236"/>
                  <a:pt x="6778165" y="75049"/>
                  <a:pt x="6785043" y="65878"/>
                </a:cubicBezTo>
                <a:cubicBezTo>
                  <a:pt x="6790003" y="59265"/>
                  <a:pt x="6801292" y="62807"/>
                  <a:pt x="6809362" y="61014"/>
                </a:cubicBezTo>
                <a:cubicBezTo>
                  <a:pt x="6815887" y="59564"/>
                  <a:pt x="6822332" y="57771"/>
                  <a:pt x="6828817" y="56150"/>
                </a:cubicBezTo>
                <a:cubicBezTo>
                  <a:pt x="6839413" y="-18022"/>
                  <a:pt x="6822217" y="2647"/>
                  <a:pt x="6955277" y="2647"/>
                </a:cubicBezTo>
              </a:path>
            </a:pathLst>
          </a:custGeom>
          <a:noFill/>
          <a:ln w="19050">
            <a:solidFill>
              <a:srgbClr val="739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2" name="Straight Connector 81"/>
          <p:cNvCxnSpPr/>
          <p:nvPr/>
        </p:nvCxnSpPr>
        <p:spPr>
          <a:xfrm>
            <a:off x="7223762" y="2569059"/>
            <a:ext cx="274995" cy="0"/>
          </a:xfrm>
          <a:prstGeom prst="line">
            <a:avLst/>
          </a:prstGeom>
          <a:ln w="19050">
            <a:solidFill>
              <a:srgbClr val="8278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/>
        </p:nvCxnSpPr>
        <p:spPr>
          <a:xfrm>
            <a:off x="7228445" y="2700357"/>
            <a:ext cx="274995" cy="0"/>
          </a:xfrm>
          <a:prstGeom prst="line">
            <a:avLst/>
          </a:prstGeom>
          <a:ln w="19050">
            <a:solidFill>
              <a:srgbClr val="739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/>
          <p:cNvSpPr txBox="1"/>
          <p:nvPr/>
        </p:nvSpPr>
        <p:spPr>
          <a:xfrm>
            <a:off x="7505929" y="2437815"/>
            <a:ext cx="12236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cebo</a:t>
            </a:r>
          </a:p>
          <a:p>
            <a:pPr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nagliflozin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1439061" y="1506890"/>
            <a:ext cx="22343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100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R 0.86 </a:t>
            </a:r>
          </a:p>
          <a:p>
            <a:pPr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95% CI, 0.75 ; 0.97)</a:t>
            </a:r>
          </a:p>
          <a:p>
            <a:pPr defTabSz="685800"/>
            <a:r>
              <a:rPr lang="en-GB" sz="1000" i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0.001 for non-inferiority</a:t>
            </a:r>
          </a:p>
          <a:p>
            <a:pPr defTabSz="685800"/>
            <a:r>
              <a:rPr lang="en-GB" sz="1000" i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=0.02 for superiority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603634" y="828003"/>
            <a:ext cx="651410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altLang="en-US" sz="1000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jd</a:t>
            </a:r>
            <a:r>
              <a:rPr lang="en-GB" altLang="en-US" sz="10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ot </a:t>
            </a:r>
            <a:r>
              <a:rPr lang="en-GB" sz="10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t </a:t>
            </a:r>
            <a:r>
              <a:rPr lang="en-GB" sz="1000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erste</a:t>
            </a:r>
            <a:r>
              <a:rPr lang="en-GB" sz="10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000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treden</a:t>
            </a:r>
            <a:r>
              <a:rPr lang="en-GB" sz="10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an </a:t>
            </a:r>
            <a:r>
              <a:rPr lang="en-GB" sz="1000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diovasculaire</a:t>
            </a:r>
            <a:r>
              <a:rPr lang="en-GB" sz="10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000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erfte</a:t>
            </a:r>
            <a:r>
              <a:rPr lang="en-GB" sz="10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1000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iet</a:t>
            </a:r>
            <a:r>
              <a:rPr lang="en-GB" sz="10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fatale </a:t>
            </a:r>
            <a:r>
              <a:rPr lang="en-GB" sz="1000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ocardinfarct</a:t>
            </a:r>
            <a:r>
              <a:rPr lang="en-GB" sz="10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</a:t>
            </a:r>
            <a:r>
              <a:rPr lang="en-GB" sz="1000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iet</a:t>
            </a:r>
            <a:r>
              <a:rPr lang="en-GB" sz="10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fatale </a:t>
            </a:r>
            <a:r>
              <a:rPr lang="en-GB" sz="1000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roerte</a:t>
            </a:r>
            <a:r>
              <a:rPr lang="en-GB" sz="10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GB" sz="1000" dirty="0"/>
          </a:p>
        </p:txBody>
      </p:sp>
      <p:sp>
        <p:nvSpPr>
          <p:cNvPr id="74" name="Title 2"/>
          <p:cNvSpPr txBox="1">
            <a:spLocks/>
          </p:cNvSpPr>
          <p:nvPr/>
        </p:nvSpPr>
        <p:spPr>
          <a:xfrm>
            <a:off x="211226" y="195486"/>
            <a:ext cx="8509000" cy="39052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914378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alt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GLT 2: CANVAS (</a:t>
            </a:r>
            <a:r>
              <a:rPr lang="nl-NL" altLang="en-US" sz="18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nagliflozine</a:t>
            </a:r>
            <a:r>
              <a:rPr lang="nl-NL" alt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– </a:t>
            </a:r>
            <a:r>
              <a:rPr lang="nl-NL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gnificant verschil op MACE</a:t>
            </a:r>
            <a:endParaRPr lang="nl-NL" altLang="en-US" sz="22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5185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16804" y="4252470"/>
            <a:ext cx="8509700" cy="770400"/>
          </a:xfrm>
        </p:spPr>
        <p:txBody>
          <a:bodyPr/>
          <a:lstStyle/>
          <a:p>
            <a:r>
              <a:rPr lang="en-GB" sz="700" dirty="0">
                <a:latin typeface="Calibri" panose="020F0502020204030204" pitchFamily="34" charset="0"/>
                <a:cs typeface="Calibri" panose="020F0502020204030204" pitchFamily="34" charset="0"/>
              </a:rPr>
              <a:t>*Initiated before FDA requirements for mandatory CVOTs. CI, confidence interval; CV, cardiovascular; CVOT, cardiovascular outcomes trial; </a:t>
            </a:r>
            <a:r>
              <a:rPr lang="en-US" sz="700" dirty="0">
                <a:latin typeface="Calibri" panose="020F0502020204030204" pitchFamily="34" charset="0"/>
                <a:cs typeface="Calibri" panose="020F0502020204030204" pitchFamily="34" charset="0"/>
              </a:rPr>
              <a:t>EAC, Event Adjudication Committee;</a:t>
            </a:r>
            <a:r>
              <a:rPr lang="en-GB" sz="700" dirty="0">
                <a:latin typeface="Calibri" panose="020F0502020204030204" pitchFamily="34" charset="0"/>
                <a:cs typeface="Calibri" panose="020F0502020204030204" pitchFamily="34" charset="0"/>
              </a:rPr>
              <a:t> FDA, US Food and Drug Administration; HR, hazard ratio; IDeg, insulin </a:t>
            </a:r>
            <a:r>
              <a:rPr lang="en-GB" sz="700" dirty="0" err="1">
                <a:latin typeface="Calibri" panose="020F0502020204030204" pitchFamily="34" charset="0"/>
                <a:cs typeface="Calibri" panose="020F0502020204030204" pitchFamily="34" charset="0"/>
              </a:rPr>
              <a:t>degludec</a:t>
            </a:r>
            <a:r>
              <a:rPr lang="en-GB" sz="700" dirty="0">
                <a:latin typeface="Calibri" panose="020F0502020204030204" pitchFamily="34" charset="0"/>
                <a:cs typeface="Calibri" panose="020F0502020204030204" pitchFamily="34" charset="0"/>
              </a:rPr>
              <a:t>; </a:t>
            </a:r>
            <a:r>
              <a:rPr lang="en-GB" sz="700" dirty="0" err="1">
                <a:latin typeface="Calibri" panose="020F0502020204030204" pitchFamily="34" charset="0"/>
                <a:cs typeface="Calibri" panose="020F0502020204030204" pitchFamily="34" charset="0"/>
              </a:rPr>
              <a:t>IGlar</a:t>
            </a:r>
            <a:r>
              <a:rPr lang="en-GB" sz="700" dirty="0">
                <a:latin typeface="Calibri" panose="020F0502020204030204" pitchFamily="34" charset="0"/>
                <a:cs typeface="Calibri" panose="020F0502020204030204" pitchFamily="34" charset="0"/>
              </a:rPr>
              <a:t>, insulin glargine; MACE, major adverse cardiac event; MI, myocardial infarction; SoC, standard of care; 100 PYO, per 100 patient-years of observation </a:t>
            </a:r>
          </a:p>
          <a:p>
            <a:r>
              <a:rPr lang="en-GB" sz="700" dirty="0">
                <a:latin typeface="Calibri" panose="020F0502020204030204" pitchFamily="34" charset="0"/>
                <a:cs typeface="Calibri" panose="020F0502020204030204" pitchFamily="34" charset="0"/>
              </a:rPr>
              <a:t>1. The ORIGIN trial investigators </a:t>
            </a:r>
            <a:r>
              <a:rPr lang="en-GB" sz="700" i="1" dirty="0">
                <a:latin typeface="Calibri" panose="020F0502020204030204" pitchFamily="34" charset="0"/>
                <a:cs typeface="Calibri" panose="020F0502020204030204" pitchFamily="34" charset="0"/>
              </a:rPr>
              <a:t>N </a:t>
            </a:r>
            <a:r>
              <a:rPr lang="en-GB" sz="700" i="1" dirty="0" err="1">
                <a:latin typeface="Calibri" panose="020F0502020204030204" pitchFamily="34" charset="0"/>
                <a:cs typeface="Calibri" panose="020F0502020204030204" pitchFamily="34" charset="0"/>
              </a:rPr>
              <a:t>Engl</a:t>
            </a:r>
            <a:r>
              <a:rPr lang="en-GB" sz="700" i="1" dirty="0">
                <a:latin typeface="Calibri" panose="020F0502020204030204" pitchFamily="34" charset="0"/>
                <a:cs typeface="Calibri" panose="020F0502020204030204" pitchFamily="34" charset="0"/>
              </a:rPr>
              <a:t> J Med </a:t>
            </a:r>
            <a:r>
              <a:rPr lang="en-GB" sz="700" dirty="0">
                <a:latin typeface="Calibri" panose="020F0502020204030204" pitchFamily="34" charset="0"/>
                <a:cs typeface="Calibri" panose="020F0502020204030204" pitchFamily="34" charset="0"/>
              </a:rPr>
              <a:t>2012;367:319–328; 2. </a:t>
            </a:r>
            <a:r>
              <a:rPr lang="en-GB" sz="700" dirty="0" err="1">
                <a:latin typeface="Calibri" panose="020F0502020204030204" pitchFamily="34" charset="0"/>
                <a:cs typeface="Calibri" panose="020F0502020204030204" pitchFamily="34" charset="0"/>
              </a:rPr>
              <a:t>Marso</a:t>
            </a:r>
            <a:r>
              <a:rPr lang="en-GB" sz="700" dirty="0">
                <a:latin typeface="Calibri" panose="020F0502020204030204" pitchFamily="34" charset="0"/>
                <a:cs typeface="Calibri" panose="020F0502020204030204" pitchFamily="34" charset="0"/>
              </a:rPr>
              <a:t> et al </a:t>
            </a:r>
            <a:r>
              <a:rPr lang="en-GB" sz="700" i="1" dirty="0">
                <a:latin typeface="Calibri" panose="020F0502020204030204" pitchFamily="34" charset="0"/>
                <a:cs typeface="Calibri" panose="020F0502020204030204" pitchFamily="34" charset="0"/>
              </a:rPr>
              <a:t>N </a:t>
            </a:r>
            <a:r>
              <a:rPr lang="en-GB" sz="700" i="1" dirty="0" err="1">
                <a:latin typeface="Calibri" panose="020F0502020204030204" pitchFamily="34" charset="0"/>
                <a:cs typeface="Calibri" panose="020F0502020204030204" pitchFamily="34" charset="0"/>
              </a:rPr>
              <a:t>Engl</a:t>
            </a:r>
            <a:r>
              <a:rPr lang="en-GB" sz="700" i="1" dirty="0">
                <a:latin typeface="Calibri" panose="020F0502020204030204" pitchFamily="34" charset="0"/>
                <a:cs typeface="Calibri" panose="020F0502020204030204" pitchFamily="34" charset="0"/>
              </a:rPr>
              <a:t> J Med</a:t>
            </a:r>
            <a:r>
              <a:rPr lang="en-GB" sz="700" dirty="0">
                <a:latin typeface="Calibri" panose="020F0502020204030204" pitchFamily="34" charset="0"/>
                <a:cs typeface="Calibri" panose="020F0502020204030204" pitchFamily="34" charset="0"/>
              </a:rPr>
              <a:t> 2017; Jun 12. </a:t>
            </a:r>
            <a:r>
              <a:rPr lang="en-GB" sz="700" dirty="0" err="1">
                <a:latin typeface="Calibri" panose="020F0502020204030204" pitchFamily="34" charset="0"/>
                <a:cs typeface="Calibri" panose="020F0502020204030204" pitchFamily="34" charset="0"/>
              </a:rPr>
              <a:t>doi</a:t>
            </a:r>
            <a:r>
              <a:rPr lang="en-GB" sz="700" dirty="0">
                <a:latin typeface="Calibri" panose="020F0502020204030204" pitchFamily="34" charset="0"/>
                <a:cs typeface="Calibri" panose="020F0502020204030204" pitchFamily="34" charset="0"/>
              </a:rPr>
              <a:t>: 10.1056/NEJMoa1615692 [</a:t>
            </a:r>
            <a:r>
              <a:rPr lang="en-GB" sz="700" dirty="0" err="1">
                <a:latin typeface="Calibri" panose="020F0502020204030204" pitchFamily="34" charset="0"/>
                <a:cs typeface="Calibri" panose="020F0502020204030204" pitchFamily="34" charset="0"/>
              </a:rPr>
              <a:t>Epub</a:t>
            </a:r>
            <a:r>
              <a:rPr lang="en-GB" sz="700" dirty="0">
                <a:latin typeface="Calibri" panose="020F0502020204030204" pitchFamily="34" charset="0"/>
                <a:cs typeface="Calibri" panose="020F0502020204030204" pitchFamily="34" charset="0"/>
              </a:rPr>
              <a:t> ahead of print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IGIN, DEVOTE: </a:t>
            </a:r>
            <a:r>
              <a:rPr lang="en-GB" sz="18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en</a:t>
            </a:r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gnificante</a:t>
            </a:r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schillen</a:t>
            </a:r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p MACE</a:t>
            </a:r>
            <a:b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GB" sz="1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45375" y="1408895"/>
            <a:ext cx="4168063" cy="2287420"/>
            <a:chOff x="174466" y="1130413"/>
            <a:chExt cx="7790273" cy="2603088"/>
          </a:xfrm>
        </p:grpSpPr>
        <p:sp>
          <p:nvSpPr>
            <p:cNvPr id="10" name="TextBox 9"/>
            <p:cNvSpPr txBox="1"/>
            <p:nvPr/>
          </p:nvSpPr>
          <p:spPr>
            <a:xfrm>
              <a:off x="174466" y="1163356"/>
              <a:ext cx="632771" cy="2263641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pPr algn="ctr" defTabSz="685800"/>
              <a:r>
                <a:rPr lang="en-GB" sz="1000" b="1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oportion with events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105045" y="3453301"/>
              <a:ext cx="2885297" cy="280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en-GB" sz="1000" b="1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Years of follow-up</a:t>
              </a:r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1391479" y="1253065"/>
              <a:ext cx="0" cy="1974354"/>
            </a:xfrm>
            <a:prstGeom prst="line">
              <a:avLst/>
            </a:prstGeom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1391479" y="3220073"/>
              <a:ext cx="6071432" cy="7346"/>
            </a:xfrm>
            <a:prstGeom prst="line">
              <a:avLst/>
            </a:prstGeom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1287196" y="1267133"/>
              <a:ext cx="104285" cy="0"/>
            </a:xfrm>
            <a:prstGeom prst="line">
              <a:avLst/>
            </a:prstGeom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>
              <a:off x="1284848" y="1651653"/>
              <a:ext cx="104285" cy="0"/>
            </a:xfrm>
            <a:prstGeom prst="line">
              <a:avLst/>
            </a:prstGeom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1284848" y="2045545"/>
              <a:ext cx="104285" cy="0"/>
            </a:xfrm>
            <a:prstGeom prst="line">
              <a:avLst/>
            </a:prstGeom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1284848" y="2439446"/>
              <a:ext cx="104285" cy="0"/>
            </a:xfrm>
            <a:prstGeom prst="line">
              <a:avLst/>
            </a:prstGeom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1284848" y="2833337"/>
              <a:ext cx="104285" cy="0"/>
            </a:xfrm>
            <a:prstGeom prst="line">
              <a:avLst/>
            </a:prstGeom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1284848" y="3220199"/>
              <a:ext cx="104285" cy="0"/>
            </a:xfrm>
            <a:prstGeom prst="line">
              <a:avLst/>
            </a:prstGeom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2257865" y="3213351"/>
              <a:ext cx="0" cy="82895"/>
            </a:xfrm>
            <a:prstGeom prst="line">
              <a:avLst/>
            </a:prstGeom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1390357" y="3220062"/>
              <a:ext cx="0" cy="82895"/>
            </a:xfrm>
            <a:prstGeom prst="line">
              <a:avLst/>
            </a:prstGeom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3127721" y="3211009"/>
              <a:ext cx="0" cy="82895"/>
            </a:xfrm>
            <a:prstGeom prst="line">
              <a:avLst/>
            </a:prstGeom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3992881" y="3210254"/>
              <a:ext cx="0" cy="82895"/>
            </a:xfrm>
            <a:prstGeom prst="line">
              <a:avLst/>
            </a:prstGeom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858043" y="3210375"/>
              <a:ext cx="0" cy="82895"/>
            </a:xfrm>
            <a:prstGeom prst="line">
              <a:avLst/>
            </a:prstGeom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5730241" y="3213351"/>
              <a:ext cx="0" cy="82895"/>
            </a:xfrm>
            <a:prstGeom prst="line">
              <a:avLst/>
            </a:prstGeom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6595403" y="3210254"/>
              <a:ext cx="0" cy="82895"/>
            </a:xfrm>
            <a:prstGeom prst="line">
              <a:avLst/>
            </a:prstGeom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/>
            <p:cNvSpPr txBox="1"/>
            <p:nvPr/>
          </p:nvSpPr>
          <p:spPr>
            <a:xfrm>
              <a:off x="595732" y="1130413"/>
              <a:ext cx="769921" cy="280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en-GB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.5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595732" y="1513162"/>
              <a:ext cx="774825" cy="280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en-GB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.4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595732" y="1904951"/>
              <a:ext cx="774825" cy="280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en-GB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.3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95732" y="2303573"/>
              <a:ext cx="774825" cy="280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en-GB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.2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95732" y="2699270"/>
              <a:ext cx="774825" cy="280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en-GB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.1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750285" y="3089796"/>
              <a:ext cx="688554" cy="280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en-GB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1277821" y="3254108"/>
              <a:ext cx="247111" cy="280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en-GB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2134312" y="3252457"/>
              <a:ext cx="247111" cy="280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en-GB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3004801" y="3250595"/>
              <a:ext cx="247111" cy="280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en-GB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3869325" y="3255429"/>
              <a:ext cx="247111" cy="280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en-GB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4722638" y="3250580"/>
              <a:ext cx="247111" cy="280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en-GB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5615817" y="3255991"/>
              <a:ext cx="221655" cy="280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en-GB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6471848" y="3254065"/>
              <a:ext cx="247111" cy="280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en-GB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7339355" y="3250569"/>
              <a:ext cx="247111" cy="280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en-GB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7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618160" y="1296652"/>
              <a:ext cx="3283836" cy="6304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en-GB" sz="1000" b="1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djusted HR 1.02 </a:t>
              </a:r>
              <a:r>
                <a:rPr lang="en-GB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/>
              </a:r>
              <a:br>
                <a:rPr lang="en-GB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GB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(95% CI 0.94 ; 1.11)</a:t>
              </a:r>
            </a:p>
            <a:p>
              <a:pPr defTabSz="685800"/>
              <a:r>
                <a:rPr lang="en-GB" sz="1000" i="1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</a:t>
              </a:r>
              <a:r>
                <a:rPr lang="en-GB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=0.63 by log-rank test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5500400" y="1398790"/>
              <a:ext cx="2464339" cy="280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685800"/>
              <a:r>
                <a:rPr lang="en-GB" sz="10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sulin </a:t>
              </a:r>
              <a:r>
                <a:rPr lang="en-GB" sz="1000" dirty="0" err="1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glargine</a:t>
              </a:r>
              <a:r>
                <a:rPr lang="en-GB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U100</a:t>
              </a:r>
              <a:endPara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5517064" y="1721797"/>
              <a:ext cx="2066778" cy="280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en-GB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ndard care</a:t>
              </a:r>
              <a:endPara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44" name="Straight Connector 43"/>
            <p:cNvCxnSpPr/>
            <p:nvPr/>
          </p:nvCxnSpPr>
          <p:spPr>
            <a:xfrm>
              <a:off x="4969750" y="1530694"/>
              <a:ext cx="55962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>
              <a:off x="4942938" y="1863039"/>
              <a:ext cx="613243" cy="0"/>
            </a:xfrm>
            <a:prstGeom prst="line">
              <a:avLst/>
            </a:prstGeom>
            <a:ln w="19050">
              <a:solidFill>
                <a:srgbClr val="82786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6" name="Group 45"/>
            <p:cNvGrpSpPr/>
            <p:nvPr/>
          </p:nvGrpSpPr>
          <p:grpSpPr>
            <a:xfrm>
              <a:off x="1400175" y="2404977"/>
              <a:ext cx="6062736" cy="806631"/>
              <a:chOff x="1400175" y="2986087"/>
              <a:chExt cx="6437948" cy="806631"/>
            </a:xfrm>
          </p:grpSpPr>
          <p:sp>
            <p:nvSpPr>
              <p:cNvPr id="47" name="Freeform 46"/>
              <p:cNvSpPr/>
              <p:nvPr/>
            </p:nvSpPr>
            <p:spPr>
              <a:xfrm>
                <a:off x="5937885" y="2986087"/>
                <a:ext cx="1900238" cy="274320"/>
              </a:xfrm>
              <a:custGeom>
                <a:avLst/>
                <a:gdLst>
                  <a:gd name="connsiteX0" fmla="*/ 0 w 1897380"/>
                  <a:gd name="connsiteY0" fmla="*/ 280324 h 280324"/>
                  <a:gd name="connsiteX1" fmla="*/ 82868 w 1897380"/>
                  <a:gd name="connsiteY1" fmla="*/ 277467 h 280324"/>
                  <a:gd name="connsiteX2" fmla="*/ 94298 w 1897380"/>
                  <a:gd name="connsiteY2" fmla="*/ 274609 h 280324"/>
                  <a:gd name="connsiteX3" fmla="*/ 117158 w 1897380"/>
                  <a:gd name="connsiteY3" fmla="*/ 271752 h 280324"/>
                  <a:gd name="connsiteX4" fmla="*/ 168593 w 1897380"/>
                  <a:gd name="connsiteY4" fmla="*/ 268894 h 280324"/>
                  <a:gd name="connsiteX5" fmla="*/ 214313 w 1897380"/>
                  <a:gd name="connsiteY5" fmla="*/ 263179 h 280324"/>
                  <a:gd name="connsiteX6" fmla="*/ 280035 w 1897380"/>
                  <a:gd name="connsiteY6" fmla="*/ 260322 h 280324"/>
                  <a:gd name="connsiteX7" fmla="*/ 331470 w 1897380"/>
                  <a:gd name="connsiteY7" fmla="*/ 254607 h 280324"/>
                  <a:gd name="connsiteX8" fmla="*/ 348615 w 1897380"/>
                  <a:gd name="connsiteY8" fmla="*/ 251749 h 280324"/>
                  <a:gd name="connsiteX9" fmla="*/ 411480 w 1897380"/>
                  <a:gd name="connsiteY9" fmla="*/ 248892 h 280324"/>
                  <a:gd name="connsiteX10" fmla="*/ 434340 w 1897380"/>
                  <a:gd name="connsiteY10" fmla="*/ 246034 h 280324"/>
                  <a:gd name="connsiteX11" fmla="*/ 454343 w 1897380"/>
                  <a:gd name="connsiteY11" fmla="*/ 243177 h 280324"/>
                  <a:gd name="connsiteX12" fmla="*/ 491490 w 1897380"/>
                  <a:gd name="connsiteY12" fmla="*/ 240319 h 280324"/>
                  <a:gd name="connsiteX13" fmla="*/ 534353 w 1897380"/>
                  <a:gd name="connsiteY13" fmla="*/ 234604 h 280324"/>
                  <a:gd name="connsiteX14" fmla="*/ 585788 w 1897380"/>
                  <a:gd name="connsiteY14" fmla="*/ 231747 h 280324"/>
                  <a:gd name="connsiteX15" fmla="*/ 648653 w 1897380"/>
                  <a:gd name="connsiteY15" fmla="*/ 226032 h 280324"/>
                  <a:gd name="connsiteX16" fmla="*/ 700088 w 1897380"/>
                  <a:gd name="connsiteY16" fmla="*/ 220317 h 280324"/>
                  <a:gd name="connsiteX17" fmla="*/ 762953 w 1897380"/>
                  <a:gd name="connsiteY17" fmla="*/ 214602 h 280324"/>
                  <a:gd name="connsiteX18" fmla="*/ 774383 w 1897380"/>
                  <a:gd name="connsiteY18" fmla="*/ 211744 h 280324"/>
                  <a:gd name="connsiteX19" fmla="*/ 788670 w 1897380"/>
                  <a:gd name="connsiteY19" fmla="*/ 208887 h 280324"/>
                  <a:gd name="connsiteX20" fmla="*/ 817245 w 1897380"/>
                  <a:gd name="connsiteY20" fmla="*/ 206029 h 280324"/>
                  <a:gd name="connsiteX21" fmla="*/ 851535 w 1897380"/>
                  <a:gd name="connsiteY21" fmla="*/ 200314 h 280324"/>
                  <a:gd name="connsiteX22" fmla="*/ 880110 w 1897380"/>
                  <a:gd name="connsiteY22" fmla="*/ 197457 h 280324"/>
                  <a:gd name="connsiteX23" fmla="*/ 914400 w 1897380"/>
                  <a:gd name="connsiteY23" fmla="*/ 191742 h 280324"/>
                  <a:gd name="connsiteX24" fmla="*/ 982980 w 1897380"/>
                  <a:gd name="connsiteY24" fmla="*/ 186027 h 280324"/>
                  <a:gd name="connsiteX25" fmla="*/ 1011555 w 1897380"/>
                  <a:gd name="connsiteY25" fmla="*/ 180312 h 280324"/>
                  <a:gd name="connsiteX26" fmla="*/ 1060133 w 1897380"/>
                  <a:gd name="connsiteY26" fmla="*/ 177454 h 280324"/>
                  <a:gd name="connsiteX27" fmla="*/ 1094423 w 1897380"/>
                  <a:gd name="connsiteY27" fmla="*/ 174597 h 280324"/>
                  <a:gd name="connsiteX28" fmla="*/ 1114425 w 1897380"/>
                  <a:gd name="connsiteY28" fmla="*/ 168882 h 280324"/>
                  <a:gd name="connsiteX29" fmla="*/ 1131570 w 1897380"/>
                  <a:gd name="connsiteY29" fmla="*/ 163167 h 280324"/>
                  <a:gd name="connsiteX30" fmla="*/ 1180148 w 1897380"/>
                  <a:gd name="connsiteY30" fmla="*/ 154594 h 280324"/>
                  <a:gd name="connsiteX31" fmla="*/ 1211580 w 1897380"/>
                  <a:gd name="connsiteY31" fmla="*/ 148879 h 280324"/>
                  <a:gd name="connsiteX32" fmla="*/ 1231583 w 1897380"/>
                  <a:gd name="connsiteY32" fmla="*/ 146022 h 280324"/>
                  <a:gd name="connsiteX33" fmla="*/ 1268730 w 1897380"/>
                  <a:gd name="connsiteY33" fmla="*/ 143164 h 280324"/>
                  <a:gd name="connsiteX34" fmla="*/ 1300163 w 1897380"/>
                  <a:gd name="connsiteY34" fmla="*/ 137449 h 280324"/>
                  <a:gd name="connsiteX35" fmla="*/ 1343025 w 1897380"/>
                  <a:gd name="connsiteY35" fmla="*/ 131734 h 280324"/>
                  <a:gd name="connsiteX36" fmla="*/ 1354455 w 1897380"/>
                  <a:gd name="connsiteY36" fmla="*/ 128877 h 280324"/>
                  <a:gd name="connsiteX37" fmla="*/ 1371600 w 1897380"/>
                  <a:gd name="connsiteY37" fmla="*/ 123162 h 280324"/>
                  <a:gd name="connsiteX38" fmla="*/ 1388745 w 1897380"/>
                  <a:gd name="connsiteY38" fmla="*/ 114589 h 280324"/>
                  <a:gd name="connsiteX39" fmla="*/ 1405890 w 1897380"/>
                  <a:gd name="connsiteY39" fmla="*/ 106017 h 280324"/>
                  <a:gd name="connsiteX40" fmla="*/ 1414463 w 1897380"/>
                  <a:gd name="connsiteY40" fmla="*/ 100302 h 280324"/>
                  <a:gd name="connsiteX41" fmla="*/ 1451610 w 1897380"/>
                  <a:gd name="connsiteY41" fmla="*/ 94587 h 280324"/>
                  <a:gd name="connsiteX42" fmla="*/ 1485900 w 1897380"/>
                  <a:gd name="connsiteY42" fmla="*/ 88872 h 280324"/>
                  <a:gd name="connsiteX43" fmla="*/ 1497330 w 1897380"/>
                  <a:gd name="connsiteY43" fmla="*/ 86014 h 280324"/>
                  <a:gd name="connsiteX44" fmla="*/ 1514475 w 1897380"/>
                  <a:gd name="connsiteY44" fmla="*/ 80299 h 280324"/>
                  <a:gd name="connsiteX45" fmla="*/ 1531620 w 1897380"/>
                  <a:gd name="connsiteY45" fmla="*/ 77442 h 280324"/>
                  <a:gd name="connsiteX46" fmla="*/ 1554480 w 1897380"/>
                  <a:gd name="connsiteY46" fmla="*/ 74584 h 280324"/>
                  <a:gd name="connsiteX47" fmla="*/ 1583055 w 1897380"/>
                  <a:gd name="connsiteY47" fmla="*/ 68869 h 280324"/>
                  <a:gd name="connsiteX48" fmla="*/ 1660208 w 1897380"/>
                  <a:gd name="connsiteY48" fmla="*/ 66012 h 280324"/>
                  <a:gd name="connsiteX49" fmla="*/ 1680210 w 1897380"/>
                  <a:gd name="connsiteY49" fmla="*/ 60297 h 280324"/>
                  <a:gd name="connsiteX50" fmla="*/ 1705928 w 1897380"/>
                  <a:gd name="connsiteY50" fmla="*/ 54582 h 280324"/>
                  <a:gd name="connsiteX51" fmla="*/ 1714500 w 1897380"/>
                  <a:gd name="connsiteY51" fmla="*/ 48867 h 280324"/>
                  <a:gd name="connsiteX52" fmla="*/ 1731645 w 1897380"/>
                  <a:gd name="connsiteY52" fmla="*/ 43152 h 280324"/>
                  <a:gd name="connsiteX53" fmla="*/ 1751648 w 1897380"/>
                  <a:gd name="connsiteY53" fmla="*/ 37437 h 280324"/>
                  <a:gd name="connsiteX54" fmla="*/ 1768793 w 1897380"/>
                  <a:gd name="connsiteY54" fmla="*/ 34579 h 280324"/>
                  <a:gd name="connsiteX55" fmla="*/ 1797368 w 1897380"/>
                  <a:gd name="connsiteY55" fmla="*/ 17434 h 280324"/>
                  <a:gd name="connsiteX56" fmla="*/ 1805940 w 1897380"/>
                  <a:gd name="connsiteY56" fmla="*/ 11719 h 280324"/>
                  <a:gd name="connsiteX57" fmla="*/ 1843088 w 1897380"/>
                  <a:gd name="connsiteY57" fmla="*/ 3147 h 280324"/>
                  <a:gd name="connsiteX58" fmla="*/ 1860233 w 1897380"/>
                  <a:gd name="connsiteY58" fmla="*/ 289 h 280324"/>
                  <a:gd name="connsiteX59" fmla="*/ 1897380 w 1897380"/>
                  <a:gd name="connsiteY59" fmla="*/ 289 h 280324"/>
                  <a:gd name="connsiteX0" fmla="*/ 0 w 1900238"/>
                  <a:gd name="connsiteY0" fmla="*/ 280096 h 280096"/>
                  <a:gd name="connsiteX1" fmla="*/ 82868 w 1900238"/>
                  <a:gd name="connsiteY1" fmla="*/ 277239 h 280096"/>
                  <a:gd name="connsiteX2" fmla="*/ 94298 w 1900238"/>
                  <a:gd name="connsiteY2" fmla="*/ 274381 h 280096"/>
                  <a:gd name="connsiteX3" fmla="*/ 117158 w 1900238"/>
                  <a:gd name="connsiteY3" fmla="*/ 271524 h 280096"/>
                  <a:gd name="connsiteX4" fmla="*/ 168593 w 1900238"/>
                  <a:gd name="connsiteY4" fmla="*/ 268666 h 280096"/>
                  <a:gd name="connsiteX5" fmla="*/ 214313 w 1900238"/>
                  <a:gd name="connsiteY5" fmla="*/ 262951 h 280096"/>
                  <a:gd name="connsiteX6" fmla="*/ 280035 w 1900238"/>
                  <a:gd name="connsiteY6" fmla="*/ 260094 h 280096"/>
                  <a:gd name="connsiteX7" fmla="*/ 331470 w 1900238"/>
                  <a:gd name="connsiteY7" fmla="*/ 254379 h 280096"/>
                  <a:gd name="connsiteX8" fmla="*/ 348615 w 1900238"/>
                  <a:gd name="connsiteY8" fmla="*/ 251521 h 280096"/>
                  <a:gd name="connsiteX9" fmla="*/ 411480 w 1900238"/>
                  <a:gd name="connsiteY9" fmla="*/ 248664 h 280096"/>
                  <a:gd name="connsiteX10" fmla="*/ 434340 w 1900238"/>
                  <a:gd name="connsiteY10" fmla="*/ 245806 h 280096"/>
                  <a:gd name="connsiteX11" fmla="*/ 454343 w 1900238"/>
                  <a:gd name="connsiteY11" fmla="*/ 242949 h 280096"/>
                  <a:gd name="connsiteX12" fmla="*/ 491490 w 1900238"/>
                  <a:gd name="connsiteY12" fmla="*/ 240091 h 280096"/>
                  <a:gd name="connsiteX13" fmla="*/ 534353 w 1900238"/>
                  <a:gd name="connsiteY13" fmla="*/ 234376 h 280096"/>
                  <a:gd name="connsiteX14" fmla="*/ 585788 w 1900238"/>
                  <a:gd name="connsiteY14" fmla="*/ 231519 h 280096"/>
                  <a:gd name="connsiteX15" fmla="*/ 648653 w 1900238"/>
                  <a:gd name="connsiteY15" fmla="*/ 225804 h 280096"/>
                  <a:gd name="connsiteX16" fmla="*/ 700088 w 1900238"/>
                  <a:gd name="connsiteY16" fmla="*/ 220089 h 280096"/>
                  <a:gd name="connsiteX17" fmla="*/ 762953 w 1900238"/>
                  <a:gd name="connsiteY17" fmla="*/ 214374 h 280096"/>
                  <a:gd name="connsiteX18" fmla="*/ 774383 w 1900238"/>
                  <a:gd name="connsiteY18" fmla="*/ 211516 h 280096"/>
                  <a:gd name="connsiteX19" fmla="*/ 788670 w 1900238"/>
                  <a:gd name="connsiteY19" fmla="*/ 208659 h 280096"/>
                  <a:gd name="connsiteX20" fmla="*/ 817245 w 1900238"/>
                  <a:gd name="connsiteY20" fmla="*/ 205801 h 280096"/>
                  <a:gd name="connsiteX21" fmla="*/ 851535 w 1900238"/>
                  <a:gd name="connsiteY21" fmla="*/ 200086 h 280096"/>
                  <a:gd name="connsiteX22" fmla="*/ 880110 w 1900238"/>
                  <a:gd name="connsiteY22" fmla="*/ 197229 h 280096"/>
                  <a:gd name="connsiteX23" fmla="*/ 914400 w 1900238"/>
                  <a:gd name="connsiteY23" fmla="*/ 191514 h 280096"/>
                  <a:gd name="connsiteX24" fmla="*/ 982980 w 1900238"/>
                  <a:gd name="connsiteY24" fmla="*/ 185799 h 280096"/>
                  <a:gd name="connsiteX25" fmla="*/ 1011555 w 1900238"/>
                  <a:gd name="connsiteY25" fmla="*/ 180084 h 280096"/>
                  <a:gd name="connsiteX26" fmla="*/ 1060133 w 1900238"/>
                  <a:gd name="connsiteY26" fmla="*/ 177226 h 280096"/>
                  <a:gd name="connsiteX27" fmla="*/ 1094423 w 1900238"/>
                  <a:gd name="connsiteY27" fmla="*/ 174369 h 280096"/>
                  <a:gd name="connsiteX28" fmla="*/ 1114425 w 1900238"/>
                  <a:gd name="connsiteY28" fmla="*/ 168654 h 280096"/>
                  <a:gd name="connsiteX29" fmla="*/ 1131570 w 1900238"/>
                  <a:gd name="connsiteY29" fmla="*/ 162939 h 280096"/>
                  <a:gd name="connsiteX30" fmla="*/ 1180148 w 1900238"/>
                  <a:gd name="connsiteY30" fmla="*/ 154366 h 280096"/>
                  <a:gd name="connsiteX31" fmla="*/ 1211580 w 1900238"/>
                  <a:gd name="connsiteY31" fmla="*/ 148651 h 280096"/>
                  <a:gd name="connsiteX32" fmla="*/ 1231583 w 1900238"/>
                  <a:gd name="connsiteY32" fmla="*/ 145794 h 280096"/>
                  <a:gd name="connsiteX33" fmla="*/ 1268730 w 1900238"/>
                  <a:gd name="connsiteY33" fmla="*/ 142936 h 280096"/>
                  <a:gd name="connsiteX34" fmla="*/ 1300163 w 1900238"/>
                  <a:gd name="connsiteY34" fmla="*/ 137221 h 280096"/>
                  <a:gd name="connsiteX35" fmla="*/ 1343025 w 1900238"/>
                  <a:gd name="connsiteY35" fmla="*/ 131506 h 280096"/>
                  <a:gd name="connsiteX36" fmla="*/ 1354455 w 1900238"/>
                  <a:gd name="connsiteY36" fmla="*/ 128649 h 280096"/>
                  <a:gd name="connsiteX37" fmla="*/ 1371600 w 1900238"/>
                  <a:gd name="connsiteY37" fmla="*/ 122934 h 280096"/>
                  <a:gd name="connsiteX38" fmla="*/ 1388745 w 1900238"/>
                  <a:gd name="connsiteY38" fmla="*/ 114361 h 280096"/>
                  <a:gd name="connsiteX39" fmla="*/ 1405890 w 1900238"/>
                  <a:gd name="connsiteY39" fmla="*/ 105789 h 280096"/>
                  <a:gd name="connsiteX40" fmla="*/ 1414463 w 1900238"/>
                  <a:gd name="connsiteY40" fmla="*/ 100074 h 280096"/>
                  <a:gd name="connsiteX41" fmla="*/ 1451610 w 1900238"/>
                  <a:gd name="connsiteY41" fmla="*/ 94359 h 280096"/>
                  <a:gd name="connsiteX42" fmla="*/ 1485900 w 1900238"/>
                  <a:gd name="connsiteY42" fmla="*/ 88644 h 280096"/>
                  <a:gd name="connsiteX43" fmla="*/ 1497330 w 1900238"/>
                  <a:gd name="connsiteY43" fmla="*/ 85786 h 280096"/>
                  <a:gd name="connsiteX44" fmla="*/ 1514475 w 1900238"/>
                  <a:gd name="connsiteY44" fmla="*/ 80071 h 280096"/>
                  <a:gd name="connsiteX45" fmla="*/ 1531620 w 1900238"/>
                  <a:gd name="connsiteY45" fmla="*/ 77214 h 280096"/>
                  <a:gd name="connsiteX46" fmla="*/ 1554480 w 1900238"/>
                  <a:gd name="connsiteY46" fmla="*/ 74356 h 280096"/>
                  <a:gd name="connsiteX47" fmla="*/ 1583055 w 1900238"/>
                  <a:gd name="connsiteY47" fmla="*/ 68641 h 280096"/>
                  <a:gd name="connsiteX48" fmla="*/ 1660208 w 1900238"/>
                  <a:gd name="connsiteY48" fmla="*/ 65784 h 280096"/>
                  <a:gd name="connsiteX49" fmla="*/ 1680210 w 1900238"/>
                  <a:gd name="connsiteY49" fmla="*/ 60069 h 280096"/>
                  <a:gd name="connsiteX50" fmla="*/ 1705928 w 1900238"/>
                  <a:gd name="connsiteY50" fmla="*/ 54354 h 280096"/>
                  <a:gd name="connsiteX51" fmla="*/ 1714500 w 1900238"/>
                  <a:gd name="connsiteY51" fmla="*/ 48639 h 280096"/>
                  <a:gd name="connsiteX52" fmla="*/ 1731645 w 1900238"/>
                  <a:gd name="connsiteY52" fmla="*/ 42924 h 280096"/>
                  <a:gd name="connsiteX53" fmla="*/ 1751648 w 1900238"/>
                  <a:gd name="connsiteY53" fmla="*/ 37209 h 280096"/>
                  <a:gd name="connsiteX54" fmla="*/ 1768793 w 1900238"/>
                  <a:gd name="connsiteY54" fmla="*/ 34351 h 280096"/>
                  <a:gd name="connsiteX55" fmla="*/ 1797368 w 1900238"/>
                  <a:gd name="connsiteY55" fmla="*/ 17206 h 280096"/>
                  <a:gd name="connsiteX56" fmla="*/ 1805940 w 1900238"/>
                  <a:gd name="connsiteY56" fmla="*/ 11491 h 280096"/>
                  <a:gd name="connsiteX57" fmla="*/ 1843088 w 1900238"/>
                  <a:gd name="connsiteY57" fmla="*/ 2919 h 280096"/>
                  <a:gd name="connsiteX58" fmla="*/ 1860233 w 1900238"/>
                  <a:gd name="connsiteY58" fmla="*/ 61 h 280096"/>
                  <a:gd name="connsiteX59" fmla="*/ 1900238 w 1900238"/>
                  <a:gd name="connsiteY59" fmla="*/ 5776 h 280096"/>
                  <a:gd name="connsiteX0" fmla="*/ 0 w 1900238"/>
                  <a:gd name="connsiteY0" fmla="*/ 277206 h 277206"/>
                  <a:gd name="connsiteX1" fmla="*/ 82868 w 1900238"/>
                  <a:gd name="connsiteY1" fmla="*/ 274349 h 277206"/>
                  <a:gd name="connsiteX2" fmla="*/ 94298 w 1900238"/>
                  <a:gd name="connsiteY2" fmla="*/ 271491 h 277206"/>
                  <a:gd name="connsiteX3" fmla="*/ 117158 w 1900238"/>
                  <a:gd name="connsiteY3" fmla="*/ 268634 h 277206"/>
                  <a:gd name="connsiteX4" fmla="*/ 168593 w 1900238"/>
                  <a:gd name="connsiteY4" fmla="*/ 265776 h 277206"/>
                  <a:gd name="connsiteX5" fmla="*/ 214313 w 1900238"/>
                  <a:gd name="connsiteY5" fmla="*/ 260061 h 277206"/>
                  <a:gd name="connsiteX6" fmla="*/ 280035 w 1900238"/>
                  <a:gd name="connsiteY6" fmla="*/ 257204 h 277206"/>
                  <a:gd name="connsiteX7" fmla="*/ 331470 w 1900238"/>
                  <a:gd name="connsiteY7" fmla="*/ 251489 h 277206"/>
                  <a:gd name="connsiteX8" fmla="*/ 348615 w 1900238"/>
                  <a:gd name="connsiteY8" fmla="*/ 248631 h 277206"/>
                  <a:gd name="connsiteX9" fmla="*/ 411480 w 1900238"/>
                  <a:gd name="connsiteY9" fmla="*/ 245774 h 277206"/>
                  <a:gd name="connsiteX10" fmla="*/ 434340 w 1900238"/>
                  <a:gd name="connsiteY10" fmla="*/ 242916 h 277206"/>
                  <a:gd name="connsiteX11" fmla="*/ 454343 w 1900238"/>
                  <a:gd name="connsiteY11" fmla="*/ 240059 h 277206"/>
                  <a:gd name="connsiteX12" fmla="*/ 491490 w 1900238"/>
                  <a:gd name="connsiteY12" fmla="*/ 237201 h 277206"/>
                  <a:gd name="connsiteX13" fmla="*/ 534353 w 1900238"/>
                  <a:gd name="connsiteY13" fmla="*/ 231486 h 277206"/>
                  <a:gd name="connsiteX14" fmla="*/ 585788 w 1900238"/>
                  <a:gd name="connsiteY14" fmla="*/ 228629 h 277206"/>
                  <a:gd name="connsiteX15" fmla="*/ 648653 w 1900238"/>
                  <a:gd name="connsiteY15" fmla="*/ 222914 h 277206"/>
                  <a:gd name="connsiteX16" fmla="*/ 700088 w 1900238"/>
                  <a:gd name="connsiteY16" fmla="*/ 217199 h 277206"/>
                  <a:gd name="connsiteX17" fmla="*/ 762953 w 1900238"/>
                  <a:gd name="connsiteY17" fmla="*/ 211484 h 277206"/>
                  <a:gd name="connsiteX18" fmla="*/ 774383 w 1900238"/>
                  <a:gd name="connsiteY18" fmla="*/ 208626 h 277206"/>
                  <a:gd name="connsiteX19" fmla="*/ 788670 w 1900238"/>
                  <a:gd name="connsiteY19" fmla="*/ 205769 h 277206"/>
                  <a:gd name="connsiteX20" fmla="*/ 817245 w 1900238"/>
                  <a:gd name="connsiteY20" fmla="*/ 202911 h 277206"/>
                  <a:gd name="connsiteX21" fmla="*/ 851535 w 1900238"/>
                  <a:gd name="connsiteY21" fmla="*/ 197196 h 277206"/>
                  <a:gd name="connsiteX22" fmla="*/ 880110 w 1900238"/>
                  <a:gd name="connsiteY22" fmla="*/ 194339 h 277206"/>
                  <a:gd name="connsiteX23" fmla="*/ 914400 w 1900238"/>
                  <a:gd name="connsiteY23" fmla="*/ 188624 h 277206"/>
                  <a:gd name="connsiteX24" fmla="*/ 982980 w 1900238"/>
                  <a:gd name="connsiteY24" fmla="*/ 182909 h 277206"/>
                  <a:gd name="connsiteX25" fmla="*/ 1011555 w 1900238"/>
                  <a:gd name="connsiteY25" fmla="*/ 177194 h 277206"/>
                  <a:gd name="connsiteX26" fmla="*/ 1060133 w 1900238"/>
                  <a:gd name="connsiteY26" fmla="*/ 174336 h 277206"/>
                  <a:gd name="connsiteX27" fmla="*/ 1094423 w 1900238"/>
                  <a:gd name="connsiteY27" fmla="*/ 171479 h 277206"/>
                  <a:gd name="connsiteX28" fmla="*/ 1114425 w 1900238"/>
                  <a:gd name="connsiteY28" fmla="*/ 165764 h 277206"/>
                  <a:gd name="connsiteX29" fmla="*/ 1131570 w 1900238"/>
                  <a:gd name="connsiteY29" fmla="*/ 160049 h 277206"/>
                  <a:gd name="connsiteX30" fmla="*/ 1180148 w 1900238"/>
                  <a:gd name="connsiteY30" fmla="*/ 151476 h 277206"/>
                  <a:gd name="connsiteX31" fmla="*/ 1211580 w 1900238"/>
                  <a:gd name="connsiteY31" fmla="*/ 145761 h 277206"/>
                  <a:gd name="connsiteX32" fmla="*/ 1231583 w 1900238"/>
                  <a:gd name="connsiteY32" fmla="*/ 142904 h 277206"/>
                  <a:gd name="connsiteX33" fmla="*/ 1268730 w 1900238"/>
                  <a:gd name="connsiteY33" fmla="*/ 140046 h 277206"/>
                  <a:gd name="connsiteX34" fmla="*/ 1300163 w 1900238"/>
                  <a:gd name="connsiteY34" fmla="*/ 134331 h 277206"/>
                  <a:gd name="connsiteX35" fmla="*/ 1343025 w 1900238"/>
                  <a:gd name="connsiteY35" fmla="*/ 128616 h 277206"/>
                  <a:gd name="connsiteX36" fmla="*/ 1354455 w 1900238"/>
                  <a:gd name="connsiteY36" fmla="*/ 125759 h 277206"/>
                  <a:gd name="connsiteX37" fmla="*/ 1371600 w 1900238"/>
                  <a:gd name="connsiteY37" fmla="*/ 120044 h 277206"/>
                  <a:gd name="connsiteX38" fmla="*/ 1388745 w 1900238"/>
                  <a:gd name="connsiteY38" fmla="*/ 111471 h 277206"/>
                  <a:gd name="connsiteX39" fmla="*/ 1405890 w 1900238"/>
                  <a:gd name="connsiteY39" fmla="*/ 102899 h 277206"/>
                  <a:gd name="connsiteX40" fmla="*/ 1414463 w 1900238"/>
                  <a:gd name="connsiteY40" fmla="*/ 97184 h 277206"/>
                  <a:gd name="connsiteX41" fmla="*/ 1451610 w 1900238"/>
                  <a:gd name="connsiteY41" fmla="*/ 91469 h 277206"/>
                  <a:gd name="connsiteX42" fmla="*/ 1485900 w 1900238"/>
                  <a:gd name="connsiteY42" fmla="*/ 85754 h 277206"/>
                  <a:gd name="connsiteX43" fmla="*/ 1497330 w 1900238"/>
                  <a:gd name="connsiteY43" fmla="*/ 82896 h 277206"/>
                  <a:gd name="connsiteX44" fmla="*/ 1514475 w 1900238"/>
                  <a:gd name="connsiteY44" fmla="*/ 77181 h 277206"/>
                  <a:gd name="connsiteX45" fmla="*/ 1531620 w 1900238"/>
                  <a:gd name="connsiteY45" fmla="*/ 74324 h 277206"/>
                  <a:gd name="connsiteX46" fmla="*/ 1554480 w 1900238"/>
                  <a:gd name="connsiteY46" fmla="*/ 71466 h 277206"/>
                  <a:gd name="connsiteX47" fmla="*/ 1583055 w 1900238"/>
                  <a:gd name="connsiteY47" fmla="*/ 65751 h 277206"/>
                  <a:gd name="connsiteX48" fmla="*/ 1660208 w 1900238"/>
                  <a:gd name="connsiteY48" fmla="*/ 62894 h 277206"/>
                  <a:gd name="connsiteX49" fmla="*/ 1680210 w 1900238"/>
                  <a:gd name="connsiteY49" fmla="*/ 57179 h 277206"/>
                  <a:gd name="connsiteX50" fmla="*/ 1705928 w 1900238"/>
                  <a:gd name="connsiteY50" fmla="*/ 51464 h 277206"/>
                  <a:gd name="connsiteX51" fmla="*/ 1714500 w 1900238"/>
                  <a:gd name="connsiteY51" fmla="*/ 45749 h 277206"/>
                  <a:gd name="connsiteX52" fmla="*/ 1731645 w 1900238"/>
                  <a:gd name="connsiteY52" fmla="*/ 40034 h 277206"/>
                  <a:gd name="connsiteX53" fmla="*/ 1751648 w 1900238"/>
                  <a:gd name="connsiteY53" fmla="*/ 34319 h 277206"/>
                  <a:gd name="connsiteX54" fmla="*/ 1768793 w 1900238"/>
                  <a:gd name="connsiteY54" fmla="*/ 31461 h 277206"/>
                  <a:gd name="connsiteX55" fmla="*/ 1797368 w 1900238"/>
                  <a:gd name="connsiteY55" fmla="*/ 14316 h 277206"/>
                  <a:gd name="connsiteX56" fmla="*/ 1805940 w 1900238"/>
                  <a:gd name="connsiteY56" fmla="*/ 8601 h 277206"/>
                  <a:gd name="connsiteX57" fmla="*/ 1843088 w 1900238"/>
                  <a:gd name="connsiteY57" fmla="*/ 29 h 277206"/>
                  <a:gd name="connsiteX58" fmla="*/ 1863091 w 1900238"/>
                  <a:gd name="connsiteY58" fmla="*/ 5744 h 277206"/>
                  <a:gd name="connsiteX59" fmla="*/ 1900238 w 1900238"/>
                  <a:gd name="connsiteY59" fmla="*/ 2886 h 277206"/>
                  <a:gd name="connsiteX0" fmla="*/ 0 w 1900238"/>
                  <a:gd name="connsiteY0" fmla="*/ 274320 h 274320"/>
                  <a:gd name="connsiteX1" fmla="*/ 82868 w 1900238"/>
                  <a:gd name="connsiteY1" fmla="*/ 271463 h 274320"/>
                  <a:gd name="connsiteX2" fmla="*/ 94298 w 1900238"/>
                  <a:gd name="connsiteY2" fmla="*/ 268605 h 274320"/>
                  <a:gd name="connsiteX3" fmla="*/ 117158 w 1900238"/>
                  <a:gd name="connsiteY3" fmla="*/ 265748 h 274320"/>
                  <a:gd name="connsiteX4" fmla="*/ 168593 w 1900238"/>
                  <a:gd name="connsiteY4" fmla="*/ 262890 h 274320"/>
                  <a:gd name="connsiteX5" fmla="*/ 214313 w 1900238"/>
                  <a:gd name="connsiteY5" fmla="*/ 257175 h 274320"/>
                  <a:gd name="connsiteX6" fmla="*/ 280035 w 1900238"/>
                  <a:gd name="connsiteY6" fmla="*/ 254318 h 274320"/>
                  <a:gd name="connsiteX7" fmla="*/ 331470 w 1900238"/>
                  <a:gd name="connsiteY7" fmla="*/ 248603 h 274320"/>
                  <a:gd name="connsiteX8" fmla="*/ 348615 w 1900238"/>
                  <a:gd name="connsiteY8" fmla="*/ 245745 h 274320"/>
                  <a:gd name="connsiteX9" fmla="*/ 411480 w 1900238"/>
                  <a:gd name="connsiteY9" fmla="*/ 242888 h 274320"/>
                  <a:gd name="connsiteX10" fmla="*/ 434340 w 1900238"/>
                  <a:gd name="connsiteY10" fmla="*/ 240030 h 274320"/>
                  <a:gd name="connsiteX11" fmla="*/ 454343 w 1900238"/>
                  <a:gd name="connsiteY11" fmla="*/ 237173 h 274320"/>
                  <a:gd name="connsiteX12" fmla="*/ 491490 w 1900238"/>
                  <a:gd name="connsiteY12" fmla="*/ 234315 h 274320"/>
                  <a:gd name="connsiteX13" fmla="*/ 534353 w 1900238"/>
                  <a:gd name="connsiteY13" fmla="*/ 228600 h 274320"/>
                  <a:gd name="connsiteX14" fmla="*/ 585788 w 1900238"/>
                  <a:gd name="connsiteY14" fmla="*/ 225743 h 274320"/>
                  <a:gd name="connsiteX15" fmla="*/ 648653 w 1900238"/>
                  <a:gd name="connsiteY15" fmla="*/ 220028 h 274320"/>
                  <a:gd name="connsiteX16" fmla="*/ 700088 w 1900238"/>
                  <a:gd name="connsiteY16" fmla="*/ 214313 h 274320"/>
                  <a:gd name="connsiteX17" fmla="*/ 762953 w 1900238"/>
                  <a:gd name="connsiteY17" fmla="*/ 208598 h 274320"/>
                  <a:gd name="connsiteX18" fmla="*/ 774383 w 1900238"/>
                  <a:gd name="connsiteY18" fmla="*/ 205740 h 274320"/>
                  <a:gd name="connsiteX19" fmla="*/ 788670 w 1900238"/>
                  <a:gd name="connsiteY19" fmla="*/ 202883 h 274320"/>
                  <a:gd name="connsiteX20" fmla="*/ 817245 w 1900238"/>
                  <a:gd name="connsiteY20" fmla="*/ 200025 h 274320"/>
                  <a:gd name="connsiteX21" fmla="*/ 851535 w 1900238"/>
                  <a:gd name="connsiteY21" fmla="*/ 194310 h 274320"/>
                  <a:gd name="connsiteX22" fmla="*/ 880110 w 1900238"/>
                  <a:gd name="connsiteY22" fmla="*/ 191453 h 274320"/>
                  <a:gd name="connsiteX23" fmla="*/ 914400 w 1900238"/>
                  <a:gd name="connsiteY23" fmla="*/ 185738 h 274320"/>
                  <a:gd name="connsiteX24" fmla="*/ 982980 w 1900238"/>
                  <a:gd name="connsiteY24" fmla="*/ 180023 h 274320"/>
                  <a:gd name="connsiteX25" fmla="*/ 1011555 w 1900238"/>
                  <a:gd name="connsiteY25" fmla="*/ 174308 h 274320"/>
                  <a:gd name="connsiteX26" fmla="*/ 1060133 w 1900238"/>
                  <a:gd name="connsiteY26" fmla="*/ 171450 h 274320"/>
                  <a:gd name="connsiteX27" fmla="*/ 1094423 w 1900238"/>
                  <a:gd name="connsiteY27" fmla="*/ 168593 h 274320"/>
                  <a:gd name="connsiteX28" fmla="*/ 1114425 w 1900238"/>
                  <a:gd name="connsiteY28" fmla="*/ 162878 h 274320"/>
                  <a:gd name="connsiteX29" fmla="*/ 1131570 w 1900238"/>
                  <a:gd name="connsiteY29" fmla="*/ 157163 h 274320"/>
                  <a:gd name="connsiteX30" fmla="*/ 1180148 w 1900238"/>
                  <a:gd name="connsiteY30" fmla="*/ 148590 h 274320"/>
                  <a:gd name="connsiteX31" fmla="*/ 1211580 w 1900238"/>
                  <a:gd name="connsiteY31" fmla="*/ 142875 h 274320"/>
                  <a:gd name="connsiteX32" fmla="*/ 1231583 w 1900238"/>
                  <a:gd name="connsiteY32" fmla="*/ 140018 h 274320"/>
                  <a:gd name="connsiteX33" fmla="*/ 1268730 w 1900238"/>
                  <a:gd name="connsiteY33" fmla="*/ 137160 h 274320"/>
                  <a:gd name="connsiteX34" fmla="*/ 1300163 w 1900238"/>
                  <a:gd name="connsiteY34" fmla="*/ 131445 h 274320"/>
                  <a:gd name="connsiteX35" fmla="*/ 1343025 w 1900238"/>
                  <a:gd name="connsiteY35" fmla="*/ 125730 h 274320"/>
                  <a:gd name="connsiteX36" fmla="*/ 1354455 w 1900238"/>
                  <a:gd name="connsiteY36" fmla="*/ 122873 h 274320"/>
                  <a:gd name="connsiteX37" fmla="*/ 1371600 w 1900238"/>
                  <a:gd name="connsiteY37" fmla="*/ 117158 h 274320"/>
                  <a:gd name="connsiteX38" fmla="*/ 1388745 w 1900238"/>
                  <a:gd name="connsiteY38" fmla="*/ 108585 h 274320"/>
                  <a:gd name="connsiteX39" fmla="*/ 1405890 w 1900238"/>
                  <a:gd name="connsiteY39" fmla="*/ 100013 h 274320"/>
                  <a:gd name="connsiteX40" fmla="*/ 1414463 w 1900238"/>
                  <a:gd name="connsiteY40" fmla="*/ 94298 h 274320"/>
                  <a:gd name="connsiteX41" fmla="*/ 1451610 w 1900238"/>
                  <a:gd name="connsiteY41" fmla="*/ 88583 h 274320"/>
                  <a:gd name="connsiteX42" fmla="*/ 1485900 w 1900238"/>
                  <a:gd name="connsiteY42" fmla="*/ 82868 h 274320"/>
                  <a:gd name="connsiteX43" fmla="*/ 1497330 w 1900238"/>
                  <a:gd name="connsiteY43" fmla="*/ 80010 h 274320"/>
                  <a:gd name="connsiteX44" fmla="*/ 1514475 w 1900238"/>
                  <a:gd name="connsiteY44" fmla="*/ 74295 h 274320"/>
                  <a:gd name="connsiteX45" fmla="*/ 1531620 w 1900238"/>
                  <a:gd name="connsiteY45" fmla="*/ 71438 h 274320"/>
                  <a:gd name="connsiteX46" fmla="*/ 1554480 w 1900238"/>
                  <a:gd name="connsiteY46" fmla="*/ 68580 h 274320"/>
                  <a:gd name="connsiteX47" fmla="*/ 1583055 w 1900238"/>
                  <a:gd name="connsiteY47" fmla="*/ 62865 h 274320"/>
                  <a:gd name="connsiteX48" fmla="*/ 1660208 w 1900238"/>
                  <a:gd name="connsiteY48" fmla="*/ 60008 h 274320"/>
                  <a:gd name="connsiteX49" fmla="*/ 1680210 w 1900238"/>
                  <a:gd name="connsiteY49" fmla="*/ 54293 h 274320"/>
                  <a:gd name="connsiteX50" fmla="*/ 1705928 w 1900238"/>
                  <a:gd name="connsiteY50" fmla="*/ 48578 h 274320"/>
                  <a:gd name="connsiteX51" fmla="*/ 1714500 w 1900238"/>
                  <a:gd name="connsiteY51" fmla="*/ 42863 h 274320"/>
                  <a:gd name="connsiteX52" fmla="*/ 1731645 w 1900238"/>
                  <a:gd name="connsiteY52" fmla="*/ 37148 h 274320"/>
                  <a:gd name="connsiteX53" fmla="*/ 1751648 w 1900238"/>
                  <a:gd name="connsiteY53" fmla="*/ 31433 h 274320"/>
                  <a:gd name="connsiteX54" fmla="*/ 1768793 w 1900238"/>
                  <a:gd name="connsiteY54" fmla="*/ 28575 h 274320"/>
                  <a:gd name="connsiteX55" fmla="*/ 1797368 w 1900238"/>
                  <a:gd name="connsiteY55" fmla="*/ 11430 h 274320"/>
                  <a:gd name="connsiteX56" fmla="*/ 1805940 w 1900238"/>
                  <a:gd name="connsiteY56" fmla="*/ 5715 h 274320"/>
                  <a:gd name="connsiteX57" fmla="*/ 1840230 w 1900238"/>
                  <a:gd name="connsiteY57" fmla="*/ 2858 h 274320"/>
                  <a:gd name="connsiteX58" fmla="*/ 1863091 w 1900238"/>
                  <a:gd name="connsiteY58" fmla="*/ 2858 h 274320"/>
                  <a:gd name="connsiteX59" fmla="*/ 1900238 w 1900238"/>
                  <a:gd name="connsiteY59" fmla="*/ 0 h 27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1900238" h="274320">
                    <a:moveTo>
                      <a:pt x="0" y="274320"/>
                    </a:moveTo>
                    <a:cubicBezTo>
                      <a:pt x="27623" y="273368"/>
                      <a:pt x="55280" y="273135"/>
                      <a:pt x="82868" y="271463"/>
                    </a:cubicBezTo>
                    <a:cubicBezTo>
                      <a:pt x="86788" y="271225"/>
                      <a:pt x="90424" y="269251"/>
                      <a:pt x="94298" y="268605"/>
                    </a:cubicBezTo>
                    <a:cubicBezTo>
                      <a:pt x="101873" y="267343"/>
                      <a:pt x="109501" y="266337"/>
                      <a:pt x="117158" y="265748"/>
                    </a:cubicBezTo>
                    <a:cubicBezTo>
                      <a:pt x="134279" y="264431"/>
                      <a:pt x="151448" y="263843"/>
                      <a:pt x="168593" y="262890"/>
                    </a:cubicBezTo>
                    <a:cubicBezTo>
                      <a:pt x="188198" y="256356"/>
                      <a:pt x="177253" y="259234"/>
                      <a:pt x="214313" y="257175"/>
                    </a:cubicBezTo>
                    <a:cubicBezTo>
                      <a:pt x="236207" y="255959"/>
                      <a:pt x="258128" y="255270"/>
                      <a:pt x="280035" y="254318"/>
                    </a:cubicBezTo>
                    <a:cubicBezTo>
                      <a:pt x="318613" y="247887"/>
                      <a:pt x="271374" y="255280"/>
                      <a:pt x="331470" y="248603"/>
                    </a:cubicBezTo>
                    <a:cubicBezTo>
                      <a:pt x="337228" y="247963"/>
                      <a:pt x="342836" y="246158"/>
                      <a:pt x="348615" y="245745"/>
                    </a:cubicBezTo>
                    <a:cubicBezTo>
                      <a:pt x="369538" y="244250"/>
                      <a:pt x="390525" y="243840"/>
                      <a:pt x="411480" y="242888"/>
                    </a:cubicBezTo>
                    <a:lnTo>
                      <a:pt x="434340" y="240030"/>
                    </a:lnTo>
                    <a:cubicBezTo>
                      <a:pt x="441016" y="239140"/>
                      <a:pt x="447641" y="237843"/>
                      <a:pt x="454343" y="237173"/>
                    </a:cubicBezTo>
                    <a:cubicBezTo>
                      <a:pt x="466700" y="235937"/>
                      <a:pt x="479108" y="235268"/>
                      <a:pt x="491490" y="234315"/>
                    </a:cubicBezTo>
                    <a:cubicBezTo>
                      <a:pt x="508679" y="231451"/>
                      <a:pt x="515477" y="229998"/>
                      <a:pt x="534353" y="228600"/>
                    </a:cubicBezTo>
                    <a:cubicBezTo>
                      <a:pt x="551478" y="227332"/>
                      <a:pt x="568643" y="226695"/>
                      <a:pt x="585788" y="225743"/>
                    </a:cubicBezTo>
                    <a:cubicBezTo>
                      <a:pt x="615002" y="218438"/>
                      <a:pt x="588374" y="224334"/>
                      <a:pt x="648653" y="220028"/>
                    </a:cubicBezTo>
                    <a:cubicBezTo>
                      <a:pt x="665534" y="218822"/>
                      <a:pt x="683240" y="216419"/>
                      <a:pt x="700088" y="214313"/>
                    </a:cubicBezTo>
                    <a:cubicBezTo>
                      <a:pt x="730990" y="206586"/>
                      <a:pt x="695295" y="214749"/>
                      <a:pt x="762953" y="208598"/>
                    </a:cubicBezTo>
                    <a:cubicBezTo>
                      <a:pt x="766864" y="208242"/>
                      <a:pt x="770549" y="206592"/>
                      <a:pt x="774383" y="205740"/>
                    </a:cubicBezTo>
                    <a:cubicBezTo>
                      <a:pt x="779124" y="204686"/>
                      <a:pt x="783856" y="203525"/>
                      <a:pt x="788670" y="202883"/>
                    </a:cubicBezTo>
                    <a:cubicBezTo>
                      <a:pt x="798159" y="201618"/>
                      <a:pt x="807720" y="200978"/>
                      <a:pt x="817245" y="200025"/>
                    </a:cubicBezTo>
                    <a:cubicBezTo>
                      <a:pt x="833743" y="194527"/>
                      <a:pt x="823563" y="197254"/>
                      <a:pt x="851535" y="194310"/>
                    </a:cubicBezTo>
                    <a:lnTo>
                      <a:pt x="880110" y="191453"/>
                    </a:lnTo>
                    <a:cubicBezTo>
                      <a:pt x="897170" y="185766"/>
                      <a:pt x="884817" y="189218"/>
                      <a:pt x="914400" y="185738"/>
                    </a:cubicBezTo>
                    <a:cubicBezTo>
                      <a:pt x="957493" y="180668"/>
                      <a:pt x="919492" y="183990"/>
                      <a:pt x="982980" y="180023"/>
                    </a:cubicBezTo>
                    <a:cubicBezTo>
                      <a:pt x="993070" y="177500"/>
                      <a:pt x="1000806" y="175243"/>
                      <a:pt x="1011555" y="174308"/>
                    </a:cubicBezTo>
                    <a:cubicBezTo>
                      <a:pt x="1027715" y="172903"/>
                      <a:pt x="1043951" y="172566"/>
                      <a:pt x="1060133" y="171450"/>
                    </a:cubicBezTo>
                    <a:cubicBezTo>
                      <a:pt x="1071575" y="170661"/>
                      <a:pt x="1082993" y="169545"/>
                      <a:pt x="1094423" y="168593"/>
                    </a:cubicBezTo>
                    <a:cubicBezTo>
                      <a:pt x="1123193" y="159001"/>
                      <a:pt x="1078595" y="173626"/>
                      <a:pt x="1114425" y="162878"/>
                    </a:cubicBezTo>
                    <a:cubicBezTo>
                      <a:pt x="1120195" y="161147"/>
                      <a:pt x="1125663" y="158344"/>
                      <a:pt x="1131570" y="157163"/>
                    </a:cubicBezTo>
                    <a:cubicBezTo>
                      <a:pt x="1166750" y="150127"/>
                      <a:pt x="1150529" y="152822"/>
                      <a:pt x="1180148" y="148590"/>
                    </a:cubicBezTo>
                    <a:cubicBezTo>
                      <a:pt x="1196427" y="143164"/>
                      <a:pt x="1184657" y="146465"/>
                      <a:pt x="1211580" y="142875"/>
                    </a:cubicBezTo>
                    <a:cubicBezTo>
                      <a:pt x="1218256" y="141985"/>
                      <a:pt x="1224881" y="140688"/>
                      <a:pt x="1231583" y="140018"/>
                    </a:cubicBezTo>
                    <a:cubicBezTo>
                      <a:pt x="1243940" y="138782"/>
                      <a:pt x="1256373" y="138396"/>
                      <a:pt x="1268730" y="137160"/>
                    </a:cubicBezTo>
                    <a:cubicBezTo>
                      <a:pt x="1315804" y="132453"/>
                      <a:pt x="1268681" y="136692"/>
                      <a:pt x="1300163" y="131445"/>
                    </a:cubicBezTo>
                    <a:cubicBezTo>
                      <a:pt x="1330112" y="126453"/>
                      <a:pt x="1315065" y="130814"/>
                      <a:pt x="1343025" y="125730"/>
                    </a:cubicBezTo>
                    <a:cubicBezTo>
                      <a:pt x="1346889" y="125027"/>
                      <a:pt x="1350693" y="124001"/>
                      <a:pt x="1354455" y="122873"/>
                    </a:cubicBezTo>
                    <a:cubicBezTo>
                      <a:pt x="1360225" y="121142"/>
                      <a:pt x="1371600" y="117158"/>
                      <a:pt x="1371600" y="117158"/>
                    </a:cubicBezTo>
                    <a:cubicBezTo>
                      <a:pt x="1396170" y="100779"/>
                      <a:pt x="1365083" y="120416"/>
                      <a:pt x="1388745" y="108585"/>
                    </a:cubicBezTo>
                    <a:cubicBezTo>
                      <a:pt x="1410894" y="97510"/>
                      <a:pt x="1384352" y="107192"/>
                      <a:pt x="1405890" y="100013"/>
                    </a:cubicBezTo>
                    <a:cubicBezTo>
                      <a:pt x="1408748" y="98108"/>
                      <a:pt x="1411205" y="95384"/>
                      <a:pt x="1414463" y="94298"/>
                    </a:cubicBezTo>
                    <a:cubicBezTo>
                      <a:pt x="1417442" y="93305"/>
                      <a:pt x="1450062" y="88804"/>
                      <a:pt x="1451610" y="88583"/>
                    </a:cubicBezTo>
                    <a:cubicBezTo>
                      <a:pt x="1470753" y="82201"/>
                      <a:pt x="1450352" y="88337"/>
                      <a:pt x="1485900" y="82868"/>
                    </a:cubicBezTo>
                    <a:cubicBezTo>
                      <a:pt x="1489782" y="82271"/>
                      <a:pt x="1493568" y="81139"/>
                      <a:pt x="1497330" y="80010"/>
                    </a:cubicBezTo>
                    <a:cubicBezTo>
                      <a:pt x="1503100" y="78279"/>
                      <a:pt x="1508533" y="75285"/>
                      <a:pt x="1514475" y="74295"/>
                    </a:cubicBezTo>
                    <a:cubicBezTo>
                      <a:pt x="1520190" y="73343"/>
                      <a:pt x="1525884" y="72257"/>
                      <a:pt x="1531620" y="71438"/>
                    </a:cubicBezTo>
                    <a:cubicBezTo>
                      <a:pt x="1539222" y="70352"/>
                      <a:pt x="1546905" y="69842"/>
                      <a:pt x="1554480" y="68580"/>
                    </a:cubicBezTo>
                    <a:cubicBezTo>
                      <a:pt x="1570670" y="65882"/>
                      <a:pt x="1563306" y="64062"/>
                      <a:pt x="1583055" y="62865"/>
                    </a:cubicBezTo>
                    <a:cubicBezTo>
                      <a:pt x="1608743" y="61308"/>
                      <a:pt x="1634490" y="60960"/>
                      <a:pt x="1660208" y="60008"/>
                    </a:cubicBezTo>
                    <a:cubicBezTo>
                      <a:pt x="1668384" y="57282"/>
                      <a:pt x="1671232" y="56089"/>
                      <a:pt x="1680210" y="54293"/>
                    </a:cubicBezTo>
                    <a:cubicBezTo>
                      <a:pt x="1705354" y="49264"/>
                      <a:pt x="1689245" y="54138"/>
                      <a:pt x="1705928" y="48578"/>
                    </a:cubicBezTo>
                    <a:cubicBezTo>
                      <a:pt x="1708785" y="46673"/>
                      <a:pt x="1711362" y="44258"/>
                      <a:pt x="1714500" y="42863"/>
                    </a:cubicBezTo>
                    <a:cubicBezTo>
                      <a:pt x="1720005" y="40416"/>
                      <a:pt x="1725930" y="39053"/>
                      <a:pt x="1731645" y="37148"/>
                    </a:cubicBezTo>
                    <a:cubicBezTo>
                      <a:pt x="1739822" y="34422"/>
                      <a:pt x="1742669" y="33229"/>
                      <a:pt x="1751648" y="31433"/>
                    </a:cubicBezTo>
                    <a:cubicBezTo>
                      <a:pt x="1757329" y="30297"/>
                      <a:pt x="1763078" y="29528"/>
                      <a:pt x="1768793" y="28575"/>
                    </a:cubicBezTo>
                    <a:cubicBezTo>
                      <a:pt x="1786365" y="19789"/>
                      <a:pt x="1776680" y="25222"/>
                      <a:pt x="1797368" y="11430"/>
                    </a:cubicBezTo>
                    <a:cubicBezTo>
                      <a:pt x="1800225" y="9525"/>
                      <a:pt x="1798796" y="7144"/>
                      <a:pt x="1805940" y="5715"/>
                    </a:cubicBezTo>
                    <a:cubicBezTo>
                      <a:pt x="1813084" y="4286"/>
                      <a:pt x="1830705" y="3334"/>
                      <a:pt x="1840230" y="2858"/>
                    </a:cubicBezTo>
                    <a:cubicBezTo>
                      <a:pt x="1849755" y="2382"/>
                      <a:pt x="1853090" y="3334"/>
                      <a:pt x="1863091" y="2858"/>
                    </a:cubicBezTo>
                    <a:cubicBezTo>
                      <a:pt x="1873092" y="2382"/>
                      <a:pt x="1887856" y="0"/>
                      <a:pt x="1900238" y="0"/>
                    </a:cubicBezTo>
                  </a:path>
                </a:pathLst>
              </a:custGeom>
              <a:noFill/>
              <a:ln w="19050">
                <a:solidFill>
                  <a:srgbClr val="82786F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en-GB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8" name="Freeform 47"/>
              <p:cNvSpPr/>
              <p:nvPr/>
            </p:nvSpPr>
            <p:spPr>
              <a:xfrm>
                <a:off x="1401452" y="3261667"/>
                <a:ext cx="4540577" cy="531051"/>
              </a:xfrm>
              <a:custGeom>
                <a:avLst/>
                <a:gdLst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06837 w 4540577"/>
                  <a:gd name="connsiteY3" fmla="*/ 518481 h 531051"/>
                  <a:gd name="connsiteX4" fmla="*/ 163397 w 4540577"/>
                  <a:gd name="connsiteY4" fmla="*/ 512197 h 531051"/>
                  <a:gd name="connsiteX5" fmla="*/ 201105 w 4540577"/>
                  <a:gd name="connsiteY5" fmla="*/ 505912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72066 w 4540577"/>
                  <a:gd name="connsiteY30" fmla="*/ 405360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0713 w 4540577"/>
                  <a:gd name="connsiteY61" fmla="*/ 257673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416404 w 4540577"/>
                  <a:gd name="connsiteY64" fmla="*/ 241962 h 531051"/>
                  <a:gd name="connsiteX65" fmla="*/ 2447826 w 4540577"/>
                  <a:gd name="connsiteY65" fmla="*/ 238820 h 531051"/>
                  <a:gd name="connsiteX66" fmla="*/ 2526383 w 4540577"/>
                  <a:gd name="connsiteY66" fmla="*/ 232535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8828 w 4540577"/>
                  <a:gd name="connsiteY81" fmla="*/ 157121 h 531051"/>
                  <a:gd name="connsiteX82" fmla="*/ 3220824 w 4540577"/>
                  <a:gd name="connsiteY82" fmla="*/ 153978 h 531051"/>
                  <a:gd name="connsiteX83" fmla="*/ 3252247 w 4540577"/>
                  <a:gd name="connsiteY83" fmla="*/ 147694 h 531051"/>
                  <a:gd name="connsiteX84" fmla="*/ 3267958 w 4540577"/>
                  <a:gd name="connsiteY84" fmla="*/ 144552 h 531051"/>
                  <a:gd name="connsiteX85" fmla="*/ 3406218 w 4540577"/>
                  <a:gd name="connsiteY85" fmla="*/ 135125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30424 w 4540577"/>
                  <a:gd name="connsiteY97" fmla="*/ 91133 h 531051"/>
                  <a:gd name="connsiteX98" fmla="*/ 3861847 w 4540577"/>
                  <a:gd name="connsiteY98" fmla="*/ 94275 h 531051"/>
                  <a:gd name="connsiteX99" fmla="*/ 3877558 w 4540577"/>
                  <a:gd name="connsiteY99" fmla="*/ 97418 h 531051"/>
                  <a:gd name="connsiteX100" fmla="*/ 3937261 w 4540577"/>
                  <a:gd name="connsiteY100" fmla="*/ 91133 h 531051"/>
                  <a:gd name="connsiteX101" fmla="*/ 3965542 w 4540577"/>
                  <a:gd name="connsiteY101" fmla="*/ 81706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06837 w 4540577"/>
                  <a:gd name="connsiteY3" fmla="*/ 518481 h 531051"/>
                  <a:gd name="connsiteX4" fmla="*/ 163397 w 4540577"/>
                  <a:gd name="connsiteY4" fmla="*/ 512197 h 531051"/>
                  <a:gd name="connsiteX5" fmla="*/ 201105 w 4540577"/>
                  <a:gd name="connsiteY5" fmla="*/ 505912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72066 w 4540577"/>
                  <a:gd name="connsiteY30" fmla="*/ 405360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0713 w 4540577"/>
                  <a:gd name="connsiteY61" fmla="*/ 257673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416404 w 4540577"/>
                  <a:gd name="connsiteY64" fmla="*/ 241962 h 531051"/>
                  <a:gd name="connsiteX65" fmla="*/ 2447826 w 4540577"/>
                  <a:gd name="connsiteY65" fmla="*/ 238820 h 531051"/>
                  <a:gd name="connsiteX66" fmla="*/ 2526383 w 4540577"/>
                  <a:gd name="connsiteY66" fmla="*/ 232535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8828 w 4540577"/>
                  <a:gd name="connsiteY81" fmla="*/ 157121 h 531051"/>
                  <a:gd name="connsiteX82" fmla="*/ 3220824 w 4540577"/>
                  <a:gd name="connsiteY82" fmla="*/ 153978 h 531051"/>
                  <a:gd name="connsiteX83" fmla="*/ 3252247 w 4540577"/>
                  <a:gd name="connsiteY83" fmla="*/ 147694 h 531051"/>
                  <a:gd name="connsiteX84" fmla="*/ 3267958 w 4540577"/>
                  <a:gd name="connsiteY84" fmla="*/ 144552 h 531051"/>
                  <a:gd name="connsiteX85" fmla="*/ 3406218 w 4540577"/>
                  <a:gd name="connsiteY85" fmla="*/ 135125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61847 w 4540577"/>
                  <a:gd name="connsiteY98" fmla="*/ 94275 h 531051"/>
                  <a:gd name="connsiteX99" fmla="*/ 3877558 w 4540577"/>
                  <a:gd name="connsiteY99" fmla="*/ 97418 h 531051"/>
                  <a:gd name="connsiteX100" fmla="*/ 3937261 w 4540577"/>
                  <a:gd name="connsiteY100" fmla="*/ 91133 h 531051"/>
                  <a:gd name="connsiteX101" fmla="*/ 3965542 w 4540577"/>
                  <a:gd name="connsiteY101" fmla="*/ 81706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06837 w 4540577"/>
                  <a:gd name="connsiteY3" fmla="*/ 518481 h 531051"/>
                  <a:gd name="connsiteX4" fmla="*/ 163397 w 4540577"/>
                  <a:gd name="connsiteY4" fmla="*/ 512197 h 531051"/>
                  <a:gd name="connsiteX5" fmla="*/ 201105 w 4540577"/>
                  <a:gd name="connsiteY5" fmla="*/ 505912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72066 w 4540577"/>
                  <a:gd name="connsiteY30" fmla="*/ 405360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0713 w 4540577"/>
                  <a:gd name="connsiteY61" fmla="*/ 257673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416404 w 4540577"/>
                  <a:gd name="connsiteY64" fmla="*/ 241962 h 531051"/>
                  <a:gd name="connsiteX65" fmla="*/ 2447826 w 4540577"/>
                  <a:gd name="connsiteY65" fmla="*/ 238820 h 531051"/>
                  <a:gd name="connsiteX66" fmla="*/ 2526383 w 4540577"/>
                  <a:gd name="connsiteY66" fmla="*/ 232535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8828 w 4540577"/>
                  <a:gd name="connsiteY81" fmla="*/ 157121 h 531051"/>
                  <a:gd name="connsiteX82" fmla="*/ 3220824 w 4540577"/>
                  <a:gd name="connsiteY82" fmla="*/ 153978 h 531051"/>
                  <a:gd name="connsiteX83" fmla="*/ 3252247 w 4540577"/>
                  <a:gd name="connsiteY83" fmla="*/ 147694 h 531051"/>
                  <a:gd name="connsiteX84" fmla="*/ 3267958 w 4540577"/>
                  <a:gd name="connsiteY84" fmla="*/ 144552 h 531051"/>
                  <a:gd name="connsiteX85" fmla="*/ 3406218 w 4540577"/>
                  <a:gd name="connsiteY85" fmla="*/ 135125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61847 w 4540577"/>
                  <a:gd name="connsiteY98" fmla="*/ 94275 h 531051"/>
                  <a:gd name="connsiteX99" fmla="*/ 3877558 w 4540577"/>
                  <a:gd name="connsiteY99" fmla="*/ 80273 h 531051"/>
                  <a:gd name="connsiteX100" fmla="*/ 3937261 w 4540577"/>
                  <a:gd name="connsiteY100" fmla="*/ 91133 h 531051"/>
                  <a:gd name="connsiteX101" fmla="*/ 3965542 w 4540577"/>
                  <a:gd name="connsiteY101" fmla="*/ 81706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06837 w 4540577"/>
                  <a:gd name="connsiteY3" fmla="*/ 518481 h 531051"/>
                  <a:gd name="connsiteX4" fmla="*/ 163397 w 4540577"/>
                  <a:gd name="connsiteY4" fmla="*/ 512197 h 531051"/>
                  <a:gd name="connsiteX5" fmla="*/ 201105 w 4540577"/>
                  <a:gd name="connsiteY5" fmla="*/ 505912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72066 w 4540577"/>
                  <a:gd name="connsiteY30" fmla="*/ 405360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0713 w 4540577"/>
                  <a:gd name="connsiteY61" fmla="*/ 257673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416404 w 4540577"/>
                  <a:gd name="connsiteY64" fmla="*/ 241962 h 531051"/>
                  <a:gd name="connsiteX65" fmla="*/ 2447826 w 4540577"/>
                  <a:gd name="connsiteY65" fmla="*/ 238820 h 531051"/>
                  <a:gd name="connsiteX66" fmla="*/ 2526383 w 4540577"/>
                  <a:gd name="connsiteY66" fmla="*/ 232535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8828 w 4540577"/>
                  <a:gd name="connsiteY81" fmla="*/ 157121 h 531051"/>
                  <a:gd name="connsiteX82" fmla="*/ 3220824 w 4540577"/>
                  <a:gd name="connsiteY82" fmla="*/ 153978 h 531051"/>
                  <a:gd name="connsiteX83" fmla="*/ 3252247 w 4540577"/>
                  <a:gd name="connsiteY83" fmla="*/ 147694 h 531051"/>
                  <a:gd name="connsiteX84" fmla="*/ 3267958 w 4540577"/>
                  <a:gd name="connsiteY84" fmla="*/ 144552 h 531051"/>
                  <a:gd name="connsiteX85" fmla="*/ 3406218 w 4540577"/>
                  <a:gd name="connsiteY85" fmla="*/ 135125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61847 w 4540577"/>
                  <a:gd name="connsiteY98" fmla="*/ 94275 h 531051"/>
                  <a:gd name="connsiteX99" fmla="*/ 3871843 w 4540577"/>
                  <a:gd name="connsiteY99" fmla="*/ 68843 h 531051"/>
                  <a:gd name="connsiteX100" fmla="*/ 3937261 w 4540577"/>
                  <a:gd name="connsiteY100" fmla="*/ 91133 h 531051"/>
                  <a:gd name="connsiteX101" fmla="*/ 3965542 w 4540577"/>
                  <a:gd name="connsiteY101" fmla="*/ 81706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06837 w 4540577"/>
                  <a:gd name="connsiteY3" fmla="*/ 518481 h 531051"/>
                  <a:gd name="connsiteX4" fmla="*/ 163397 w 4540577"/>
                  <a:gd name="connsiteY4" fmla="*/ 512197 h 531051"/>
                  <a:gd name="connsiteX5" fmla="*/ 201105 w 4540577"/>
                  <a:gd name="connsiteY5" fmla="*/ 505912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72066 w 4540577"/>
                  <a:gd name="connsiteY30" fmla="*/ 405360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0713 w 4540577"/>
                  <a:gd name="connsiteY61" fmla="*/ 257673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416404 w 4540577"/>
                  <a:gd name="connsiteY64" fmla="*/ 241962 h 531051"/>
                  <a:gd name="connsiteX65" fmla="*/ 2447826 w 4540577"/>
                  <a:gd name="connsiteY65" fmla="*/ 238820 h 531051"/>
                  <a:gd name="connsiteX66" fmla="*/ 2526383 w 4540577"/>
                  <a:gd name="connsiteY66" fmla="*/ 232535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8828 w 4540577"/>
                  <a:gd name="connsiteY81" fmla="*/ 157121 h 531051"/>
                  <a:gd name="connsiteX82" fmla="*/ 3220824 w 4540577"/>
                  <a:gd name="connsiteY82" fmla="*/ 153978 h 531051"/>
                  <a:gd name="connsiteX83" fmla="*/ 3252247 w 4540577"/>
                  <a:gd name="connsiteY83" fmla="*/ 147694 h 531051"/>
                  <a:gd name="connsiteX84" fmla="*/ 3267958 w 4540577"/>
                  <a:gd name="connsiteY84" fmla="*/ 144552 h 531051"/>
                  <a:gd name="connsiteX85" fmla="*/ 3406218 w 4540577"/>
                  <a:gd name="connsiteY85" fmla="*/ 135125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44702 w 4540577"/>
                  <a:gd name="connsiteY98" fmla="*/ 77130 h 531051"/>
                  <a:gd name="connsiteX99" fmla="*/ 3871843 w 4540577"/>
                  <a:gd name="connsiteY99" fmla="*/ 68843 h 531051"/>
                  <a:gd name="connsiteX100" fmla="*/ 3937261 w 4540577"/>
                  <a:gd name="connsiteY100" fmla="*/ 91133 h 531051"/>
                  <a:gd name="connsiteX101" fmla="*/ 3965542 w 4540577"/>
                  <a:gd name="connsiteY101" fmla="*/ 81706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06837 w 4540577"/>
                  <a:gd name="connsiteY3" fmla="*/ 518481 h 531051"/>
                  <a:gd name="connsiteX4" fmla="*/ 163397 w 4540577"/>
                  <a:gd name="connsiteY4" fmla="*/ 512197 h 531051"/>
                  <a:gd name="connsiteX5" fmla="*/ 201105 w 4540577"/>
                  <a:gd name="connsiteY5" fmla="*/ 505912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72066 w 4540577"/>
                  <a:gd name="connsiteY30" fmla="*/ 405360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0713 w 4540577"/>
                  <a:gd name="connsiteY61" fmla="*/ 257673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416404 w 4540577"/>
                  <a:gd name="connsiteY64" fmla="*/ 241962 h 531051"/>
                  <a:gd name="connsiteX65" fmla="*/ 2447826 w 4540577"/>
                  <a:gd name="connsiteY65" fmla="*/ 238820 h 531051"/>
                  <a:gd name="connsiteX66" fmla="*/ 2526383 w 4540577"/>
                  <a:gd name="connsiteY66" fmla="*/ 232535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8828 w 4540577"/>
                  <a:gd name="connsiteY81" fmla="*/ 157121 h 531051"/>
                  <a:gd name="connsiteX82" fmla="*/ 3220824 w 4540577"/>
                  <a:gd name="connsiteY82" fmla="*/ 153978 h 531051"/>
                  <a:gd name="connsiteX83" fmla="*/ 3252247 w 4540577"/>
                  <a:gd name="connsiteY83" fmla="*/ 147694 h 531051"/>
                  <a:gd name="connsiteX84" fmla="*/ 3267958 w 4540577"/>
                  <a:gd name="connsiteY84" fmla="*/ 144552 h 531051"/>
                  <a:gd name="connsiteX85" fmla="*/ 3406218 w 4540577"/>
                  <a:gd name="connsiteY85" fmla="*/ 135125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44702 w 4540577"/>
                  <a:gd name="connsiteY98" fmla="*/ 77130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91133 h 531051"/>
                  <a:gd name="connsiteX101" fmla="*/ 3965542 w 4540577"/>
                  <a:gd name="connsiteY101" fmla="*/ 81706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06837 w 4540577"/>
                  <a:gd name="connsiteY3" fmla="*/ 518481 h 531051"/>
                  <a:gd name="connsiteX4" fmla="*/ 163397 w 4540577"/>
                  <a:gd name="connsiteY4" fmla="*/ 512197 h 531051"/>
                  <a:gd name="connsiteX5" fmla="*/ 201105 w 4540577"/>
                  <a:gd name="connsiteY5" fmla="*/ 505912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72066 w 4540577"/>
                  <a:gd name="connsiteY30" fmla="*/ 405360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0713 w 4540577"/>
                  <a:gd name="connsiteY61" fmla="*/ 257673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416404 w 4540577"/>
                  <a:gd name="connsiteY64" fmla="*/ 241962 h 531051"/>
                  <a:gd name="connsiteX65" fmla="*/ 2447826 w 4540577"/>
                  <a:gd name="connsiteY65" fmla="*/ 238820 h 531051"/>
                  <a:gd name="connsiteX66" fmla="*/ 2526383 w 4540577"/>
                  <a:gd name="connsiteY66" fmla="*/ 232535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8828 w 4540577"/>
                  <a:gd name="connsiteY81" fmla="*/ 157121 h 531051"/>
                  <a:gd name="connsiteX82" fmla="*/ 3220824 w 4540577"/>
                  <a:gd name="connsiteY82" fmla="*/ 153978 h 531051"/>
                  <a:gd name="connsiteX83" fmla="*/ 3252247 w 4540577"/>
                  <a:gd name="connsiteY83" fmla="*/ 147694 h 531051"/>
                  <a:gd name="connsiteX84" fmla="*/ 3267958 w 4540577"/>
                  <a:gd name="connsiteY84" fmla="*/ 144552 h 531051"/>
                  <a:gd name="connsiteX85" fmla="*/ 3406218 w 4540577"/>
                  <a:gd name="connsiteY85" fmla="*/ 135125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44702 w 4540577"/>
                  <a:gd name="connsiteY98" fmla="*/ 77130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65542 w 4540577"/>
                  <a:gd name="connsiteY101" fmla="*/ 81706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06837 w 4540577"/>
                  <a:gd name="connsiteY3" fmla="*/ 518481 h 531051"/>
                  <a:gd name="connsiteX4" fmla="*/ 163397 w 4540577"/>
                  <a:gd name="connsiteY4" fmla="*/ 512197 h 531051"/>
                  <a:gd name="connsiteX5" fmla="*/ 201105 w 4540577"/>
                  <a:gd name="connsiteY5" fmla="*/ 505912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72066 w 4540577"/>
                  <a:gd name="connsiteY30" fmla="*/ 405360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0713 w 4540577"/>
                  <a:gd name="connsiteY61" fmla="*/ 257673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416404 w 4540577"/>
                  <a:gd name="connsiteY64" fmla="*/ 241962 h 531051"/>
                  <a:gd name="connsiteX65" fmla="*/ 2447826 w 4540577"/>
                  <a:gd name="connsiteY65" fmla="*/ 238820 h 531051"/>
                  <a:gd name="connsiteX66" fmla="*/ 2526383 w 4540577"/>
                  <a:gd name="connsiteY66" fmla="*/ 232535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8828 w 4540577"/>
                  <a:gd name="connsiteY81" fmla="*/ 157121 h 531051"/>
                  <a:gd name="connsiteX82" fmla="*/ 3220824 w 4540577"/>
                  <a:gd name="connsiteY82" fmla="*/ 153978 h 531051"/>
                  <a:gd name="connsiteX83" fmla="*/ 3252247 w 4540577"/>
                  <a:gd name="connsiteY83" fmla="*/ 147694 h 531051"/>
                  <a:gd name="connsiteX84" fmla="*/ 3267958 w 4540577"/>
                  <a:gd name="connsiteY84" fmla="*/ 144552 h 531051"/>
                  <a:gd name="connsiteX85" fmla="*/ 3406218 w 4540577"/>
                  <a:gd name="connsiteY85" fmla="*/ 135125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44702 w 4540577"/>
                  <a:gd name="connsiteY98" fmla="*/ 77130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06837 w 4540577"/>
                  <a:gd name="connsiteY3" fmla="*/ 518481 h 531051"/>
                  <a:gd name="connsiteX4" fmla="*/ 163397 w 4540577"/>
                  <a:gd name="connsiteY4" fmla="*/ 512197 h 531051"/>
                  <a:gd name="connsiteX5" fmla="*/ 201105 w 4540577"/>
                  <a:gd name="connsiteY5" fmla="*/ 505912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72066 w 4540577"/>
                  <a:gd name="connsiteY30" fmla="*/ 405360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0713 w 4540577"/>
                  <a:gd name="connsiteY61" fmla="*/ 257673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416404 w 4540577"/>
                  <a:gd name="connsiteY64" fmla="*/ 241962 h 531051"/>
                  <a:gd name="connsiteX65" fmla="*/ 2447826 w 4540577"/>
                  <a:gd name="connsiteY65" fmla="*/ 238820 h 531051"/>
                  <a:gd name="connsiteX66" fmla="*/ 2526383 w 4540577"/>
                  <a:gd name="connsiteY66" fmla="*/ 232535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8828 w 4540577"/>
                  <a:gd name="connsiteY81" fmla="*/ 157121 h 531051"/>
                  <a:gd name="connsiteX82" fmla="*/ 3220824 w 4540577"/>
                  <a:gd name="connsiteY82" fmla="*/ 153978 h 531051"/>
                  <a:gd name="connsiteX83" fmla="*/ 3252247 w 4540577"/>
                  <a:gd name="connsiteY83" fmla="*/ 147694 h 531051"/>
                  <a:gd name="connsiteX84" fmla="*/ 3267958 w 4540577"/>
                  <a:gd name="connsiteY84" fmla="*/ 144552 h 531051"/>
                  <a:gd name="connsiteX85" fmla="*/ 3406218 w 4540577"/>
                  <a:gd name="connsiteY85" fmla="*/ 135125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06837 w 4540577"/>
                  <a:gd name="connsiteY3" fmla="*/ 518481 h 531051"/>
                  <a:gd name="connsiteX4" fmla="*/ 163397 w 4540577"/>
                  <a:gd name="connsiteY4" fmla="*/ 512197 h 531051"/>
                  <a:gd name="connsiteX5" fmla="*/ 201105 w 4540577"/>
                  <a:gd name="connsiteY5" fmla="*/ 505912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72066 w 4540577"/>
                  <a:gd name="connsiteY30" fmla="*/ 405360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0713 w 4540577"/>
                  <a:gd name="connsiteY61" fmla="*/ 257673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416404 w 4540577"/>
                  <a:gd name="connsiteY64" fmla="*/ 241962 h 531051"/>
                  <a:gd name="connsiteX65" fmla="*/ 2447826 w 4540577"/>
                  <a:gd name="connsiteY65" fmla="*/ 238820 h 531051"/>
                  <a:gd name="connsiteX66" fmla="*/ 2526383 w 4540577"/>
                  <a:gd name="connsiteY66" fmla="*/ 232535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8828 w 4540577"/>
                  <a:gd name="connsiteY81" fmla="*/ 157121 h 531051"/>
                  <a:gd name="connsiteX82" fmla="*/ 3220824 w 4540577"/>
                  <a:gd name="connsiteY82" fmla="*/ 153978 h 531051"/>
                  <a:gd name="connsiteX83" fmla="*/ 3252247 w 4540577"/>
                  <a:gd name="connsiteY83" fmla="*/ 147694 h 531051"/>
                  <a:gd name="connsiteX84" fmla="*/ 3290818 w 4540577"/>
                  <a:gd name="connsiteY84" fmla="*/ 147409 h 531051"/>
                  <a:gd name="connsiteX85" fmla="*/ 3406218 w 4540577"/>
                  <a:gd name="connsiteY85" fmla="*/ 135125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06837 w 4540577"/>
                  <a:gd name="connsiteY3" fmla="*/ 518481 h 531051"/>
                  <a:gd name="connsiteX4" fmla="*/ 163397 w 4540577"/>
                  <a:gd name="connsiteY4" fmla="*/ 512197 h 531051"/>
                  <a:gd name="connsiteX5" fmla="*/ 201105 w 4540577"/>
                  <a:gd name="connsiteY5" fmla="*/ 505912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72066 w 4540577"/>
                  <a:gd name="connsiteY30" fmla="*/ 405360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0713 w 4540577"/>
                  <a:gd name="connsiteY61" fmla="*/ 257673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416404 w 4540577"/>
                  <a:gd name="connsiteY64" fmla="*/ 241962 h 531051"/>
                  <a:gd name="connsiteX65" fmla="*/ 2447826 w 4540577"/>
                  <a:gd name="connsiteY65" fmla="*/ 238820 h 531051"/>
                  <a:gd name="connsiteX66" fmla="*/ 2526383 w 4540577"/>
                  <a:gd name="connsiteY66" fmla="*/ 232535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8828 w 4540577"/>
                  <a:gd name="connsiteY81" fmla="*/ 157121 h 531051"/>
                  <a:gd name="connsiteX82" fmla="*/ 3220824 w 4540577"/>
                  <a:gd name="connsiteY82" fmla="*/ 153978 h 531051"/>
                  <a:gd name="connsiteX83" fmla="*/ 3257962 w 4540577"/>
                  <a:gd name="connsiteY83" fmla="*/ 150552 h 531051"/>
                  <a:gd name="connsiteX84" fmla="*/ 3290818 w 4540577"/>
                  <a:gd name="connsiteY84" fmla="*/ 147409 h 531051"/>
                  <a:gd name="connsiteX85" fmla="*/ 3406218 w 4540577"/>
                  <a:gd name="connsiteY85" fmla="*/ 135125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06837 w 4540577"/>
                  <a:gd name="connsiteY3" fmla="*/ 518481 h 531051"/>
                  <a:gd name="connsiteX4" fmla="*/ 163397 w 4540577"/>
                  <a:gd name="connsiteY4" fmla="*/ 512197 h 531051"/>
                  <a:gd name="connsiteX5" fmla="*/ 201105 w 4540577"/>
                  <a:gd name="connsiteY5" fmla="*/ 505912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72066 w 4540577"/>
                  <a:gd name="connsiteY30" fmla="*/ 405360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0713 w 4540577"/>
                  <a:gd name="connsiteY61" fmla="*/ 257673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416404 w 4540577"/>
                  <a:gd name="connsiteY64" fmla="*/ 241962 h 531051"/>
                  <a:gd name="connsiteX65" fmla="*/ 2447826 w 4540577"/>
                  <a:gd name="connsiteY65" fmla="*/ 238820 h 531051"/>
                  <a:gd name="connsiteX66" fmla="*/ 2526383 w 4540577"/>
                  <a:gd name="connsiteY66" fmla="*/ 232535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8828 w 4540577"/>
                  <a:gd name="connsiteY81" fmla="*/ 157121 h 531051"/>
                  <a:gd name="connsiteX82" fmla="*/ 3220824 w 4540577"/>
                  <a:gd name="connsiteY82" fmla="*/ 153978 h 531051"/>
                  <a:gd name="connsiteX83" fmla="*/ 3257962 w 4540577"/>
                  <a:gd name="connsiteY83" fmla="*/ 150552 h 531051"/>
                  <a:gd name="connsiteX84" fmla="*/ 3327965 w 4540577"/>
                  <a:gd name="connsiteY84" fmla="*/ 141694 h 531051"/>
                  <a:gd name="connsiteX85" fmla="*/ 3406218 w 4540577"/>
                  <a:gd name="connsiteY85" fmla="*/ 135125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06837 w 4540577"/>
                  <a:gd name="connsiteY3" fmla="*/ 518481 h 531051"/>
                  <a:gd name="connsiteX4" fmla="*/ 163397 w 4540577"/>
                  <a:gd name="connsiteY4" fmla="*/ 512197 h 531051"/>
                  <a:gd name="connsiteX5" fmla="*/ 201105 w 4540577"/>
                  <a:gd name="connsiteY5" fmla="*/ 505912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72066 w 4540577"/>
                  <a:gd name="connsiteY30" fmla="*/ 405360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0713 w 4540577"/>
                  <a:gd name="connsiteY61" fmla="*/ 257673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416404 w 4540577"/>
                  <a:gd name="connsiteY64" fmla="*/ 241962 h 531051"/>
                  <a:gd name="connsiteX65" fmla="*/ 2447826 w 4540577"/>
                  <a:gd name="connsiteY65" fmla="*/ 238820 h 531051"/>
                  <a:gd name="connsiteX66" fmla="*/ 2526383 w 4540577"/>
                  <a:gd name="connsiteY66" fmla="*/ 232535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8828 w 4540577"/>
                  <a:gd name="connsiteY81" fmla="*/ 157121 h 531051"/>
                  <a:gd name="connsiteX82" fmla="*/ 3223681 w 4540577"/>
                  <a:gd name="connsiteY82" fmla="*/ 159693 h 531051"/>
                  <a:gd name="connsiteX83" fmla="*/ 3257962 w 4540577"/>
                  <a:gd name="connsiteY83" fmla="*/ 150552 h 531051"/>
                  <a:gd name="connsiteX84" fmla="*/ 3327965 w 4540577"/>
                  <a:gd name="connsiteY84" fmla="*/ 141694 h 531051"/>
                  <a:gd name="connsiteX85" fmla="*/ 3406218 w 4540577"/>
                  <a:gd name="connsiteY85" fmla="*/ 135125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06837 w 4540577"/>
                  <a:gd name="connsiteY3" fmla="*/ 518481 h 531051"/>
                  <a:gd name="connsiteX4" fmla="*/ 163397 w 4540577"/>
                  <a:gd name="connsiteY4" fmla="*/ 512197 h 531051"/>
                  <a:gd name="connsiteX5" fmla="*/ 201105 w 4540577"/>
                  <a:gd name="connsiteY5" fmla="*/ 505912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72066 w 4540577"/>
                  <a:gd name="connsiteY30" fmla="*/ 405360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0713 w 4540577"/>
                  <a:gd name="connsiteY61" fmla="*/ 257673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416404 w 4540577"/>
                  <a:gd name="connsiteY64" fmla="*/ 241962 h 531051"/>
                  <a:gd name="connsiteX65" fmla="*/ 2447826 w 4540577"/>
                  <a:gd name="connsiteY65" fmla="*/ 238820 h 531051"/>
                  <a:gd name="connsiteX66" fmla="*/ 2526383 w 4540577"/>
                  <a:gd name="connsiteY66" fmla="*/ 232535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5971 w 4540577"/>
                  <a:gd name="connsiteY81" fmla="*/ 168551 h 531051"/>
                  <a:gd name="connsiteX82" fmla="*/ 3223681 w 4540577"/>
                  <a:gd name="connsiteY82" fmla="*/ 159693 h 531051"/>
                  <a:gd name="connsiteX83" fmla="*/ 3257962 w 4540577"/>
                  <a:gd name="connsiteY83" fmla="*/ 150552 h 531051"/>
                  <a:gd name="connsiteX84" fmla="*/ 3327965 w 4540577"/>
                  <a:gd name="connsiteY84" fmla="*/ 141694 h 531051"/>
                  <a:gd name="connsiteX85" fmla="*/ 3406218 w 4540577"/>
                  <a:gd name="connsiteY85" fmla="*/ 135125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06837 w 4540577"/>
                  <a:gd name="connsiteY3" fmla="*/ 518481 h 531051"/>
                  <a:gd name="connsiteX4" fmla="*/ 163397 w 4540577"/>
                  <a:gd name="connsiteY4" fmla="*/ 512197 h 531051"/>
                  <a:gd name="connsiteX5" fmla="*/ 201105 w 4540577"/>
                  <a:gd name="connsiteY5" fmla="*/ 505912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72066 w 4540577"/>
                  <a:gd name="connsiteY30" fmla="*/ 405360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0713 w 4540577"/>
                  <a:gd name="connsiteY61" fmla="*/ 257673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416404 w 4540577"/>
                  <a:gd name="connsiteY64" fmla="*/ 241962 h 531051"/>
                  <a:gd name="connsiteX65" fmla="*/ 2447826 w 4540577"/>
                  <a:gd name="connsiteY65" fmla="*/ 238820 h 531051"/>
                  <a:gd name="connsiteX66" fmla="*/ 2526383 w 4540577"/>
                  <a:gd name="connsiteY66" fmla="*/ 232535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5971 w 4540577"/>
                  <a:gd name="connsiteY81" fmla="*/ 168551 h 531051"/>
                  <a:gd name="connsiteX82" fmla="*/ 3223681 w 4540577"/>
                  <a:gd name="connsiteY82" fmla="*/ 159693 h 531051"/>
                  <a:gd name="connsiteX83" fmla="*/ 3277965 w 4540577"/>
                  <a:gd name="connsiteY83" fmla="*/ 150552 h 531051"/>
                  <a:gd name="connsiteX84" fmla="*/ 3327965 w 4540577"/>
                  <a:gd name="connsiteY84" fmla="*/ 141694 h 531051"/>
                  <a:gd name="connsiteX85" fmla="*/ 3406218 w 4540577"/>
                  <a:gd name="connsiteY85" fmla="*/ 135125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06837 w 4540577"/>
                  <a:gd name="connsiteY3" fmla="*/ 518481 h 531051"/>
                  <a:gd name="connsiteX4" fmla="*/ 163397 w 4540577"/>
                  <a:gd name="connsiteY4" fmla="*/ 512197 h 531051"/>
                  <a:gd name="connsiteX5" fmla="*/ 201105 w 4540577"/>
                  <a:gd name="connsiteY5" fmla="*/ 505912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72066 w 4540577"/>
                  <a:gd name="connsiteY30" fmla="*/ 405360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0713 w 4540577"/>
                  <a:gd name="connsiteY61" fmla="*/ 257673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416404 w 4540577"/>
                  <a:gd name="connsiteY64" fmla="*/ 241962 h 531051"/>
                  <a:gd name="connsiteX65" fmla="*/ 2447826 w 4540577"/>
                  <a:gd name="connsiteY65" fmla="*/ 238820 h 531051"/>
                  <a:gd name="connsiteX66" fmla="*/ 2526383 w 4540577"/>
                  <a:gd name="connsiteY66" fmla="*/ 232535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5971 w 4540577"/>
                  <a:gd name="connsiteY81" fmla="*/ 165694 h 531051"/>
                  <a:gd name="connsiteX82" fmla="*/ 3223681 w 4540577"/>
                  <a:gd name="connsiteY82" fmla="*/ 159693 h 531051"/>
                  <a:gd name="connsiteX83" fmla="*/ 3277965 w 4540577"/>
                  <a:gd name="connsiteY83" fmla="*/ 150552 h 531051"/>
                  <a:gd name="connsiteX84" fmla="*/ 3327965 w 4540577"/>
                  <a:gd name="connsiteY84" fmla="*/ 141694 h 531051"/>
                  <a:gd name="connsiteX85" fmla="*/ 3406218 w 4540577"/>
                  <a:gd name="connsiteY85" fmla="*/ 135125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06837 w 4540577"/>
                  <a:gd name="connsiteY3" fmla="*/ 518481 h 531051"/>
                  <a:gd name="connsiteX4" fmla="*/ 163397 w 4540577"/>
                  <a:gd name="connsiteY4" fmla="*/ 512197 h 531051"/>
                  <a:gd name="connsiteX5" fmla="*/ 201105 w 4540577"/>
                  <a:gd name="connsiteY5" fmla="*/ 505912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72066 w 4540577"/>
                  <a:gd name="connsiteY30" fmla="*/ 405360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0713 w 4540577"/>
                  <a:gd name="connsiteY61" fmla="*/ 257673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416404 w 4540577"/>
                  <a:gd name="connsiteY64" fmla="*/ 241962 h 531051"/>
                  <a:gd name="connsiteX65" fmla="*/ 2447826 w 4540577"/>
                  <a:gd name="connsiteY65" fmla="*/ 238820 h 531051"/>
                  <a:gd name="connsiteX66" fmla="*/ 2552100 w 4540577"/>
                  <a:gd name="connsiteY66" fmla="*/ 238250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5971 w 4540577"/>
                  <a:gd name="connsiteY81" fmla="*/ 165694 h 531051"/>
                  <a:gd name="connsiteX82" fmla="*/ 3223681 w 4540577"/>
                  <a:gd name="connsiteY82" fmla="*/ 159693 h 531051"/>
                  <a:gd name="connsiteX83" fmla="*/ 3277965 w 4540577"/>
                  <a:gd name="connsiteY83" fmla="*/ 150552 h 531051"/>
                  <a:gd name="connsiteX84" fmla="*/ 3327965 w 4540577"/>
                  <a:gd name="connsiteY84" fmla="*/ 141694 h 531051"/>
                  <a:gd name="connsiteX85" fmla="*/ 3406218 w 4540577"/>
                  <a:gd name="connsiteY85" fmla="*/ 135125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06837 w 4540577"/>
                  <a:gd name="connsiteY3" fmla="*/ 518481 h 531051"/>
                  <a:gd name="connsiteX4" fmla="*/ 163397 w 4540577"/>
                  <a:gd name="connsiteY4" fmla="*/ 512197 h 531051"/>
                  <a:gd name="connsiteX5" fmla="*/ 201105 w 4540577"/>
                  <a:gd name="connsiteY5" fmla="*/ 505912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72066 w 4540577"/>
                  <a:gd name="connsiteY30" fmla="*/ 405360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0713 w 4540577"/>
                  <a:gd name="connsiteY61" fmla="*/ 257673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416404 w 4540577"/>
                  <a:gd name="connsiteY64" fmla="*/ 241962 h 531051"/>
                  <a:gd name="connsiteX65" fmla="*/ 2447826 w 4540577"/>
                  <a:gd name="connsiteY65" fmla="*/ 238820 h 531051"/>
                  <a:gd name="connsiteX66" fmla="*/ 2552100 w 4540577"/>
                  <a:gd name="connsiteY66" fmla="*/ 238250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5971 w 4540577"/>
                  <a:gd name="connsiteY81" fmla="*/ 165694 h 531051"/>
                  <a:gd name="connsiteX82" fmla="*/ 3223681 w 4540577"/>
                  <a:gd name="connsiteY82" fmla="*/ 159693 h 531051"/>
                  <a:gd name="connsiteX83" fmla="*/ 3277965 w 4540577"/>
                  <a:gd name="connsiteY83" fmla="*/ 150552 h 531051"/>
                  <a:gd name="connsiteX84" fmla="*/ 3327965 w 4540577"/>
                  <a:gd name="connsiteY84" fmla="*/ 141694 h 531051"/>
                  <a:gd name="connsiteX85" fmla="*/ 3406218 w 4540577"/>
                  <a:gd name="connsiteY85" fmla="*/ 135125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06837 w 4540577"/>
                  <a:gd name="connsiteY3" fmla="*/ 518481 h 531051"/>
                  <a:gd name="connsiteX4" fmla="*/ 163397 w 4540577"/>
                  <a:gd name="connsiteY4" fmla="*/ 512197 h 531051"/>
                  <a:gd name="connsiteX5" fmla="*/ 201105 w 4540577"/>
                  <a:gd name="connsiteY5" fmla="*/ 505912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72066 w 4540577"/>
                  <a:gd name="connsiteY30" fmla="*/ 405360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9286 w 4540577"/>
                  <a:gd name="connsiteY61" fmla="*/ 263388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416404 w 4540577"/>
                  <a:gd name="connsiteY64" fmla="*/ 241962 h 531051"/>
                  <a:gd name="connsiteX65" fmla="*/ 2447826 w 4540577"/>
                  <a:gd name="connsiteY65" fmla="*/ 238820 h 531051"/>
                  <a:gd name="connsiteX66" fmla="*/ 2552100 w 4540577"/>
                  <a:gd name="connsiteY66" fmla="*/ 238250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5971 w 4540577"/>
                  <a:gd name="connsiteY81" fmla="*/ 165694 h 531051"/>
                  <a:gd name="connsiteX82" fmla="*/ 3223681 w 4540577"/>
                  <a:gd name="connsiteY82" fmla="*/ 159693 h 531051"/>
                  <a:gd name="connsiteX83" fmla="*/ 3277965 w 4540577"/>
                  <a:gd name="connsiteY83" fmla="*/ 150552 h 531051"/>
                  <a:gd name="connsiteX84" fmla="*/ 3327965 w 4540577"/>
                  <a:gd name="connsiteY84" fmla="*/ 141694 h 531051"/>
                  <a:gd name="connsiteX85" fmla="*/ 3406218 w 4540577"/>
                  <a:gd name="connsiteY85" fmla="*/ 135125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06837 w 4540577"/>
                  <a:gd name="connsiteY3" fmla="*/ 518481 h 531051"/>
                  <a:gd name="connsiteX4" fmla="*/ 163397 w 4540577"/>
                  <a:gd name="connsiteY4" fmla="*/ 512197 h 531051"/>
                  <a:gd name="connsiteX5" fmla="*/ 201105 w 4540577"/>
                  <a:gd name="connsiteY5" fmla="*/ 505912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72066 w 4540577"/>
                  <a:gd name="connsiteY30" fmla="*/ 405360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9286 w 4540577"/>
                  <a:gd name="connsiteY61" fmla="*/ 263388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367826 w 4540577"/>
                  <a:gd name="connsiteY64" fmla="*/ 250535 h 531051"/>
                  <a:gd name="connsiteX65" fmla="*/ 2447826 w 4540577"/>
                  <a:gd name="connsiteY65" fmla="*/ 238820 h 531051"/>
                  <a:gd name="connsiteX66" fmla="*/ 2552100 w 4540577"/>
                  <a:gd name="connsiteY66" fmla="*/ 238250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5971 w 4540577"/>
                  <a:gd name="connsiteY81" fmla="*/ 165694 h 531051"/>
                  <a:gd name="connsiteX82" fmla="*/ 3223681 w 4540577"/>
                  <a:gd name="connsiteY82" fmla="*/ 159693 h 531051"/>
                  <a:gd name="connsiteX83" fmla="*/ 3277965 w 4540577"/>
                  <a:gd name="connsiteY83" fmla="*/ 150552 h 531051"/>
                  <a:gd name="connsiteX84" fmla="*/ 3327965 w 4540577"/>
                  <a:gd name="connsiteY84" fmla="*/ 141694 h 531051"/>
                  <a:gd name="connsiteX85" fmla="*/ 3406218 w 4540577"/>
                  <a:gd name="connsiteY85" fmla="*/ 135125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06837 w 4540577"/>
                  <a:gd name="connsiteY3" fmla="*/ 518481 h 531051"/>
                  <a:gd name="connsiteX4" fmla="*/ 163397 w 4540577"/>
                  <a:gd name="connsiteY4" fmla="*/ 512197 h 531051"/>
                  <a:gd name="connsiteX5" fmla="*/ 201105 w 4540577"/>
                  <a:gd name="connsiteY5" fmla="*/ 505912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43491 w 4540577"/>
                  <a:gd name="connsiteY30" fmla="*/ 402503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9286 w 4540577"/>
                  <a:gd name="connsiteY61" fmla="*/ 263388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367826 w 4540577"/>
                  <a:gd name="connsiteY64" fmla="*/ 250535 h 531051"/>
                  <a:gd name="connsiteX65" fmla="*/ 2447826 w 4540577"/>
                  <a:gd name="connsiteY65" fmla="*/ 238820 h 531051"/>
                  <a:gd name="connsiteX66" fmla="*/ 2552100 w 4540577"/>
                  <a:gd name="connsiteY66" fmla="*/ 238250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5971 w 4540577"/>
                  <a:gd name="connsiteY81" fmla="*/ 165694 h 531051"/>
                  <a:gd name="connsiteX82" fmla="*/ 3223681 w 4540577"/>
                  <a:gd name="connsiteY82" fmla="*/ 159693 h 531051"/>
                  <a:gd name="connsiteX83" fmla="*/ 3277965 w 4540577"/>
                  <a:gd name="connsiteY83" fmla="*/ 150552 h 531051"/>
                  <a:gd name="connsiteX84" fmla="*/ 3327965 w 4540577"/>
                  <a:gd name="connsiteY84" fmla="*/ 141694 h 531051"/>
                  <a:gd name="connsiteX85" fmla="*/ 3406218 w 4540577"/>
                  <a:gd name="connsiteY85" fmla="*/ 135125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23982 w 4540577"/>
                  <a:gd name="connsiteY3" fmla="*/ 524196 h 531051"/>
                  <a:gd name="connsiteX4" fmla="*/ 163397 w 4540577"/>
                  <a:gd name="connsiteY4" fmla="*/ 512197 h 531051"/>
                  <a:gd name="connsiteX5" fmla="*/ 201105 w 4540577"/>
                  <a:gd name="connsiteY5" fmla="*/ 505912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43491 w 4540577"/>
                  <a:gd name="connsiteY30" fmla="*/ 402503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9286 w 4540577"/>
                  <a:gd name="connsiteY61" fmla="*/ 263388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367826 w 4540577"/>
                  <a:gd name="connsiteY64" fmla="*/ 250535 h 531051"/>
                  <a:gd name="connsiteX65" fmla="*/ 2447826 w 4540577"/>
                  <a:gd name="connsiteY65" fmla="*/ 238820 h 531051"/>
                  <a:gd name="connsiteX66" fmla="*/ 2552100 w 4540577"/>
                  <a:gd name="connsiteY66" fmla="*/ 238250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5971 w 4540577"/>
                  <a:gd name="connsiteY81" fmla="*/ 165694 h 531051"/>
                  <a:gd name="connsiteX82" fmla="*/ 3223681 w 4540577"/>
                  <a:gd name="connsiteY82" fmla="*/ 159693 h 531051"/>
                  <a:gd name="connsiteX83" fmla="*/ 3277965 w 4540577"/>
                  <a:gd name="connsiteY83" fmla="*/ 150552 h 531051"/>
                  <a:gd name="connsiteX84" fmla="*/ 3327965 w 4540577"/>
                  <a:gd name="connsiteY84" fmla="*/ 141694 h 531051"/>
                  <a:gd name="connsiteX85" fmla="*/ 3406218 w 4540577"/>
                  <a:gd name="connsiteY85" fmla="*/ 135125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23982 w 4540577"/>
                  <a:gd name="connsiteY3" fmla="*/ 524196 h 531051"/>
                  <a:gd name="connsiteX4" fmla="*/ 171970 w 4540577"/>
                  <a:gd name="connsiteY4" fmla="*/ 517912 h 531051"/>
                  <a:gd name="connsiteX5" fmla="*/ 201105 w 4540577"/>
                  <a:gd name="connsiteY5" fmla="*/ 505912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43491 w 4540577"/>
                  <a:gd name="connsiteY30" fmla="*/ 402503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9286 w 4540577"/>
                  <a:gd name="connsiteY61" fmla="*/ 263388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367826 w 4540577"/>
                  <a:gd name="connsiteY64" fmla="*/ 250535 h 531051"/>
                  <a:gd name="connsiteX65" fmla="*/ 2447826 w 4540577"/>
                  <a:gd name="connsiteY65" fmla="*/ 238820 h 531051"/>
                  <a:gd name="connsiteX66" fmla="*/ 2552100 w 4540577"/>
                  <a:gd name="connsiteY66" fmla="*/ 238250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5971 w 4540577"/>
                  <a:gd name="connsiteY81" fmla="*/ 165694 h 531051"/>
                  <a:gd name="connsiteX82" fmla="*/ 3223681 w 4540577"/>
                  <a:gd name="connsiteY82" fmla="*/ 159693 h 531051"/>
                  <a:gd name="connsiteX83" fmla="*/ 3277965 w 4540577"/>
                  <a:gd name="connsiteY83" fmla="*/ 150552 h 531051"/>
                  <a:gd name="connsiteX84" fmla="*/ 3327965 w 4540577"/>
                  <a:gd name="connsiteY84" fmla="*/ 141694 h 531051"/>
                  <a:gd name="connsiteX85" fmla="*/ 3406218 w 4540577"/>
                  <a:gd name="connsiteY85" fmla="*/ 135125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23982 w 4540577"/>
                  <a:gd name="connsiteY3" fmla="*/ 524196 h 531051"/>
                  <a:gd name="connsiteX4" fmla="*/ 171970 w 4540577"/>
                  <a:gd name="connsiteY4" fmla="*/ 517912 h 531051"/>
                  <a:gd name="connsiteX5" fmla="*/ 212535 w 4540577"/>
                  <a:gd name="connsiteY5" fmla="*/ 511627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43491 w 4540577"/>
                  <a:gd name="connsiteY30" fmla="*/ 402503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9286 w 4540577"/>
                  <a:gd name="connsiteY61" fmla="*/ 263388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367826 w 4540577"/>
                  <a:gd name="connsiteY64" fmla="*/ 250535 h 531051"/>
                  <a:gd name="connsiteX65" fmla="*/ 2447826 w 4540577"/>
                  <a:gd name="connsiteY65" fmla="*/ 238820 h 531051"/>
                  <a:gd name="connsiteX66" fmla="*/ 2552100 w 4540577"/>
                  <a:gd name="connsiteY66" fmla="*/ 238250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5971 w 4540577"/>
                  <a:gd name="connsiteY81" fmla="*/ 165694 h 531051"/>
                  <a:gd name="connsiteX82" fmla="*/ 3223681 w 4540577"/>
                  <a:gd name="connsiteY82" fmla="*/ 159693 h 531051"/>
                  <a:gd name="connsiteX83" fmla="*/ 3277965 w 4540577"/>
                  <a:gd name="connsiteY83" fmla="*/ 150552 h 531051"/>
                  <a:gd name="connsiteX84" fmla="*/ 3327965 w 4540577"/>
                  <a:gd name="connsiteY84" fmla="*/ 141694 h 531051"/>
                  <a:gd name="connsiteX85" fmla="*/ 3406218 w 4540577"/>
                  <a:gd name="connsiteY85" fmla="*/ 135125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23982 w 4540577"/>
                  <a:gd name="connsiteY3" fmla="*/ 524196 h 531051"/>
                  <a:gd name="connsiteX4" fmla="*/ 171970 w 4540577"/>
                  <a:gd name="connsiteY4" fmla="*/ 517912 h 531051"/>
                  <a:gd name="connsiteX5" fmla="*/ 212535 w 4540577"/>
                  <a:gd name="connsiteY5" fmla="*/ 511627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43491 w 4540577"/>
                  <a:gd name="connsiteY30" fmla="*/ 402503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9286 w 4540577"/>
                  <a:gd name="connsiteY61" fmla="*/ 263388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367826 w 4540577"/>
                  <a:gd name="connsiteY64" fmla="*/ 250535 h 531051"/>
                  <a:gd name="connsiteX65" fmla="*/ 2447826 w 4540577"/>
                  <a:gd name="connsiteY65" fmla="*/ 238820 h 531051"/>
                  <a:gd name="connsiteX66" fmla="*/ 2552100 w 4540577"/>
                  <a:gd name="connsiteY66" fmla="*/ 238250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5971 w 4540577"/>
                  <a:gd name="connsiteY81" fmla="*/ 165694 h 531051"/>
                  <a:gd name="connsiteX82" fmla="*/ 3223681 w 4540577"/>
                  <a:gd name="connsiteY82" fmla="*/ 159693 h 531051"/>
                  <a:gd name="connsiteX83" fmla="*/ 3277965 w 4540577"/>
                  <a:gd name="connsiteY83" fmla="*/ 150552 h 531051"/>
                  <a:gd name="connsiteX84" fmla="*/ 3327965 w 4540577"/>
                  <a:gd name="connsiteY84" fmla="*/ 141694 h 531051"/>
                  <a:gd name="connsiteX85" fmla="*/ 3389073 w 4540577"/>
                  <a:gd name="connsiteY85" fmla="*/ 140840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23982 w 4540577"/>
                  <a:gd name="connsiteY3" fmla="*/ 524196 h 531051"/>
                  <a:gd name="connsiteX4" fmla="*/ 171970 w 4540577"/>
                  <a:gd name="connsiteY4" fmla="*/ 517912 h 531051"/>
                  <a:gd name="connsiteX5" fmla="*/ 212535 w 4540577"/>
                  <a:gd name="connsiteY5" fmla="*/ 511627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43491 w 4540577"/>
                  <a:gd name="connsiteY30" fmla="*/ 402503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9286 w 4540577"/>
                  <a:gd name="connsiteY61" fmla="*/ 263388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367826 w 4540577"/>
                  <a:gd name="connsiteY64" fmla="*/ 250535 h 531051"/>
                  <a:gd name="connsiteX65" fmla="*/ 2447826 w 4540577"/>
                  <a:gd name="connsiteY65" fmla="*/ 238820 h 531051"/>
                  <a:gd name="connsiteX66" fmla="*/ 2552100 w 4540577"/>
                  <a:gd name="connsiteY66" fmla="*/ 238250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5971 w 4540577"/>
                  <a:gd name="connsiteY81" fmla="*/ 165694 h 531051"/>
                  <a:gd name="connsiteX82" fmla="*/ 3223681 w 4540577"/>
                  <a:gd name="connsiteY82" fmla="*/ 159693 h 531051"/>
                  <a:gd name="connsiteX83" fmla="*/ 3277965 w 4540577"/>
                  <a:gd name="connsiteY83" fmla="*/ 150552 h 531051"/>
                  <a:gd name="connsiteX84" fmla="*/ 3327965 w 4540577"/>
                  <a:gd name="connsiteY84" fmla="*/ 141694 h 531051"/>
                  <a:gd name="connsiteX85" fmla="*/ 3389073 w 4540577"/>
                  <a:gd name="connsiteY85" fmla="*/ 140840 h 531051"/>
                  <a:gd name="connsiteX86" fmla="*/ 3450210 w 4540577"/>
                  <a:gd name="connsiteY86" fmla="*/ 128840 h 531051"/>
                  <a:gd name="connsiteX87" fmla="*/ 3465921 w 4540577"/>
                  <a:gd name="connsiteY87" fmla="*/ 125698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23982 w 4540577"/>
                  <a:gd name="connsiteY3" fmla="*/ 524196 h 531051"/>
                  <a:gd name="connsiteX4" fmla="*/ 171970 w 4540577"/>
                  <a:gd name="connsiteY4" fmla="*/ 517912 h 531051"/>
                  <a:gd name="connsiteX5" fmla="*/ 212535 w 4540577"/>
                  <a:gd name="connsiteY5" fmla="*/ 511627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43491 w 4540577"/>
                  <a:gd name="connsiteY30" fmla="*/ 402503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9286 w 4540577"/>
                  <a:gd name="connsiteY61" fmla="*/ 263388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367826 w 4540577"/>
                  <a:gd name="connsiteY64" fmla="*/ 250535 h 531051"/>
                  <a:gd name="connsiteX65" fmla="*/ 2447826 w 4540577"/>
                  <a:gd name="connsiteY65" fmla="*/ 238820 h 531051"/>
                  <a:gd name="connsiteX66" fmla="*/ 2552100 w 4540577"/>
                  <a:gd name="connsiteY66" fmla="*/ 238250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5971 w 4540577"/>
                  <a:gd name="connsiteY81" fmla="*/ 165694 h 531051"/>
                  <a:gd name="connsiteX82" fmla="*/ 3223681 w 4540577"/>
                  <a:gd name="connsiteY82" fmla="*/ 159693 h 531051"/>
                  <a:gd name="connsiteX83" fmla="*/ 3277965 w 4540577"/>
                  <a:gd name="connsiteY83" fmla="*/ 150552 h 531051"/>
                  <a:gd name="connsiteX84" fmla="*/ 3327965 w 4540577"/>
                  <a:gd name="connsiteY84" fmla="*/ 141694 h 531051"/>
                  <a:gd name="connsiteX85" fmla="*/ 3389073 w 4540577"/>
                  <a:gd name="connsiteY85" fmla="*/ 140840 h 531051"/>
                  <a:gd name="connsiteX86" fmla="*/ 3450210 w 4540577"/>
                  <a:gd name="connsiteY86" fmla="*/ 128840 h 531051"/>
                  <a:gd name="connsiteX87" fmla="*/ 3477351 w 4540577"/>
                  <a:gd name="connsiteY87" fmla="*/ 131413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47620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23982 w 4540577"/>
                  <a:gd name="connsiteY3" fmla="*/ 524196 h 531051"/>
                  <a:gd name="connsiteX4" fmla="*/ 171970 w 4540577"/>
                  <a:gd name="connsiteY4" fmla="*/ 517912 h 531051"/>
                  <a:gd name="connsiteX5" fmla="*/ 212535 w 4540577"/>
                  <a:gd name="connsiteY5" fmla="*/ 511627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43491 w 4540577"/>
                  <a:gd name="connsiteY30" fmla="*/ 402503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9286 w 4540577"/>
                  <a:gd name="connsiteY61" fmla="*/ 263388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367826 w 4540577"/>
                  <a:gd name="connsiteY64" fmla="*/ 250535 h 531051"/>
                  <a:gd name="connsiteX65" fmla="*/ 2447826 w 4540577"/>
                  <a:gd name="connsiteY65" fmla="*/ 238820 h 531051"/>
                  <a:gd name="connsiteX66" fmla="*/ 2552100 w 4540577"/>
                  <a:gd name="connsiteY66" fmla="*/ 238250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5971 w 4540577"/>
                  <a:gd name="connsiteY81" fmla="*/ 165694 h 531051"/>
                  <a:gd name="connsiteX82" fmla="*/ 3223681 w 4540577"/>
                  <a:gd name="connsiteY82" fmla="*/ 159693 h 531051"/>
                  <a:gd name="connsiteX83" fmla="*/ 3277965 w 4540577"/>
                  <a:gd name="connsiteY83" fmla="*/ 150552 h 531051"/>
                  <a:gd name="connsiteX84" fmla="*/ 3327965 w 4540577"/>
                  <a:gd name="connsiteY84" fmla="*/ 141694 h 531051"/>
                  <a:gd name="connsiteX85" fmla="*/ 3389073 w 4540577"/>
                  <a:gd name="connsiteY85" fmla="*/ 140840 h 531051"/>
                  <a:gd name="connsiteX86" fmla="*/ 3450210 w 4540577"/>
                  <a:gd name="connsiteY86" fmla="*/ 128840 h 531051"/>
                  <a:gd name="connsiteX87" fmla="*/ 3477351 w 4540577"/>
                  <a:gd name="connsiteY87" fmla="*/ 131413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61907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094375 w 4540577"/>
                  <a:gd name="connsiteY107" fmla="*/ 53426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23982 w 4540577"/>
                  <a:gd name="connsiteY3" fmla="*/ 524196 h 531051"/>
                  <a:gd name="connsiteX4" fmla="*/ 171970 w 4540577"/>
                  <a:gd name="connsiteY4" fmla="*/ 517912 h 531051"/>
                  <a:gd name="connsiteX5" fmla="*/ 212535 w 4540577"/>
                  <a:gd name="connsiteY5" fmla="*/ 511627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43491 w 4540577"/>
                  <a:gd name="connsiteY30" fmla="*/ 402503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9286 w 4540577"/>
                  <a:gd name="connsiteY61" fmla="*/ 263388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367826 w 4540577"/>
                  <a:gd name="connsiteY64" fmla="*/ 250535 h 531051"/>
                  <a:gd name="connsiteX65" fmla="*/ 2447826 w 4540577"/>
                  <a:gd name="connsiteY65" fmla="*/ 238820 h 531051"/>
                  <a:gd name="connsiteX66" fmla="*/ 2552100 w 4540577"/>
                  <a:gd name="connsiteY66" fmla="*/ 238250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5971 w 4540577"/>
                  <a:gd name="connsiteY81" fmla="*/ 165694 h 531051"/>
                  <a:gd name="connsiteX82" fmla="*/ 3223681 w 4540577"/>
                  <a:gd name="connsiteY82" fmla="*/ 159693 h 531051"/>
                  <a:gd name="connsiteX83" fmla="*/ 3277965 w 4540577"/>
                  <a:gd name="connsiteY83" fmla="*/ 150552 h 531051"/>
                  <a:gd name="connsiteX84" fmla="*/ 3327965 w 4540577"/>
                  <a:gd name="connsiteY84" fmla="*/ 141694 h 531051"/>
                  <a:gd name="connsiteX85" fmla="*/ 3389073 w 4540577"/>
                  <a:gd name="connsiteY85" fmla="*/ 140840 h 531051"/>
                  <a:gd name="connsiteX86" fmla="*/ 3450210 w 4540577"/>
                  <a:gd name="connsiteY86" fmla="*/ 128840 h 531051"/>
                  <a:gd name="connsiteX87" fmla="*/ 3477351 w 4540577"/>
                  <a:gd name="connsiteY87" fmla="*/ 131413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61907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56568 h 531051"/>
                  <a:gd name="connsiteX107" fmla="*/ 4111520 w 4540577"/>
                  <a:gd name="connsiteY107" fmla="*/ 59141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23982 w 4540577"/>
                  <a:gd name="connsiteY3" fmla="*/ 524196 h 531051"/>
                  <a:gd name="connsiteX4" fmla="*/ 171970 w 4540577"/>
                  <a:gd name="connsiteY4" fmla="*/ 517912 h 531051"/>
                  <a:gd name="connsiteX5" fmla="*/ 212535 w 4540577"/>
                  <a:gd name="connsiteY5" fmla="*/ 511627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43491 w 4540577"/>
                  <a:gd name="connsiteY30" fmla="*/ 402503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9286 w 4540577"/>
                  <a:gd name="connsiteY61" fmla="*/ 263388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367826 w 4540577"/>
                  <a:gd name="connsiteY64" fmla="*/ 250535 h 531051"/>
                  <a:gd name="connsiteX65" fmla="*/ 2447826 w 4540577"/>
                  <a:gd name="connsiteY65" fmla="*/ 238820 h 531051"/>
                  <a:gd name="connsiteX66" fmla="*/ 2552100 w 4540577"/>
                  <a:gd name="connsiteY66" fmla="*/ 238250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5971 w 4540577"/>
                  <a:gd name="connsiteY81" fmla="*/ 165694 h 531051"/>
                  <a:gd name="connsiteX82" fmla="*/ 3223681 w 4540577"/>
                  <a:gd name="connsiteY82" fmla="*/ 159693 h 531051"/>
                  <a:gd name="connsiteX83" fmla="*/ 3277965 w 4540577"/>
                  <a:gd name="connsiteY83" fmla="*/ 150552 h 531051"/>
                  <a:gd name="connsiteX84" fmla="*/ 3327965 w 4540577"/>
                  <a:gd name="connsiteY84" fmla="*/ 141694 h 531051"/>
                  <a:gd name="connsiteX85" fmla="*/ 3389073 w 4540577"/>
                  <a:gd name="connsiteY85" fmla="*/ 140840 h 531051"/>
                  <a:gd name="connsiteX86" fmla="*/ 3450210 w 4540577"/>
                  <a:gd name="connsiteY86" fmla="*/ 128840 h 531051"/>
                  <a:gd name="connsiteX87" fmla="*/ 3477351 w 4540577"/>
                  <a:gd name="connsiteY87" fmla="*/ 131413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61907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65141 h 531051"/>
                  <a:gd name="connsiteX107" fmla="*/ 4111520 w 4540577"/>
                  <a:gd name="connsiteY107" fmla="*/ 59141 h 531051"/>
                  <a:gd name="connsiteX108" fmla="*/ 4150936 w 4540577"/>
                  <a:gd name="connsiteY108" fmla="*/ 47141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23982 w 4540577"/>
                  <a:gd name="connsiteY3" fmla="*/ 524196 h 531051"/>
                  <a:gd name="connsiteX4" fmla="*/ 171970 w 4540577"/>
                  <a:gd name="connsiteY4" fmla="*/ 517912 h 531051"/>
                  <a:gd name="connsiteX5" fmla="*/ 212535 w 4540577"/>
                  <a:gd name="connsiteY5" fmla="*/ 511627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43491 w 4540577"/>
                  <a:gd name="connsiteY30" fmla="*/ 402503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9286 w 4540577"/>
                  <a:gd name="connsiteY61" fmla="*/ 263388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367826 w 4540577"/>
                  <a:gd name="connsiteY64" fmla="*/ 250535 h 531051"/>
                  <a:gd name="connsiteX65" fmla="*/ 2447826 w 4540577"/>
                  <a:gd name="connsiteY65" fmla="*/ 238820 h 531051"/>
                  <a:gd name="connsiteX66" fmla="*/ 2552100 w 4540577"/>
                  <a:gd name="connsiteY66" fmla="*/ 238250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5971 w 4540577"/>
                  <a:gd name="connsiteY81" fmla="*/ 165694 h 531051"/>
                  <a:gd name="connsiteX82" fmla="*/ 3223681 w 4540577"/>
                  <a:gd name="connsiteY82" fmla="*/ 159693 h 531051"/>
                  <a:gd name="connsiteX83" fmla="*/ 3277965 w 4540577"/>
                  <a:gd name="connsiteY83" fmla="*/ 150552 h 531051"/>
                  <a:gd name="connsiteX84" fmla="*/ 3327965 w 4540577"/>
                  <a:gd name="connsiteY84" fmla="*/ 141694 h 531051"/>
                  <a:gd name="connsiteX85" fmla="*/ 3389073 w 4540577"/>
                  <a:gd name="connsiteY85" fmla="*/ 140840 h 531051"/>
                  <a:gd name="connsiteX86" fmla="*/ 3450210 w 4540577"/>
                  <a:gd name="connsiteY86" fmla="*/ 128840 h 531051"/>
                  <a:gd name="connsiteX87" fmla="*/ 3477351 w 4540577"/>
                  <a:gd name="connsiteY87" fmla="*/ 131413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61907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65141 h 531051"/>
                  <a:gd name="connsiteX107" fmla="*/ 4111520 w 4540577"/>
                  <a:gd name="connsiteY107" fmla="*/ 59141 h 531051"/>
                  <a:gd name="connsiteX108" fmla="*/ 4162366 w 4540577"/>
                  <a:gd name="connsiteY108" fmla="*/ 49998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23982 w 4540577"/>
                  <a:gd name="connsiteY3" fmla="*/ 524196 h 531051"/>
                  <a:gd name="connsiteX4" fmla="*/ 171970 w 4540577"/>
                  <a:gd name="connsiteY4" fmla="*/ 517912 h 531051"/>
                  <a:gd name="connsiteX5" fmla="*/ 212535 w 4540577"/>
                  <a:gd name="connsiteY5" fmla="*/ 511627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43491 w 4540577"/>
                  <a:gd name="connsiteY30" fmla="*/ 402503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9286 w 4540577"/>
                  <a:gd name="connsiteY61" fmla="*/ 263388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367826 w 4540577"/>
                  <a:gd name="connsiteY64" fmla="*/ 250535 h 531051"/>
                  <a:gd name="connsiteX65" fmla="*/ 2447826 w 4540577"/>
                  <a:gd name="connsiteY65" fmla="*/ 238820 h 531051"/>
                  <a:gd name="connsiteX66" fmla="*/ 2552100 w 4540577"/>
                  <a:gd name="connsiteY66" fmla="*/ 238250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5971 w 4540577"/>
                  <a:gd name="connsiteY81" fmla="*/ 165694 h 531051"/>
                  <a:gd name="connsiteX82" fmla="*/ 3223681 w 4540577"/>
                  <a:gd name="connsiteY82" fmla="*/ 159693 h 531051"/>
                  <a:gd name="connsiteX83" fmla="*/ 3277965 w 4540577"/>
                  <a:gd name="connsiteY83" fmla="*/ 150552 h 531051"/>
                  <a:gd name="connsiteX84" fmla="*/ 3327965 w 4540577"/>
                  <a:gd name="connsiteY84" fmla="*/ 141694 h 531051"/>
                  <a:gd name="connsiteX85" fmla="*/ 3389073 w 4540577"/>
                  <a:gd name="connsiteY85" fmla="*/ 140840 h 531051"/>
                  <a:gd name="connsiteX86" fmla="*/ 3450210 w 4540577"/>
                  <a:gd name="connsiteY86" fmla="*/ 128840 h 531051"/>
                  <a:gd name="connsiteX87" fmla="*/ 3477351 w 4540577"/>
                  <a:gd name="connsiteY87" fmla="*/ 131413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61907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65141 h 531051"/>
                  <a:gd name="connsiteX107" fmla="*/ 4111520 w 4540577"/>
                  <a:gd name="connsiteY107" fmla="*/ 59141 h 531051"/>
                  <a:gd name="connsiteX108" fmla="*/ 4162366 w 4540577"/>
                  <a:gd name="connsiteY108" fmla="*/ 49998 h 531051"/>
                  <a:gd name="connsiteX109" fmla="*/ 4223208 w 4540577"/>
                  <a:gd name="connsiteY109" fmla="*/ 37714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  <a:gd name="connsiteX0" fmla="*/ 0 w 4540577"/>
                  <a:gd name="connsiteY0" fmla="*/ 531051 h 531051"/>
                  <a:gd name="connsiteX1" fmla="*/ 84841 w 4540577"/>
                  <a:gd name="connsiteY1" fmla="*/ 524766 h 531051"/>
                  <a:gd name="connsiteX2" fmla="*/ 97410 w 4540577"/>
                  <a:gd name="connsiteY2" fmla="*/ 521624 h 531051"/>
                  <a:gd name="connsiteX3" fmla="*/ 123982 w 4540577"/>
                  <a:gd name="connsiteY3" fmla="*/ 524196 h 531051"/>
                  <a:gd name="connsiteX4" fmla="*/ 171970 w 4540577"/>
                  <a:gd name="connsiteY4" fmla="*/ 517912 h 531051"/>
                  <a:gd name="connsiteX5" fmla="*/ 212535 w 4540577"/>
                  <a:gd name="connsiteY5" fmla="*/ 511627 h 531051"/>
                  <a:gd name="connsiteX6" fmla="*/ 238812 w 4540577"/>
                  <a:gd name="connsiteY6" fmla="*/ 502770 h 531051"/>
                  <a:gd name="connsiteX7" fmla="*/ 251381 w 4540577"/>
                  <a:gd name="connsiteY7" fmla="*/ 499628 h 531051"/>
                  <a:gd name="connsiteX8" fmla="*/ 311084 w 4540577"/>
                  <a:gd name="connsiteY8" fmla="*/ 493343 h 531051"/>
                  <a:gd name="connsiteX9" fmla="*/ 329938 w 4540577"/>
                  <a:gd name="connsiteY9" fmla="*/ 490201 h 531051"/>
                  <a:gd name="connsiteX10" fmla="*/ 392783 w 4540577"/>
                  <a:gd name="connsiteY10" fmla="*/ 487059 h 531051"/>
                  <a:gd name="connsiteX11" fmla="*/ 411637 w 4540577"/>
                  <a:gd name="connsiteY11" fmla="*/ 483917 h 531051"/>
                  <a:gd name="connsiteX12" fmla="*/ 424206 w 4540577"/>
                  <a:gd name="connsiteY12" fmla="*/ 480774 h 531051"/>
                  <a:gd name="connsiteX13" fmla="*/ 480767 w 4540577"/>
                  <a:gd name="connsiteY13" fmla="*/ 477632 h 531051"/>
                  <a:gd name="connsiteX14" fmla="*/ 505905 w 4540577"/>
                  <a:gd name="connsiteY14" fmla="*/ 474490 h 531051"/>
                  <a:gd name="connsiteX15" fmla="*/ 518474 w 4540577"/>
                  <a:gd name="connsiteY15" fmla="*/ 471347 h 531051"/>
                  <a:gd name="connsiteX16" fmla="*/ 540470 w 4540577"/>
                  <a:gd name="connsiteY16" fmla="*/ 468205 h 531051"/>
                  <a:gd name="connsiteX17" fmla="*/ 559323 w 4540577"/>
                  <a:gd name="connsiteY17" fmla="*/ 465063 h 531051"/>
                  <a:gd name="connsiteX18" fmla="*/ 581319 w 4540577"/>
                  <a:gd name="connsiteY18" fmla="*/ 461921 h 531051"/>
                  <a:gd name="connsiteX19" fmla="*/ 619026 w 4540577"/>
                  <a:gd name="connsiteY19" fmla="*/ 455636 h 531051"/>
                  <a:gd name="connsiteX20" fmla="*/ 631595 w 4540577"/>
                  <a:gd name="connsiteY20" fmla="*/ 452494 h 531051"/>
                  <a:gd name="connsiteX21" fmla="*/ 659876 w 4540577"/>
                  <a:gd name="connsiteY21" fmla="*/ 449352 h 531051"/>
                  <a:gd name="connsiteX22" fmla="*/ 672445 w 4540577"/>
                  <a:gd name="connsiteY22" fmla="*/ 446209 h 531051"/>
                  <a:gd name="connsiteX23" fmla="*/ 741575 w 4540577"/>
                  <a:gd name="connsiteY23" fmla="*/ 439925 h 531051"/>
                  <a:gd name="connsiteX24" fmla="*/ 782424 w 4540577"/>
                  <a:gd name="connsiteY24" fmla="*/ 433640 h 531051"/>
                  <a:gd name="connsiteX25" fmla="*/ 820132 w 4540577"/>
                  <a:gd name="connsiteY25" fmla="*/ 430498 h 531051"/>
                  <a:gd name="connsiteX26" fmla="*/ 829558 w 4540577"/>
                  <a:gd name="connsiteY26" fmla="*/ 427356 h 531051"/>
                  <a:gd name="connsiteX27" fmla="*/ 895546 w 4540577"/>
                  <a:gd name="connsiteY27" fmla="*/ 421071 h 531051"/>
                  <a:gd name="connsiteX28" fmla="*/ 923826 w 4540577"/>
                  <a:gd name="connsiteY28" fmla="*/ 414787 h 531051"/>
                  <a:gd name="connsiteX29" fmla="*/ 1040090 w 4540577"/>
                  <a:gd name="connsiteY29" fmla="*/ 411644 h 531051"/>
                  <a:gd name="connsiteX30" fmla="*/ 1143491 w 4540577"/>
                  <a:gd name="connsiteY30" fmla="*/ 402503 h 531051"/>
                  <a:gd name="connsiteX31" fmla="*/ 1197204 w 4540577"/>
                  <a:gd name="connsiteY31" fmla="*/ 399075 h 531051"/>
                  <a:gd name="connsiteX32" fmla="*/ 1231769 w 4540577"/>
                  <a:gd name="connsiteY32" fmla="*/ 392791 h 531051"/>
                  <a:gd name="connsiteX33" fmla="*/ 1241195 w 4540577"/>
                  <a:gd name="connsiteY33" fmla="*/ 389648 h 531051"/>
                  <a:gd name="connsiteX34" fmla="*/ 1351175 w 4540577"/>
                  <a:gd name="connsiteY34" fmla="*/ 383364 h 531051"/>
                  <a:gd name="connsiteX35" fmla="*/ 1376313 w 4540577"/>
                  <a:gd name="connsiteY35" fmla="*/ 377079 h 531051"/>
                  <a:gd name="connsiteX36" fmla="*/ 1388882 w 4540577"/>
                  <a:gd name="connsiteY36" fmla="*/ 373937 h 531051"/>
                  <a:gd name="connsiteX37" fmla="*/ 1417162 w 4540577"/>
                  <a:gd name="connsiteY37" fmla="*/ 370795 h 531051"/>
                  <a:gd name="connsiteX38" fmla="*/ 1426589 w 4540577"/>
                  <a:gd name="connsiteY38" fmla="*/ 367653 h 531051"/>
                  <a:gd name="connsiteX39" fmla="*/ 1476866 w 4540577"/>
                  <a:gd name="connsiteY39" fmla="*/ 361368 h 531051"/>
                  <a:gd name="connsiteX40" fmla="*/ 1517715 w 4540577"/>
                  <a:gd name="connsiteY40" fmla="*/ 358226 h 531051"/>
                  <a:gd name="connsiteX41" fmla="*/ 1552280 w 4540577"/>
                  <a:gd name="connsiteY41" fmla="*/ 351941 h 531051"/>
                  <a:gd name="connsiteX42" fmla="*/ 1574276 w 4540577"/>
                  <a:gd name="connsiteY42" fmla="*/ 348799 h 531051"/>
                  <a:gd name="connsiteX43" fmla="*/ 1611983 w 4540577"/>
                  <a:gd name="connsiteY43" fmla="*/ 345657 h 531051"/>
                  <a:gd name="connsiteX44" fmla="*/ 1649690 w 4540577"/>
                  <a:gd name="connsiteY44" fmla="*/ 339372 h 531051"/>
                  <a:gd name="connsiteX45" fmla="*/ 1671686 w 4540577"/>
                  <a:gd name="connsiteY45" fmla="*/ 336230 h 531051"/>
                  <a:gd name="connsiteX46" fmla="*/ 1687397 w 4540577"/>
                  <a:gd name="connsiteY46" fmla="*/ 333088 h 531051"/>
                  <a:gd name="connsiteX47" fmla="*/ 1743958 w 4540577"/>
                  <a:gd name="connsiteY47" fmla="*/ 326803 h 531051"/>
                  <a:gd name="connsiteX48" fmla="*/ 1778523 w 4540577"/>
                  <a:gd name="connsiteY48" fmla="*/ 320519 h 531051"/>
                  <a:gd name="connsiteX49" fmla="*/ 1800519 w 4540577"/>
                  <a:gd name="connsiteY49" fmla="*/ 317376 h 531051"/>
                  <a:gd name="connsiteX50" fmla="*/ 1835084 w 4540577"/>
                  <a:gd name="connsiteY50" fmla="*/ 311092 h 531051"/>
                  <a:gd name="connsiteX51" fmla="*/ 1882218 w 4540577"/>
                  <a:gd name="connsiteY51" fmla="*/ 304807 h 531051"/>
                  <a:gd name="connsiteX52" fmla="*/ 1894787 w 4540577"/>
                  <a:gd name="connsiteY52" fmla="*/ 301665 h 531051"/>
                  <a:gd name="connsiteX53" fmla="*/ 1945063 w 4540577"/>
                  <a:gd name="connsiteY53" fmla="*/ 295380 h 531051"/>
                  <a:gd name="connsiteX54" fmla="*/ 1967059 w 4540577"/>
                  <a:gd name="connsiteY54" fmla="*/ 292238 h 531051"/>
                  <a:gd name="connsiteX55" fmla="*/ 1979628 w 4540577"/>
                  <a:gd name="connsiteY55" fmla="*/ 289096 h 531051"/>
                  <a:gd name="connsiteX56" fmla="*/ 2121030 w 4540577"/>
                  <a:gd name="connsiteY56" fmla="*/ 285954 h 531051"/>
                  <a:gd name="connsiteX57" fmla="*/ 2155595 w 4540577"/>
                  <a:gd name="connsiteY57" fmla="*/ 276527 h 531051"/>
                  <a:gd name="connsiteX58" fmla="*/ 2196445 w 4540577"/>
                  <a:gd name="connsiteY58" fmla="*/ 273385 h 531051"/>
                  <a:gd name="connsiteX59" fmla="*/ 2231010 w 4540577"/>
                  <a:gd name="connsiteY59" fmla="*/ 267100 h 531051"/>
                  <a:gd name="connsiteX60" fmla="*/ 2249863 w 4540577"/>
                  <a:gd name="connsiteY60" fmla="*/ 263958 h 531051"/>
                  <a:gd name="connsiteX61" fmla="*/ 2299286 w 4540577"/>
                  <a:gd name="connsiteY61" fmla="*/ 263388 h 531051"/>
                  <a:gd name="connsiteX62" fmla="*/ 2388123 w 4540577"/>
                  <a:gd name="connsiteY62" fmla="*/ 251389 h 531051"/>
                  <a:gd name="connsiteX63" fmla="*/ 2406977 w 4540577"/>
                  <a:gd name="connsiteY63" fmla="*/ 245104 h 531051"/>
                  <a:gd name="connsiteX64" fmla="*/ 2367826 w 4540577"/>
                  <a:gd name="connsiteY64" fmla="*/ 250535 h 531051"/>
                  <a:gd name="connsiteX65" fmla="*/ 2447826 w 4540577"/>
                  <a:gd name="connsiteY65" fmla="*/ 238820 h 531051"/>
                  <a:gd name="connsiteX66" fmla="*/ 2552100 w 4540577"/>
                  <a:gd name="connsiteY66" fmla="*/ 238250 h 531051"/>
                  <a:gd name="connsiteX67" fmla="*/ 2721204 w 4540577"/>
                  <a:gd name="connsiteY67" fmla="*/ 226251 h 531051"/>
                  <a:gd name="connsiteX68" fmla="*/ 2749484 w 4540577"/>
                  <a:gd name="connsiteY68" fmla="*/ 223108 h 531051"/>
                  <a:gd name="connsiteX69" fmla="*/ 2758911 w 4540577"/>
                  <a:gd name="connsiteY69" fmla="*/ 219966 h 531051"/>
                  <a:gd name="connsiteX70" fmla="*/ 2818614 w 4540577"/>
                  <a:gd name="connsiteY70" fmla="*/ 207397 h 531051"/>
                  <a:gd name="connsiteX71" fmla="*/ 2875175 w 4540577"/>
                  <a:gd name="connsiteY71" fmla="*/ 201112 h 531051"/>
                  <a:gd name="connsiteX72" fmla="*/ 2916024 w 4540577"/>
                  <a:gd name="connsiteY72" fmla="*/ 194828 h 531051"/>
                  <a:gd name="connsiteX73" fmla="*/ 2931736 w 4540577"/>
                  <a:gd name="connsiteY73" fmla="*/ 191686 h 531051"/>
                  <a:gd name="connsiteX74" fmla="*/ 3013435 w 4540577"/>
                  <a:gd name="connsiteY74" fmla="*/ 188543 h 531051"/>
                  <a:gd name="connsiteX75" fmla="*/ 3041715 w 4540577"/>
                  <a:gd name="connsiteY75" fmla="*/ 185401 h 531051"/>
                  <a:gd name="connsiteX76" fmla="*/ 3060569 w 4540577"/>
                  <a:gd name="connsiteY76" fmla="*/ 179117 h 531051"/>
                  <a:gd name="connsiteX77" fmla="*/ 3110845 w 4540577"/>
                  <a:gd name="connsiteY77" fmla="*/ 175974 h 531051"/>
                  <a:gd name="connsiteX78" fmla="*/ 3132841 w 4540577"/>
                  <a:gd name="connsiteY78" fmla="*/ 172832 h 531051"/>
                  <a:gd name="connsiteX79" fmla="*/ 3151694 w 4540577"/>
                  <a:gd name="connsiteY79" fmla="*/ 166547 h 531051"/>
                  <a:gd name="connsiteX80" fmla="*/ 3170548 w 4540577"/>
                  <a:gd name="connsiteY80" fmla="*/ 163405 h 531051"/>
                  <a:gd name="connsiteX81" fmla="*/ 3195971 w 4540577"/>
                  <a:gd name="connsiteY81" fmla="*/ 165694 h 531051"/>
                  <a:gd name="connsiteX82" fmla="*/ 3223681 w 4540577"/>
                  <a:gd name="connsiteY82" fmla="*/ 159693 h 531051"/>
                  <a:gd name="connsiteX83" fmla="*/ 3277965 w 4540577"/>
                  <a:gd name="connsiteY83" fmla="*/ 150552 h 531051"/>
                  <a:gd name="connsiteX84" fmla="*/ 3327965 w 4540577"/>
                  <a:gd name="connsiteY84" fmla="*/ 141694 h 531051"/>
                  <a:gd name="connsiteX85" fmla="*/ 3389073 w 4540577"/>
                  <a:gd name="connsiteY85" fmla="*/ 140840 h 531051"/>
                  <a:gd name="connsiteX86" fmla="*/ 3450210 w 4540577"/>
                  <a:gd name="connsiteY86" fmla="*/ 128840 h 531051"/>
                  <a:gd name="connsiteX87" fmla="*/ 3477351 w 4540577"/>
                  <a:gd name="connsiteY87" fmla="*/ 131413 h 531051"/>
                  <a:gd name="connsiteX88" fmla="*/ 3503628 w 4540577"/>
                  <a:gd name="connsiteY88" fmla="*/ 122556 h 531051"/>
                  <a:gd name="connsiteX89" fmla="*/ 3535051 w 4540577"/>
                  <a:gd name="connsiteY89" fmla="*/ 119413 h 531051"/>
                  <a:gd name="connsiteX90" fmla="*/ 3561907 w 4540577"/>
                  <a:gd name="connsiteY90" fmla="*/ 116271 h 531051"/>
                  <a:gd name="connsiteX91" fmla="*/ 3623035 w 4540577"/>
                  <a:gd name="connsiteY91" fmla="*/ 109987 h 531051"/>
                  <a:gd name="connsiteX92" fmla="*/ 3651315 w 4540577"/>
                  <a:gd name="connsiteY92" fmla="*/ 106844 h 531051"/>
                  <a:gd name="connsiteX93" fmla="*/ 3685880 w 4540577"/>
                  <a:gd name="connsiteY93" fmla="*/ 103702 h 531051"/>
                  <a:gd name="connsiteX94" fmla="*/ 3736156 w 4540577"/>
                  <a:gd name="connsiteY94" fmla="*/ 97418 h 531051"/>
                  <a:gd name="connsiteX95" fmla="*/ 3748725 w 4540577"/>
                  <a:gd name="connsiteY95" fmla="*/ 94275 h 531051"/>
                  <a:gd name="connsiteX96" fmla="*/ 3770721 w 4540577"/>
                  <a:gd name="connsiteY96" fmla="*/ 91133 h 531051"/>
                  <a:gd name="connsiteX97" fmla="*/ 3827567 w 4540577"/>
                  <a:gd name="connsiteY97" fmla="*/ 85418 h 531051"/>
                  <a:gd name="connsiteX98" fmla="*/ 3858989 w 4540577"/>
                  <a:gd name="connsiteY98" fmla="*/ 82845 h 531051"/>
                  <a:gd name="connsiteX99" fmla="*/ 3888988 w 4540577"/>
                  <a:gd name="connsiteY99" fmla="*/ 80273 h 531051"/>
                  <a:gd name="connsiteX100" fmla="*/ 3937261 w 4540577"/>
                  <a:gd name="connsiteY100" fmla="*/ 76845 h 531051"/>
                  <a:gd name="connsiteX101" fmla="*/ 3976972 w 4540577"/>
                  <a:gd name="connsiteY101" fmla="*/ 73134 h 531051"/>
                  <a:gd name="connsiteX102" fmla="*/ 3993822 w 4540577"/>
                  <a:gd name="connsiteY102" fmla="*/ 72279 h 531051"/>
                  <a:gd name="connsiteX103" fmla="*/ 4003249 w 4540577"/>
                  <a:gd name="connsiteY103" fmla="*/ 69137 h 531051"/>
                  <a:gd name="connsiteX104" fmla="*/ 4044099 w 4540577"/>
                  <a:gd name="connsiteY104" fmla="*/ 62853 h 531051"/>
                  <a:gd name="connsiteX105" fmla="*/ 4059810 w 4540577"/>
                  <a:gd name="connsiteY105" fmla="*/ 59710 h 531051"/>
                  <a:gd name="connsiteX106" fmla="*/ 4084948 w 4540577"/>
                  <a:gd name="connsiteY106" fmla="*/ 65141 h 531051"/>
                  <a:gd name="connsiteX107" fmla="*/ 4111520 w 4540577"/>
                  <a:gd name="connsiteY107" fmla="*/ 59141 h 531051"/>
                  <a:gd name="connsiteX108" fmla="*/ 4162366 w 4540577"/>
                  <a:gd name="connsiteY108" fmla="*/ 49998 h 531051"/>
                  <a:gd name="connsiteX109" fmla="*/ 4237496 w 4540577"/>
                  <a:gd name="connsiteY109" fmla="*/ 40571 h 531051"/>
                  <a:gd name="connsiteX110" fmla="*/ 4282911 w 4540577"/>
                  <a:gd name="connsiteY110" fmla="*/ 31430 h 531051"/>
                  <a:gd name="connsiteX111" fmla="*/ 4330045 w 4540577"/>
                  <a:gd name="connsiteY111" fmla="*/ 25145 h 531051"/>
                  <a:gd name="connsiteX112" fmla="*/ 4358325 w 4540577"/>
                  <a:gd name="connsiteY112" fmla="*/ 22003 h 531051"/>
                  <a:gd name="connsiteX113" fmla="*/ 4411744 w 4540577"/>
                  <a:gd name="connsiteY113" fmla="*/ 15719 h 531051"/>
                  <a:gd name="connsiteX114" fmla="*/ 4468305 w 4540577"/>
                  <a:gd name="connsiteY114" fmla="*/ 9434 h 531051"/>
                  <a:gd name="connsiteX115" fmla="*/ 4499727 w 4540577"/>
                  <a:gd name="connsiteY115" fmla="*/ 3149 h 531051"/>
                  <a:gd name="connsiteX116" fmla="*/ 4540577 w 4540577"/>
                  <a:gd name="connsiteY116" fmla="*/ 7 h 531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</a:cxnLst>
                <a:rect l="l" t="t" r="r" b="b"/>
                <a:pathLst>
                  <a:path w="4540577" h="531051">
                    <a:moveTo>
                      <a:pt x="0" y="531051"/>
                    </a:moveTo>
                    <a:cubicBezTo>
                      <a:pt x="29403" y="529503"/>
                      <a:pt x="56341" y="529516"/>
                      <a:pt x="84841" y="524766"/>
                    </a:cubicBezTo>
                    <a:cubicBezTo>
                      <a:pt x="89101" y="524056"/>
                      <a:pt x="90887" y="521719"/>
                      <a:pt x="97410" y="521624"/>
                    </a:cubicBezTo>
                    <a:cubicBezTo>
                      <a:pt x="103933" y="521529"/>
                      <a:pt x="111555" y="524815"/>
                      <a:pt x="123982" y="524196"/>
                    </a:cubicBezTo>
                    <a:cubicBezTo>
                      <a:pt x="136409" y="523577"/>
                      <a:pt x="157211" y="520007"/>
                      <a:pt x="171970" y="517912"/>
                    </a:cubicBezTo>
                    <a:cubicBezTo>
                      <a:pt x="186729" y="515817"/>
                      <a:pt x="201395" y="514151"/>
                      <a:pt x="212535" y="511627"/>
                    </a:cubicBezTo>
                    <a:cubicBezTo>
                      <a:pt x="223675" y="509103"/>
                      <a:pt x="226243" y="503817"/>
                      <a:pt x="238812" y="502770"/>
                    </a:cubicBezTo>
                    <a:cubicBezTo>
                      <a:pt x="243002" y="501723"/>
                      <a:pt x="247121" y="500338"/>
                      <a:pt x="251381" y="499628"/>
                    </a:cubicBezTo>
                    <a:cubicBezTo>
                      <a:pt x="273971" y="495863"/>
                      <a:pt x="287327" y="496138"/>
                      <a:pt x="311084" y="493343"/>
                    </a:cubicBezTo>
                    <a:cubicBezTo>
                      <a:pt x="317412" y="492599"/>
                      <a:pt x="323585" y="490690"/>
                      <a:pt x="329938" y="490201"/>
                    </a:cubicBezTo>
                    <a:cubicBezTo>
                      <a:pt x="350851" y="488592"/>
                      <a:pt x="371835" y="488106"/>
                      <a:pt x="392783" y="487059"/>
                    </a:cubicBezTo>
                    <a:cubicBezTo>
                      <a:pt x="399068" y="486012"/>
                      <a:pt x="405389" y="485167"/>
                      <a:pt x="411637" y="483917"/>
                    </a:cubicBezTo>
                    <a:cubicBezTo>
                      <a:pt x="415872" y="483070"/>
                      <a:pt x="419905" y="481165"/>
                      <a:pt x="424206" y="480774"/>
                    </a:cubicBezTo>
                    <a:cubicBezTo>
                      <a:pt x="443011" y="479064"/>
                      <a:pt x="461913" y="478679"/>
                      <a:pt x="480767" y="477632"/>
                    </a:cubicBezTo>
                    <a:cubicBezTo>
                      <a:pt x="489146" y="476585"/>
                      <a:pt x="497575" y="475878"/>
                      <a:pt x="505905" y="474490"/>
                    </a:cubicBezTo>
                    <a:cubicBezTo>
                      <a:pt x="510165" y="473780"/>
                      <a:pt x="514225" y="472120"/>
                      <a:pt x="518474" y="471347"/>
                    </a:cubicBezTo>
                    <a:cubicBezTo>
                      <a:pt x="525761" y="470022"/>
                      <a:pt x="533150" y="469331"/>
                      <a:pt x="540470" y="468205"/>
                    </a:cubicBezTo>
                    <a:cubicBezTo>
                      <a:pt x="546767" y="467236"/>
                      <a:pt x="553026" y="466032"/>
                      <a:pt x="559323" y="465063"/>
                    </a:cubicBezTo>
                    <a:cubicBezTo>
                      <a:pt x="566643" y="463937"/>
                      <a:pt x="574003" y="463076"/>
                      <a:pt x="581319" y="461921"/>
                    </a:cubicBezTo>
                    <a:cubicBezTo>
                      <a:pt x="593905" y="459934"/>
                      <a:pt x="606664" y="458726"/>
                      <a:pt x="619026" y="455636"/>
                    </a:cubicBezTo>
                    <a:cubicBezTo>
                      <a:pt x="623216" y="454589"/>
                      <a:pt x="627327" y="453151"/>
                      <a:pt x="631595" y="452494"/>
                    </a:cubicBezTo>
                    <a:cubicBezTo>
                      <a:pt x="640970" y="451052"/>
                      <a:pt x="650449" y="450399"/>
                      <a:pt x="659876" y="449352"/>
                    </a:cubicBezTo>
                    <a:cubicBezTo>
                      <a:pt x="664066" y="448304"/>
                      <a:pt x="668155" y="446704"/>
                      <a:pt x="672445" y="446209"/>
                    </a:cubicBezTo>
                    <a:cubicBezTo>
                      <a:pt x="695431" y="443557"/>
                      <a:pt x="718752" y="443730"/>
                      <a:pt x="741575" y="439925"/>
                    </a:cubicBezTo>
                    <a:cubicBezTo>
                      <a:pt x="752842" y="438047"/>
                      <a:pt x="771433" y="434797"/>
                      <a:pt x="782424" y="433640"/>
                    </a:cubicBezTo>
                    <a:cubicBezTo>
                      <a:pt x="794968" y="432320"/>
                      <a:pt x="807563" y="431545"/>
                      <a:pt x="820132" y="430498"/>
                    </a:cubicBezTo>
                    <a:cubicBezTo>
                      <a:pt x="823274" y="429451"/>
                      <a:pt x="826299" y="427949"/>
                      <a:pt x="829558" y="427356"/>
                    </a:cubicBezTo>
                    <a:cubicBezTo>
                      <a:pt x="847300" y="424130"/>
                      <a:pt x="880153" y="422255"/>
                      <a:pt x="895546" y="421071"/>
                    </a:cubicBezTo>
                    <a:cubicBezTo>
                      <a:pt x="901152" y="419670"/>
                      <a:pt x="918898" y="415022"/>
                      <a:pt x="923826" y="414787"/>
                    </a:cubicBezTo>
                    <a:cubicBezTo>
                      <a:pt x="962551" y="412943"/>
                      <a:pt x="1001335" y="412692"/>
                      <a:pt x="1040090" y="411644"/>
                    </a:cubicBezTo>
                    <a:cubicBezTo>
                      <a:pt x="1104435" y="400921"/>
                      <a:pt x="974964" y="413994"/>
                      <a:pt x="1143491" y="402503"/>
                    </a:cubicBezTo>
                    <a:cubicBezTo>
                      <a:pt x="1152108" y="401915"/>
                      <a:pt x="1182491" y="400694"/>
                      <a:pt x="1197204" y="399075"/>
                    </a:cubicBezTo>
                    <a:cubicBezTo>
                      <a:pt x="1211917" y="397456"/>
                      <a:pt x="1207647" y="396811"/>
                      <a:pt x="1231769" y="392791"/>
                    </a:cubicBezTo>
                    <a:cubicBezTo>
                      <a:pt x="1234911" y="391743"/>
                      <a:pt x="1237982" y="390451"/>
                      <a:pt x="1241195" y="389648"/>
                    </a:cubicBezTo>
                    <a:cubicBezTo>
                      <a:pt x="1276988" y="380699"/>
                      <a:pt x="1314843" y="384575"/>
                      <a:pt x="1351175" y="383364"/>
                    </a:cubicBezTo>
                    <a:cubicBezTo>
                      <a:pt x="1368018" y="377750"/>
                      <a:pt x="1353566" y="382134"/>
                      <a:pt x="1376313" y="377079"/>
                    </a:cubicBezTo>
                    <a:cubicBezTo>
                      <a:pt x="1380529" y="376142"/>
                      <a:pt x="1384614" y="374594"/>
                      <a:pt x="1388882" y="373937"/>
                    </a:cubicBezTo>
                    <a:cubicBezTo>
                      <a:pt x="1398256" y="372495"/>
                      <a:pt x="1407735" y="371842"/>
                      <a:pt x="1417162" y="370795"/>
                    </a:cubicBezTo>
                    <a:cubicBezTo>
                      <a:pt x="1420304" y="369748"/>
                      <a:pt x="1423376" y="368456"/>
                      <a:pt x="1426589" y="367653"/>
                    </a:cubicBezTo>
                    <a:cubicBezTo>
                      <a:pt x="1444697" y="363126"/>
                      <a:pt x="1456364" y="363076"/>
                      <a:pt x="1476866" y="361368"/>
                    </a:cubicBezTo>
                    <a:cubicBezTo>
                      <a:pt x="1490475" y="360234"/>
                      <a:pt x="1504126" y="359585"/>
                      <a:pt x="1517715" y="358226"/>
                    </a:cubicBezTo>
                    <a:cubicBezTo>
                      <a:pt x="1558474" y="354150"/>
                      <a:pt x="1524078" y="357069"/>
                      <a:pt x="1552280" y="351941"/>
                    </a:cubicBezTo>
                    <a:cubicBezTo>
                      <a:pt x="1559567" y="350616"/>
                      <a:pt x="1566910" y="349574"/>
                      <a:pt x="1574276" y="348799"/>
                    </a:cubicBezTo>
                    <a:cubicBezTo>
                      <a:pt x="1586819" y="347479"/>
                      <a:pt x="1599440" y="346977"/>
                      <a:pt x="1611983" y="345657"/>
                    </a:cubicBezTo>
                    <a:cubicBezTo>
                      <a:pt x="1639847" y="342724"/>
                      <a:pt x="1626297" y="343270"/>
                      <a:pt x="1649690" y="339372"/>
                    </a:cubicBezTo>
                    <a:cubicBezTo>
                      <a:pt x="1656996" y="338154"/>
                      <a:pt x="1664380" y="337448"/>
                      <a:pt x="1671686" y="336230"/>
                    </a:cubicBezTo>
                    <a:cubicBezTo>
                      <a:pt x="1676954" y="335352"/>
                      <a:pt x="1682118" y="333900"/>
                      <a:pt x="1687397" y="333088"/>
                    </a:cubicBezTo>
                    <a:cubicBezTo>
                      <a:pt x="1703934" y="330544"/>
                      <a:pt x="1727874" y="328411"/>
                      <a:pt x="1743958" y="326803"/>
                    </a:cubicBezTo>
                    <a:cubicBezTo>
                      <a:pt x="1761862" y="320836"/>
                      <a:pt x="1748911" y="324468"/>
                      <a:pt x="1778523" y="320519"/>
                    </a:cubicBezTo>
                    <a:lnTo>
                      <a:pt x="1800519" y="317376"/>
                    </a:lnTo>
                    <a:cubicBezTo>
                      <a:pt x="1819004" y="311215"/>
                      <a:pt x="1803991" y="315534"/>
                      <a:pt x="1835084" y="311092"/>
                    </a:cubicBezTo>
                    <a:cubicBezTo>
                      <a:pt x="1884462" y="304038"/>
                      <a:pt x="1816094" y="312154"/>
                      <a:pt x="1882218" y="304807"/>
                    </a:cubicBezTo>
                    <a:cubicBezTo>
                      <a:pt x="1886408" y="303760"/>
                      <a:pt x="1890538" y="302437"/>
                      <a:pt x="1894787" y="301665"/>
                    </a:cubicBezTo>
                    <a:cubicBezTo>
                      <a:pt x="1911440" y="298637"/>
                      <a:pt x="1928288" y="297477"/>
                      <a:pt x="1945063" y="295380"/>
                    </a:cubicBezTo>
                    <a:cubicBezTo>
                      <a:pt x="1952412" y="294461"/>
                      <a:pt x="1959772" y="293563"/>
                      <a:pt x="1967059" y="292238"/>
                    </a:cubicBezTo>
                    <a:cubicBezTo>
                      <a:pt x="1971308" y="291466"/>
                      <a:pt x="1975313" y="289272"/>
                      <a:pt x="1979628" y="289096"/>
                    </a:cubicBezTo>
                    <a:cubicBezTo>
                      <a:pt x="2026734" y="287173"/>
                      <a:pt x="2073896" y="287001"/>
                      <a:pt x="2121030" y="285954"/>
                    </a:cubicBezTo>
                    <a:cubicBezTo>
                      <a:pt x="2131314" y="282525"/>
                      <a:pt x="2146374" y="277236"/>
                      <a:pt x="2155595" y="276527"/>
                    </a:cubicBezTo>
                    <a:lnTo>
                      <a:pt x="2196445" y="273385"/>
                    </a:lnTo>
                    <a:cubicBezTo>
                      <a:pt x="2252094" y="264108"/>
                      <a:pt x="2182624" y="275897"/>
                      <a:pt x="2231010" y="267100"/>
                    </a:cubicBezTo>
                    <a:cubicBezTo>
                      <a:pt x="2237278" y="265960"/>
                      <a:pt x="2243579" y="265005"/>
                      <a:pt x="2249863" y="263958"/>
                    </a:cubicBezTo>
                    <a:cubicBezTo>
                      <a:pt x="2267911" y="257941"/>
                      <a:pt x="2268905" y="265413"/>
                      <a:pt x="2299286" y="263388"/>
                    </a:cubicBezTo>
                    <a:cubicBezTo>
                      <a:pt x="2424835" y="255019"/>
                      <a:pt x="2304457" y="258994"/>
                      <a:pt x="2388123" y="251389"/>
                    </a:cubicBezTo>
                    <a:cubicBezTo>
                      <a:pt x="2394408" y="249294"/>
                      <a:pt x="2410360" y="245246"/>
                      <a:pt x="2406977" y="245104"/>
                    </a:cubicBezTo>
                    <a:cubicBezTo>
                      <a:pt x="2403594" y="244962"/>
                      <a:pt x="2364530" y="250865"/>
                      <a:pt x="2367826" y="250535"/>
                    </a:cubicBezTo>
                    <a:cubicBezTo>
                      <a:pt x="2378300" y="249488"/>
                      <a:pt x="2417114" y="240867"/>
                      <a:pt x="2447826" y="238820"/>
                    </a:cubicBezTo>
                    <a:cubicBezTo>
                      <a:pt x="2478538" y="236773"/>
                      <a:pt x="2517776" y="243732"/>
                      <a:pt x="2552100" y="238250"/>
                    </a:cubicBezTo>
                    <a:cubicBezTo>
                      <a:pt x="2623435" y="226857"/>
                      <a:pt x="2688307" y="228775"/>
                      <a:pt x="2721204" y="226251"/>
                    </a:cubicBezTo>
                    <a:cubicBezTo>
                      <a:pt x="2754101" y="223727"/>
                      <a:pt x="2740057" y="224156"/>
                      <a:pt x="2749484" y="223108"/>
                    </a:cubicBezTo>
                    <a:cubicBezTo>
                      <a:pt x="2752626" y="222061"/>
                      <a:pt x="2755715" y="220838"/>
                      <a:pt x="2758911" y="219966"/>
                    </a:cubicBezTo>
                    <a:cubicBezTo>
                      <a:pt x="2778583" y="214601"/>
                      <a:pt x="2798420" y="210282"/>
                      <a:pt x="2818614" y="207397"/>
                    </a:cubicBezTo>
                    <a:cubicBezTo>
                      <a:pt x="2839361" y="204433"/>
                      <a:pt x="2853843" y="203246"/>
                      <a:pt x="2875175" y="201112"/>
                    </a:cubicBezTo>
                    <a:cubicBezTo>
                      <a:pt x="2896409" y="194035"/>
                      <a:pt x="2875520" y="200228"/>
                      <a:pt x="2916024" y="194828"/>
                    </a:cubicBezTo>
                    <a:cubicBezTo>
                      <a:pt x="2921318" y="194122"/>
                      <a:pt x="2926406" y="192030"/>
                      <a:pt x="2931736" y="191686"/>
                    </a:cubicBezTo>
                    <a:cubicBezTo>
                      <a:pt x="2958933" y="189931"/>
                      <a:pt x="2986202" y="189591"/>
                      <a:pt x="3013435" y="188543"/>
                    </a:cubicBezTo>
                    <a:cubicBezTo>
                      <a:pt x="3022862" y="187496"/>
                      <a:pt x="3032414" y="187261"/>
                      <a:pt x="3041715" y="185401"/>
                    </a:cubicBezTo>
                    <a:cubicBezTo>
                      <a:pt x="3048211" y="184102"/>
                      <a:pt x="3053957" y="179530"/>
                      <a:pt x="3060569" y="179117"/>
                    </a:cubicBezTo>
                    <a:lnTo>
                      <a:pt x="3110845" y="175974"/>
                    </a:lnTo>
                    <a:cubicBezTo>
                      <a:pt x="3118177" y="174927"/>
                      <a:pt x="3125624" y="174497"/>
                      <a:pt x="3132841" y="172832"/>
                    </a:cubicBezTo>
                    <a:cubicBezTo>
                      <a:pt x="3139296" y="171342"/>
                      <a:pt x="3145160" y="167636"/>
                      <a:pt x="3151694" y="166547"/>
                    </a:cubicBezTo>
                    <a:cubicBezTo>
                      <a:pt x="3157979" y="165500"/>
                      <a:pt x="3163169" y="163547"/>
                      <a:pt x="3170548" y="163405"/>
                    </a:cubicBezTo>
                    <a:cubicBezTo>
                      <a:pt x="3177927" y="163263"/>
                      <a:pt x="3187116" y="166313"/>
                      <a:pt x="3195971" y="165694"/>
                    </a:cubicBezTo>
                    <a:cubicBezTo>
                      <a:pt x="3204826" y="165075"/>
                      <a:pt x="3216349" y="160741"/>
                      <a:pt x="3223681" y="159693"/>
                    </a:cubicBezTo>
                    <a:cubicBezTo>
                      <a:pt x="3241749" y="153671"/>
                      <a:pt x="3260584" y="153552"/>
                      <a:pt x="3277965" y="150552"/>
                    </a:cubicBezTo>
                    <a:cubicBezTo>
                      <a:pt x="3295346" y="147552"/>
                      <a:pt x="3309447" y="143313"/>
                      <a:pt x="3327965" y="141694"/>
                    </a:cubicBezTo>
                    <a:cubicBezTo>
                      <a:pt x="3346483" y="140075"/>
                      <a:pt x="3325072" y="143749"/>
                      <a:pt x="3389073" y="140840"/>
                    </a:cubicBezTo>
                    <a:cubicBezTo>
                      <a:pt x="3428393" y="136304"/>
                      <a:pt x="3435497" y="130411"/>
                      <a:pt x="3450210" y="128840"/>
                    </a:cubicBezTo>
                    <a:cubicBezTo>
                      <a:pt x="3464923" y="127269"/>
                      <a:pt x="3472047" y="132037"/>
                      <a:pt x="3477351" y="131413"/>
                    </a:cubicBezTo>
                    <a:cubicBezTo>
                      <a:pt x="3489877" y="129939"/>
                      <a:pt x="3494011" y="124556"/>
                      <a:pt x="3503628" y="122556"/>
                    </a:cubicBezTo>
                    <a:cubicBezTo>
                      <a:pt x="3513245" y="120556"/>
                      <a:pt x="3524577" y="120461"/>
                      <a:pt x="3535051" y="119413"/>
                    </a:cubicBezTo>
                    <a:cubicBezTo>
                      <a:pt x="3539241" y="118366"/>
                      <a:pt x="3557626" y="116842"/>
                      <a:pt x="3561907" y="116271"/>
                    </a:cubicBezTo>
                    <a:cubicBezTo>
                      <a:pt x="3576541" y="114320"/>
                      <a:pt x="3608134" y="111558"/>
                      <a:pt x="3623035" y="109987"/>
                    </a:cubicBezTo>
                    <a:lnTo>
                      <a:pt x="3651315" y="106844"/>
                    </a:lnTo>
                    <a:lnTo>
                      <a:pt x="3685880" y="103702"/>
                    </a:lnTo>
                    <a:cubicBezTo>
                      <a:pt x="3724661" y="95946"/>
                      <a:pt x="3670872" y="106123"/>
                      <a:pt x="3736156" y="97418"/>
                    </a:cubicBezTo>
                    <a:cubicBezTo>
                      <a:pt x="3740437" y="96847"/>
                      <a:pt x="3744476" y="95048"/>
                      <a:pt x="3748725" y="94275"/>
                    </a:cubicBezTo>
                    <a:cubicBezTo>
                      <a:pt x="3756012" y="92950"/>
                      <a:pt x="3763389" y="92180"/>
                      <a:pt x="3770721" y="91133"/>
                    </a:cubicBezTo>
                    <a:cubicBezTo>
                      <a:pt x="3795706" y="82805"/>
                      <a:pt x="3812856" y="86799"/>
                      <a:pt x="3827567" y="85418"/>
                    </a:cubicBezTo>
                    <a:cubicBezTo>
                      <a:pt x="3842278" y="84037"/>
                      <a:pt x="3848515" y="81798"/>
                      <a:pt x="3858989" y="82845"/>
                    </a:cubicBezTo>
                    <a:cubicBezTo>
                      <a:pt x="3864226" y="83893"/>
                      <a:pt x="3875943" y="81273"/>
                      <a:pt x="3888988" y="80273"/>
                    </a:cubicBezTo>
                    <a:cubicBezTo>
                      <a:pt x="3902033" y="79273"/>
                      <a:pt x="3913179" y="82865"/>
                      <a:pt x="3937261" y="76845"/>
                    </a:cubicBezTo>
                    <a:cubicBezTo>
                      <a:pt x="3954666" y="65241"/>
                      <a:pt x="3967545" y="73895"/>
                      <a:pt x="3976972" y="73134"/>
                    </a:cubicBezTo>
                    <a:cubicBezTo>
                      <a:pt x="3986399" y="72373"/>
                      <a:pt x="3989443" y="72945"/>
                      <a:pt x="3993822" y="72279"/>
                    </a:cubicBezTo>
                    <a:cubicBezTo>
                      <a:pt x="3998201" y="71613"/>
                      <a:pt x="4000001" y="69787"/>
                      <a:pt x="4003249" y="69137"/>
                    </a:cubicBezTo>
                    <a:cubicBezTo>
                      <a:pt x="4039288" y="61930"/>
                      <a:pt x="3994611" y="70467"/>
                      <a:pt x="4044099" y="62853"/>
                    </a:cubicBezTo>
                    <a:cubicBezTo>
                      <a:pt x="4049378" y="62041"/>
                      <a:pt x="4053002" y="59329"/>
                      <a:pt x="4059810" y="59710"/>
                    </a:cubicBezTo>
                    <a:cubicBezTo>
                      <a:pt x="4066618" y="60091"/>
                      <a:pt x="4076569" y="66188"/>
                      <a:pt x="4084948" y="65141"/>
                    </a:cubicBezTo>
                    <a:cubicBezTo>
                      <a:pt x="4088090" y="64094"/>
                      <a:pt x="4098617" y="61665"/>
                      <a:pt x="4111520" y="59141"/>
                    </a:cubicBezTo>
                    <a:cubicBezTo>
                      <a:pt x="4124423" y="56617"/>
                      <a:pt x="4147801" y="51322"/>
                      <a:pt x="4162366" y="49998"/>
                    </a:cubicBezTo>
                    <a:cubicBezTo>
                      <a:pt x="4208465" y="50618"/>
                      <a:pt x="4217405" y="43666"/>
                      <a:pt x="4237496" y="40571"/>
                    </a:cubicBezTo>
                    <a:cubicBezTo>
                      <a:pt x="4257587" y="37476"/>
                      <a:pt x="4227523" y="37584"/>
                      <a:pt x="4282911" y="31430"/>
                    </a:cubicBezTo>
                    <a:cubicBezTo>
                      <a:pt x="4304842" y="24121"/>
                      <a:pt x="4286988" y="29246"/>
                      <a:pt x="4330045" y="25145"/>
                    </a:cubicBezTo>
                    <a:cubicBezTo>
                      <a:pt x="4339487" y="24246"/>
                      <a:pt x="4348898" y="23050"/>
                      <a:pt x="4358325" y="22003"/>
                    </a:cubicBezTo>
                    <a:cubicBezTo>
                      <a:pt x="4384694" y="15411"/>
                      <a:pt x="4364848" y="19627"/>
                      <a:pt x="4411744" y="15719"/>
                    </a:cubicBezTo>
                    <a:cubicBezTo>
                      <a:pt x="4448334" y="12670"/>
                      <a:pt x="4438281" y="13723"/>
                      <a:pt x="4468305" y="9434"/>
                    </a:cubicBezTo>
                    <a:cubicBezTo>
                      <a:pt x="4483435" y="4391"/>
                      <a:pt x="4477411" y="5775"/>
                      <a:pt x="4499727" y="3149"/>
                    </a:cubicBezTo>
                    <a:cubicBezTo>
                      <a:pt x="4529089" y="-306"/>
                      <a:pt x="4522172" y="7"/>
                      <a:pt x="4540577" y="7"/>
                    </a:cubicBezTo>
                  </a:path>
                </a:pathLst>
              </a:custGeom>
              <a:noFill/>
              <a:ln w="19050">
                <a:solidFill>
                  <a:srgbClr val="82786F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en-GB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9" name="Freeform 48"/>
              <p:cNvSpPr/>
              <p:nvPr/>
            </p:nvSpPr>
            <p:spPr>
              <a:xfrm>
                <a:off x="1400175" y="3303262"/>
                <a:ext cx="4143375" cy="488641"/>
              </a:xfrm>
              <a:custGeom>
                <a:avLst/>
                <a:gdLst>
                  <a:gd name="connsiteX0" fmla="*/ 0 w 4143375"/>
                  <a:gd name="connsiteY0" fmla="*/ 488641 h 488641"/>
                  <a:gd name="connsiteX1" fmla="*/ 77153 w 4143375"/>
                  <a:gd name="connsiteY1" fmla="*/ 485783 h 488641"/>
                  <a:gd name="connsiteX2" fmla="*/ 85725 w 4143375"/>
                  <a:gd name="connsiteY2" fmla="*/ 482926 h 488641"/>
                  <a:gd name="connsiteX3" fmla="*/ 111443 w 4143375"/>
                  <a:gd name="connsiteY3" fmla="*/ 480068 h 488641"/>
                  <a:gd name="connsiteX4" fmla="*/ 122873 w 4143375"/>
                  <a:gd name="connsiteY4" fmla="*/ 477211 h 488641"/>
                  <a:gd name="connsiteX5" fmla="*/ 140018 w 4143375"/>
                  <a:gd name="connsiteY5" fmla="*/ 468638 h 488641"/>
                  <a:gd name="connsiteX6" fmla="*/ 257175 w 4143375"/>
                  <a:gd name="connsiteY6" fmla="*/ 460066 h 488641"/>
                  <a:gd name="connsiteX7" fmla="*/ 345758 w 4143375"/>
                  <a:gd name="connsiteY7" fmla="*/ 457208 h 488641"/>
                  <a:gd name="connsiteX8" fmla="*/ 365760 w 4143375"/>
                  <a:gd name="connsiteY8" fmla="*/ 451493 h 488641"/>
                  <a:gd name="connsiteX9" fmla="*/ 431483 w 4143375"/>
                  <a:gd name="connsiteY9" fmla="*/ 448636 h 488641"/>
                  <a:gd name="connsiteX10" fmla="*/ 491490 w 4143375"/>
                  <a:gd name="connsiteY10" fmla="*/ 440063 h 488641"/>
                  <a:gd name="connsiteX11" fmla="*/ 511493 w 4143375"/>
                  <a:gd name="connsiteY11" fmla="*/ 437206 h 488641"/>
                  <a:gd name="connsiteX12" fmla="*/ 537210 w 4143375"/>
                  <a:gd name="connsiteY12" fmla="*/ 434348 h 488641"/>
                  <a:gd name="connsiteX13" fmla="*/ 545783 w 4143375"/>
                  <a:gd name="connsiteY13" fmla="*/ 431491 h 488641"/>
                  <a:gd name="connsiteX14" fmla="*/ 594360 w 4143375"/>
                  <a:gd name="connsiteY14" fmla="*/ 425776 h 488641"/>
                  <a:gd name="connsiteX15" fmla="*/ 617220 w 4143375"/>
                  <a:gd name="connsiteY15" fmla="*/ 422918 h 488641"/>
                  <a:gd name="connsiteX16" fmla="*/ 654368 w 4143375"/>
                  <a:gd name="connsiteY16" fmla="*/ 420061 h 488641"/>
                  <a:gd name="connsiteX17" fmla="*/ 700088 w 4143375"/>
                  <a:gd name="connsiteY17" fmla="*/ 414346 h 488641"/>
                  <a:gd name="connsiteX18" fmla="*/ 762953 w 4143375"/>
                  <a:gd name="connsiteY18" fmla="*/ 408631 h 488641"/>
                  <a:gd name="connsiteX19" fmla="*/ 797243 w 4143375"/>
                  <a:gd name="connsiteY19" fmla="*/ 402916 h 488641"/>
                  <a:gd name="connsiteX20" fmla="*/ 808673 w 4143375"/>
                  <a:gd name="connsiteY20" fmla="*/ 400058 h 488641"/>
                  <a:gd name="connsiteX21" fmla="*/ 845820 w 4143375"/>
                  <a:gd name="connsiteY21" fmla="*/ 394343 h 488641"/>
                  <a:gd name="connsiteX22" fmla="*/ 854393 w 4143375"/>
                  <a:gd name="connsiteY22" fmla="*/ 391486 h 488641"/>
                  <a:gd name="connsiteX23" fmla="*/ 937260 w 4143375"/>
                  <a:gd name="connsiteY23" fmla="*/ 385771 h 488641"/>
                  <a:gd name="connsiteX24" fmla="*/ 1020128 w 4143375"/>
                  <a:gd name="connsiteY24" fmla="*/ 380056 h 488641"/>
                  <a:gd name="connsiteX25" fmla="*/ 1037273 w 4143375"/>
                  <a:gd name="connsiteY25" fmla="*/ 374341 h 488641"/>
                  <a:gd name="connsiteX26" fmla="*/ 1082993 w 4143375"/>
                  <a:gd name="connsiteY26" fmla="*/ 368626 h 488641"/>
                  <a:gd name="connsiteX27" fmla="*/ 1094423 w 4143375"/>
                  <a:gd name="connsiteY27" fmla="*/ 365768 h 488641"/>
                  <a:gd name="connsiteX28" fmla="*/ 1137285 w 4143375"/>
                  <a:gd name="connsiteY28" fmla="*/ 360053 h 488641"/>
                  <a:gd name="connsiteX29" fmla="*/ 1148715 w 4143375"/>
                  <a:gd name="connsiteY29" fmla="*/ 357196 h 488641"/>
                  <a:gd name="connsiteX30" fmla="*/ 1200150 w 4143375"/>
                  <a:gd name="connsiteY30" fmla="*/ 351481 h 488641"/>
                  <a:gd name="connsiteX31" fmla="*/ 1220153 w 4143375"/>
                  <a:gd name="connsiteY31" fmla="*/ 348623 h 488641"/>
                  <a:gd name="connsiteX32" fmla="*/ 1234440 w 4143375"/>
                  <a:gd name="connsiteY32" fmla="*/ 345766 h 488641"/>
                  <a:gd name="connsiteX33" fmla="*/ 1297305 w 4143375"/>
                  <a:gd name="connsiteY33" fmla="*/ 342908 h 488641"/>
                  <a:gd name="connsiteX34" fmla="*/ 1311593 w 4143375"/>
                  <a:gd name="connsiteY34" fmla="*/ 340051 h 488641"/>
                  <a:gd name="connsiteX35" fmla="*/ 1345883 w 4143375"/>
                  <a:gd name="connsiteY35" fmla="*/ 337193 h 488641"/>
                  <a:gd name="connsiteX36" fmla="*/ 1374458 w 4143375"/>
                  <a:gd name="connsiteY36" fmla="*/ 334336 h 488641"/>
                  <a:gd name="connsiteX37" fmla="*/ 1465898 w 4143375"/>
                  <a:gd name="connsiteY37" fmla="*/ 325763 h 488641"/>
                  <a:gd name="connsiteX38" fmla="*/ 1491615 w 4143375"/>
                  <a:gd name="connsiteY38" fmla="*/ 322906 h 488641"/>
                  <a:gd name="connsiteX39" fmla="*/ 1505903 w 4143375"/>
                  <a:gd name="connsiteY39" fmla="*/ 320048 h 488641"/>
                  <a:gd name="connsiteX40" fmla="*/ 1537335 w 4143375"/>
                  <a:gd name="connsiteY40" fmla="*/ 317191 h 488641"/>
                  <a:gd name="connsiteX41" fmla="*/ 1563053 w 4143375"/>
                  <a:gd name="connsiteY41" fmla="*/ 311476 h 488641"/>
                  <a:gd name="connsiteX42" fmla="*/ 1583055 w 4143375"/>
                  <a:gd name="connsiteY42" fmla="*/ 308618 h 488641"/>
                  <a:gd name="connsiteX43" fmla="*/ 1657350 w 4143375"/>
                  <a:gd name="connsiteY43" fmla="*/ 305761 h 488641"/>
                  <a:gd name="connsiteX44" fmla="*/ 1691640 w 4143375"/>
                  <a:gd name="connsiteY44" fmla="*/ 300046 h 488641"/>
                  <a:gd name="connsiteX45" fmla="*/ 1717358 w 4143375"/>
                  <a:gd name="connsiteY45" fmla="*/ 294331 h 488641"/>
                  <a:gd name="connsiteX46" fmla="*/ 1745933 w 4143375"/>
                  <a:gd name="connsiteY46" fmla="*/ 285758 h 488641"/>
                  <a:gd name="connsiteX47" fmla="*/ 1760220 w 4143375"/>
                  <a:gd name="connsiteY47" fmla="*/ 282901 h 488641"/>
                  <a:gd name="connsiteX48" fmla="*/ 1851660 w 4143375"/>
                  <a:gd name="connsiteY48" fmla="*/ 277186 h 488641"/>
                  <a:gd name="connsiteX49" fmla="*/ 1874520 w 4143375"/>
                  <a:gd name="connsiteY49" fmla="*/ 274328 h 488641"/>
                  <a:gd name="connsiteX50" fmla="*/ 1888808 w 4143375"/>
                  <a:gd name="connsiteY50" fmla="*/ 271471 h 488641"/>
                  <a:gd name="connsiteX51" fmla="*/ 1911668 w 4143375"/>
                  <a:gd name="connsiteY51" fmla="*/ 268613 h 488641"/>
                  <a:gd name="connsiteX52" fmla="*/ 1920240 w 4143375"/>
                  <a:gd name="connsiteY52" fmla="*/ 265756 h 488641"/>
                  <a:gd name="connsiteX53" fmla="*/ 1960245 w 4143375"/>
                  <a:gd name="connsiteY53" fmla="*/ 260041 h 488641"/>
                  <a:gd name="connsiteX54" fmla="*/ 1980248 w 4143375"/>
                  <a:gd name="connsiteY54" fmla="*/ 254326 h 488641"/>
                  <a:gd name="connsiteX55" fmla="*/ 2088833 w 4143375"/>
                  <a:gd name="connsiteY55" fmla="*/ 248611 h 488641"/>
                  <a:gd name="connsiteX56" fmla="*/ 2105978 w 4143375"/>
                  <a:gd name="connsiteY56" fmla="*/ 242896 h 488641"/>
                  <a:gd name="connsiteX57" fmla="*/ 2125980 w 4143375"/>
                  <a:gd name="connsiteY57" fmla="*/ 237181 h 488641"/>
                  <a:gd name="connsiteX58" fmla="*/ 2177415 w 4143375"/>
                  <a:gd name="connsiteY58" fmla="*/ 231466 h 488641"/>
                  <a:gd name="connsiteX59" fmla="*/ 2205990 w 4143375"/>
                  <a:gd name="connsiteY59" fmla="*/ 225751 h 488641"/>
                  <a:gd name="connsiteX60" fmla="*/ 2223135 w 4143375"/>
                  <a:gd name="connsiteY60" fmla="*/ 222893 h 488641"/>
                  <a:gd name="connsiteX61" fmla="*/ 2237423 w 4143375"/>
                  <a:gd name="connsiteY61" fmla="*/ 220036 h 488641"/>
                  <a:gd name="connsiteX62" fmla="*/ 2286000 w 4143375"/>
                  <a:gd name="connsiteY62" fmla="*/ 217178 h 488641"/>
                  <a:gd name="connsiteX63" fmla="*/ 2323148 w 4143375"/>
                  <a:gd name="connsiteY63" fmla="*/ 214321 h 488641"/>
                  <a:gd name="connsiteX64" fmla="*/ 2337435 w 4143375"/>
                  <a:gd name="connsiteY64" fmla="*/ 211463 h 488641"/>
                  <a:gd name="connsiteX65" fmla="*/ 2360295 w 4143375"/>
                  <a:gd name="connsiteY65" fmla="*/ 205748 h 488641"/>
                  <a:gd name="connsiteX66" fmla="*/ 2417445 w 4143375"/>
                  <a:gd name="connsiteY66" fmla="*/ 202891 h 488641"/>
                  <a:gd name="connsiteX67" fmla="*/ 2426018 w 4143375"/>
                  <a:gd name="connsiteY67" fmla="*/ 200033 h 488641"/>
                  <a:gd name="connsiteX68" fmla="*/ 2460308 w 4143375"/>
                  <a:gd name="connsiteY68" fmla="*/ 194318 h 488641"/>
                  <a:gd name="connsiteX69" fmla="*/ 2486025 w 4143375"/>
                  <a:gd name="connsiteY69" fmla="*/ 188603 h 488641"/>
                  <a:gd name="connsiteX70" fmla="*/ 2508885 w 4143375"/>
                  <a:gd name="connsiteY70" fmla="*/ 185746 h 488641"/>
                  <a:gd name="connsiteX71" fmla="*/ 2551748 w 4143375"/>
                  <a:gd name="connsiteY71" fmla="*/ 180031 h 488641"/>
                  <a:gd name="connsiteX72" fmla="*/ 2631758 w 4143375"/>
                  <a:gd name="connsiteY72" fmla="*/ 177173 h 488641"/>
                  <a:gd name="connsiteX73" fmla="*/ 2640330 w 4143375"/>
                  <a:gd name="connsiteY73" fmla="*/ 174316 h 488641"/>
                  <a:gd name="connsiteX74" fmla="*/ 2651760 w 4143375"/>
                  <a:gd name="connsiteY74" fmla="*/ 171458 h 488641"/>
                  <a:gd name="connsiteX75" fmla="*/ 2671763 w 4143375"/>
                  <a:gd name="connsiteY75" fmla="*/ 162886 h 488641"/>
                  <a:gd name="connsiteX76" fmla="*/ 2766060 w 4143375"/>
                  <a:gd name="connsiteY76" fmla="*/ 157171 h 488641"/>
                  <a:gd name="connsiteX77" fmla="*/ 2788920 w 4143375"/>
                  <a:gd name="connsiteY77" fmla="*/ 154313 h 488641"/>
                  <a:gd name="connsiteX78" fmla="*/ 2828925 w 4143375"/>
                  <a:gd name="connsiteY78" fmla="*/ 151456 h 488641"/>
                  <a:gd name="connsiteX79" fmla="*/ 2840355 w 4143375"/>
                  <a:gd name="connsiteY79" fmla="*/ 148598 h 488641"/>
                  <a:gd name="connsiteX80" fmla="*/ 2863215 w 4143375"/>
                  <a:gd name="connsiteY80" fmla="*/ 145741 h 488641"/>
                  <a:gd name="connsiteX81" fmla="*/ 2920365 w 4143375"/>
                  <a:gd name="connsiteY81" fmla="*/ 140026 h 488641"/>
                  <a:gd name="connsiteX82" fmla="*/ 2948940 w 4143375"/>
                  <a:gd name="connsiteY82" fmla="*/ 134311 h 488641"/>
                  <a:gd name="connsiteX83" fmla="*/ 2957513 w 4143375"/>
                  <a:gd name="connsiteY83" fmla="*/ 131453 h 488641"/>
                  <a:gd name="connsiteX84" fmla="*/ 2986088 w 4143375"/>
                  <a:gd name="connsiteY84" fmla="*/ 125738 h 488641"/>
                  <a:gd name="connsiteX85" fmla="*/ 3020378 w 4143375"/>
                  <a:gd name="connsiteY85" fmla="*/ 120023 h 488641"/>
                  <a:gd name="connsiteX86" fmla="*/ 3060383 w 4143375"/>
                  <a:gd name="connsiteY86" fmla="*/ 114308 h 488641"/>
                  <a:gd name="connsiteX87" fmla="*/ 3106103 w 4143375"/>
                  <a:gd name="connsiteY87" fmla="*/ 108593 h 488641"/>
                  <a:gd name="connsiteX88" fmla="*/ 3143250 w 4143375"/>
                  <a:gd name="connsiteY88" fmla="*/ 102878 h 488641"/>
                  <a:gd name="connsiteX89" fmla="*/ 3163253 w 4143375"/>
                  <a:gd name="connsiteY89" fmla="*/ 100021 h 488641"/>
                  <a:gd name="connsiteX90" fmla="*/ 3240405 w 4143375"/>
                  <a:gd name="connsiteY90" fmla="*/ 94306 h 488641"/>
                  <a:gd name="connsiteX91" fmla="*/ 3248978 w 4143375"/>
                  <a:gd name="connsiteY91" fmla="*/ 91448 h 488641"/>
                  <a:gd name="connsiteX92" fmla="*/ 3297555 w 4143375"/>
                  <a:gd name="connsiteY92" fmla="*/ 85733 h 488641"/>
                  <a:gd name="connsiteX93" fmla="*/ 3308985 w 4143375"/>
                  <a:gd name="connsiteY93" fmla="*/ 82876 h 488641"/>
                  <a:gd name="connsiteX94" fmla="*/ 3363278 w 4143375"/>
                  <a:gd name="connsiteY94" fmla="*/ 77161 h 488641"/>
                  <a:gd name="connsiteX95" fmla="*/ 3377565 w 4143375"/>
                  <a:gd name="connsiteY95" fmla="*/ 74303 h 488641"/>
                  <a:gd name="connsiteX96" fmla="*/ 3443288 w 4143375"/>
                  <a:gd name="connsiteY96" fmla="*/ 68588 h 488641"/>
                  <a:gd name="connsiteX97" fmla="*/ 3540443 w 4143375"/>
                  <a:gd name="connsiteY97" fmla="*/ 62873 h 488641"/>
                  <a:gd name="connsiteX98" fmla="*/ 3554730 w 4143375"/>
                  <a:gd name="connsiteY98" fmla="*/ 60016 h 488641"/>
                  <a:gd name="connsiteX99" fmla="*/ 3614738 w 4143375"/>
                  <a:gd name="connsiteY99" fmla="*/ 57158 h 488641"/>
                  <a:gd name="connsiteX100" fmla="*/ 3640455 w 4143375"/>
                  <a:gd name="connsiteY100" fmla="*/ 54301 h 488641"/>
                  <a:gd name="connsiteX101" fmla="*/ 3651885 w 4143375"/>
                  <a:gd name="connsiteY101" fmla="*/ 51443 h 488641"/>
                  <a:gd name="connsiteX102" fmla="*/ 3680460 w 4143375"/>
                  <a:gd name="connsiteY102" fmla="*/ 48586 h 488641"/>
                  <a:gd name="connsiteX103" fmla="*/ 3700463 w 4143375"/>
                  <a:gd name="connsiteY103" fmla="*/ 45728 h 488641"/>
                  <a:gd name="connsiteX104" fmla="*/ 3711893 w 4143375"/>
                  <a:gd name="connsiteY104" fmla="*/ 42871 h 488641"/>
                  <a:gd name="connsiteX105" fmla="*/ 3766185 w 4143375"/>
                  <a:gd name="connsiteY105" fmla="*/ 37156 h 488641"/>
                  <a:gd name="connsiteX106" fmla="*/ 3774758 w 4143375"/>
                  <a:gd name="connsiteY106" fmla="*/ 34298 h 488641"/>
                  <a:gd name="connsiteX107" fmla="*/ 3823335 w 4143375"/>
                  <a:gd name="connsiteY107" fmla="*/ 28583 h 488641"/>
                  <a:gd name="connsiteX108" fmla="*/ 3897630 w 4143375"/>
                  <a:gd name="connsiteY108" fmla="*/ 22868 h 488641"/>
                  <a:gd name="connsiteX109" fmla="*/ 3929063 w 4143375"/>
                  <a:gd name="connsiteY109" fmla="*/ 20011 h 488641"/>
                  <a:gd name="connsiteX110" fmla="*/ 3974783 w 4143375"/>
                  <a:gd name="connsiteY110" fmla="*/ 14296 h 488641"/>
                  <a:gd name="connsiteX111" fmla="*/ 4066223 w 4143375"/>
                  <a:gd name="connsiteY111" fmla="*/ 11438 h 488641"/>
                  <a:gd name="connsiteX112" fmla="*/ 4109085 w 4143375"/>
                  <a:gd name="connsiteY112" fmla="*/ 2866 h 488641"/>
                  <a:gd name="connsiteX113" fmla="*/ 4143375 w 4143375"/>
                  <a:gd name="connsiteY113" fmla="*/ 8 h 488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</a:cxnLst>
                <a:rect l="l" t="t" r="r" b="b"/>
                <a:pathLst>
                  <a:path w="4143375" h="488641">
                    <a:moveTo>
                      <a:pt x="0" y="488641"/>
                    </a:moveTo>
                    <a:cubicBezTo>
                      <a:pt x="25718" y="487688"/>
                      <a:pt x="51475" y="487495"/>
                      <a:pt x="77153" y="485783"/>
                    </a:cubicBezTo>
                    <a:cubicBezTo>
                      <a:pt x="80158" y="485583"/>
                      <a:pt x="82754" y="483421"/>
                      <a:pt x="85725" y="482926"/>
                    </a:cubicBezTo>
                    <a:cubicBezTo>
                      <a:pt x="94233" y="481508"/>
                      <a:pt x="102870" y="481021"/>
                      <a:pt x="111443" y="480068"/>
                    </a:cubicBezTo>
                    <a:cubicBezTo>
                      <a:pt x="115253" y="479116"/>
                      <a:pt x="119263" y="478758"/>
                      <a:pt x="122873" y="477211"/>
                    </a:cubicBezTo>
                    <a:cubicBezTo>
                      <a:pt x="136023" y="471576"/>
                      <a:pt x="126370" y="471047"/>
                      <a:pt x="140018" y="468638"/>
                    </a:cubicBezTo>
                    <a:cubicBezTo>
                      <a:pt x="189144" y="459968"/>
                      <a:pt x="197809" y="462113"/>
                      <a:pt x="257175" y="460066"/>
                    </a:cubicBezTo>
                    <a:lnTo>
                      <a:pt x="345758" y="457208"/>
                    </a:lnTo>
                    <a:cubicBezTo>
                      <a:pt x="350584" y="455599"/>
                      <a:pt x="361151" y="451834"/>
                      <a:pt x="365760" y="451493"/>
                    </a:cubicBezTo>
                    <a:cubicBezTo>
                      <a:pt x="387628" y="449873"/>
                      <a:pt x="409575" y="449588"/>
                      <a:pt x="431483" y="448636"/>
                    </a:cubicBezTo>
                    <a:lnTo>
                      <a:pt x="491490" y="440063"/>
                    </a:lnTo>
                    <a:cubicBezTo>
                      <a:pt x="498158" y="439110"/>
                      <a:pt x="504799" y="437950"/>
                      <a:pt x="511493" y="437206"/>
                    </a:cubicBezTo>
                    <a:lnTo>
                      <a:pt x="537210" y="434348"/>
                    </a:lnTo>
                    <a:cubicBezTo>
                      <a:pt x="540068" y="433396"/>
                      <a:pt x="542843" y="432144"/>
                      <a:pt x="545783" y="431491"/>
                    </a:cubicBezTo>
                    <a:cubicBezTo>
                      <a:pt x="562757" y="427719"/>
                      <a:pt x="576312" y="427676"/>
                      <a:pt x="594360" y="425776"/>
                    </a:cubicBezTo>
                    <a:cubicBezTo>
                      <a:pt x="601997" y="424972"/>
                      <a:pt x="609575" y="423646"/>
                      <a:pt x="617220" y="422918"/>
                    </a:cubicBezTo>
                    <a:cubicBezTo>
                      <a:pt x="629583" y="421741"/>
                      <a:pt x="641995" y="421137"/>
                      <a:pt x="654368" y="420061"/>
                    </a:cubicBezTo>
                    <a:cubicBezTo>
                      <a:pt x="710579" y="415173"/>
                      <a:pt x="660263" y="419656"/>
                      <a:pt x="700088" y="414346"/>
                    </a:cubicBezTo>
                    <a:cubicBezTo>
                      <a:pt x="723173" y="411268"/>
                      <a:pt x="738769" y="410491"/>
                      <a:pt x="762953" y="408631"/>
                    </a:cubicBezTo>
                    <a:cubicBezTo>
                      <a:pt x="774383" y="406726"/>
                      <a:pt x="786001" y="405727"/>
                      <a:pt x="797243" y="402916"/>
                    </a:cubicBezTo>
                    <a:cubicBezTo>
                      <a:pt x="801053" y="401963"/>
                      <a:pt x="804809" y="400761"/>
                      <a:pt x="808673" y="400058"/>
                    </a:cubicBezTo>
                    <a:cubicBezTo>
                      <a:pt x="821243" y="397773"/>
                      <a:pt x="833359" y="397112"/>
                      <a:pt x="845820" y="394343"/>
                    </a:cubicBezTo>
                    <a:cubicBezTo>
                      <a:pt x="848760" y="393690"/>
                      <a:pt x="851416" y="391944"/>
                      <a:pt x="854393" y="391486"/>
                    </a:cubicBezTo>
                    <a:cubicBezTo>
                      <a:pt x="876216" y="388129"/>
                      <a:pt x="920330" y="386662"/>
                      <a:pt x="937260" y="385771"/>
                    </a:cubicBezTo>
                    <a:cubicBezTo>
                      <a:pt x="976410" y="375982"/>
                      <a:pt x="916851" y="390050"/>
                      <a:pt x="1020128" y="380056"/>
                    </a:cubicBezTo>
                    <a:cubicBezTo>
                      <a:pt x="1026124" y="379476"/>
                      <a:pt x="1031309" y="375193"/>
                      <a:pt x="1037273" y="374341"/>
                    </a:cubicBezTo>
                    <a:cubicBezTo>
                      <a:pt x="1065814" y="370263"/>
                      <a:pt x="1050581" y="372227"/>
                      <a:pt x="1082993" y="368626"/>
                    </a:cubicBezTo>
                    <a:cubicBezTo>
                      <a:pt x="1086803" y="367673"/>
                      <a:pt x="1090572" y="366538"/>
                      <a:pt x="1094423" y="365768"/>
                    </a:cubicBezTo>
                    <a:cubicBezTo>
                      <a:pt x="1110445" y="362564"/>
                      <a:pt x="1120146" y="361958"/>
                      <a:pt x="1137285" y="360053"/>
                    </a:cubicBezTo>
                    <a:cubicBezTo>
                      <a:pt x="1141095" y="359101"/>
                      <a:pt x="1144851" y="357899"/>
                      <a:pt x="1148715" y="357196"/>
                    </a:cubicBezTo>
                    <a:cubicBezTo>
                      <a:pt x="1169363" y="353442"/>
                      <a:pt x="1177270" y="354023"/>
                      <a:pt x="1200150" y="351481"/>
                    </a:cubicBezTo>
                    <a:cubicBezTo>
                      <a:pt x="1206844" y="350737"/>
                      <a:pt x="1213509" y="349730"/>
                      <a:pt x="1220153" y="348623"/>
                    </a:cubicBezTo>
                    <a:cubicBezTo>
                      <a:pt x="1224944" y="347825"/>
                      <a:pt x="1229597" y="346125"/>
                      <a:pt x="1234440" y="345766"/>
                    </a:cubicBezTo>
                    <a:cubicBezTo>
                      <a:pt x="1255359" y="344216"/>
                      <a:pt x="1276350" y="343861"/>
                      <a:pt x="1297305" y="342908"/>
                    </a:cubicBezTo>
                    <a:cubicBezTo>
                      <a:pt x="1302068" y="341956"/>
                      <a:pt x="1306769" y="340618"/>
                      <a:pt x="1311593" y="340051"/>
                    </a:cubicBezTo>
                    <a:cubicBezTo>
                      <a:pt x="1322984" y="338711"/>
                      <a:pt x="1334460" y="338231"/>
                      <a:pt x="1345883" y="337193"/>
                    </a:cubicBezTo>
                    <a:lnTo>
                      <a:pt x="1374458" y="334336"/>
                    </a:lnTo>
                    <a:cubicBezTo>
                      <a:pt x="1420459" y="325134"/>
                      <a:pt x="1349775" y="338664"/>
                      <a:pt x="1465898" y="325763"/>
                    </a:cubicBezTo>
                    <a:cubicBezTo>
                      <a:pt x="1474470" y="324811"/>
                      <a:pt x="1483077" y="324126"/>
                      <a:pt x="1491615" y="322906"/>
                    </a:cubicBezTo>
                    <a:cubicBezTo>
                      <a:pt x="1496423" y="322219"/>
                      <a:pt x="1501083" y="320650"/>
                      <a:pt x="1505903" y="320048"/>
                    </a:cubicBezTo>
                    <a:cubicBezTo>
                      <a:pt x="1516342" y="318743"/>
                      <a:pt x="1526858" y="318143"/>
                      <a:pt x="1537335" y="317191"/>
                    </a:cubicBezTo>
                    <a:cubicBezTo>
                      <a:pt x="1547620" y="314619"/>
                      <a:pt x="1552157" y="313292"/>
                      <a:pt x="1563053" y="311476"/>
                    </a:cubicBezTo>
                    <a:cubicBezTo>
                      <a:pt x="1569696" y="310369"/>
                      <a:pt x="1576332" y="309025"/>
                      <a:pt x="1583055" y="308618"/>
                    </a:cubicBezTo>
                    <a:cubicBezTo>
                      <a:pt x="1607793" y="307119"/>
                      <a:pt x="1632585" y="306713"/>
                      <a:pt x="1657350" y="305761"/>
                    </a:cubicBezTo>
                    <a:cubicBezTo>
                      <a:pt x="1668780" y="303856"/>
                      <a:pt x="1680647" y="303711"/>
                      <a:pt x="1691640" y="300046"/>
                    </a:cubicBezTo>
                    <a:cubicBezTo>
                      <a:pt x="1705709" y="295356"/>
                      <a:pt x="1697242" y="297683"/>
                      <a:pt x="1717358" y="294331"/>
                    </a:cubicBezTo>
                    <a:cubicBezTo>
                      <a:pt x="1731595" y="289585"/>
                      <a:pt x="1732984" y="288636"/>
                      <a:pt x="1745933" y="285758"/>
                    </a:cubicBezTo>
                    <a:cubicBezTo>
                      <a:pt x="1750674" y="284704"/>
                      <a:pt x="1755390" y="283409"/>
                      <a:pt x="1760220" y="282901"/>
                    </a:cubicBezTo>
                    <a:cubicBezTo>
                      <a:pt x="1778486" y="280978"/>
                      <a:pt x="1836798" y="278012"/>
                      <a:pt x="1851660" y="277186"/>
                    </a:cubicBezTo>
                    <a:cubicBezTo>
                      <a:pt x="1859280" y="276233"/>
                      <a:pt x="1866930" y="275496"/>
                      <a:pt x="1874520" y="274328"/>
                    </a:cubicBezTo>
                    <a:cubicBezTo>
                      <a:pt x="1879320" y="273589"/>
                      <a:pt x="1884008" y="272210"/>
                      <a:pt x="1888808" y="271471"/>
                    </a:cubicBezTo>
                    <a:cubicBezTo>
                      <a:pt x="1896398" y="270303"/>
                      <a:pt x="1904048" y="269566"/>
                      <a:pt x="1911668" y="268613"/>
                    </a:cubicBezTo>
                    <a:cubicBezTo>
                      <a:pt x="1914525" y="267661"/>
                      <a:pt x="1917318" y="266486"/>
                      <a:pt x="1920240" y="265756"/>
                    </a:cubicBezTo>
                    <a:cubicBezTo>
                      <a:pt x="1934803" y="262115"/>
                      <a:pt x="1944232" y="261820"/>
                      <a:pt x="1960245" y="260041"/>
                    </a:cubicBezTo>
                    <a:cubicBezTo>
                      <a:pt x="1967594" y="257591"/>
                      <a:pt x="1972348" y="255762"/>
                      <a:pt x="1980248" y="254326"/>
                    </a:cubicBezTo>
                    <a:cubicBezTo>
                      <a:pt x="2016676" y="247703"/>
                      <a:pt x="2049753" y="249871"/>
                      <a:pt x="2088833" y="248611"/>
                    </a:cubicBezTo>
                    <a:lnTo>
                      <a:pt x="2105978" y="242896"/>
                    </a:lnTo>
                    <a:cubicBezTo>
                      <a:pt x="2113330" y="240445"/>
                      <a:pt x="2118076" y="238618"/>
                      <a:pt x="2125980" y="237181"/>
                    </a:cubicBezTo>
                    <a:cubicBezTo>
                      <a:pt x="2143371" y="234019"/>
                      <a:pt x="2159622" y="233083"/>
                      <a:pt x="2177415" y="231466"/>
                    </a:cubicBezTo>
                    <a:cubicBezTo>
                      <a:pt x="2193008" y="226268"/>
                      <a:pt x="2181596" y="229504"/>
                      <a:pt x="2205990" y="225751"/>
                    </a:cubicBezTo>
                    <a:cubicBezTo>
                      <a:pt x="2211716" y="224870"/>
                      <a:pt x="2217435" y="223929"/>
                      <a:pt x="2223135" y="222893"/>
                    </a:cubicBezTo>
                    <a:cubicBezTo>
                      <a:pt x="2227914" y="222024"/>
                      <a:pt x="2232586" y="220476"/>
                      <a:pt x="2237423" y="220036"/>
                    </a:cubicBezTo>
                    <a:cubicBezTo>
                      <a:pt x="2253577" y="218567"/>
                      <a:pt x="2269816" y="218257"/>
                      <a:pt x="2286000" y="217178"/>
                    </a:cubicBezTo>
                    <a:cubicBezTo>
                      <a:pt x="2298392" y="216352"/>
                      <a:pt x="2310765" y="215273"/>
                      <a:pt x="2323148" y="214321"/>
                    </a:cubicBezTo>
                    <a:cubicBezTo>
                      <a:pt x="2327910" y="213368"/>
                      <a:pt x="2332703" y="212555"/>
                      <a:pt x="2337435" y="211463"/>
                    </a:cubicBezTo>
                    <a:cubicBezTo>
                      <a:pt x="2345088" y="209697"/>
                      <a:pt x="2352450" y="206140"/>
                      <a:pt x="2360295" y="205748"/>
                    </a:cubicBezTo>
                    <a:lnTo>
                      <a:pt x="2417445" y="202891"/>
                    </a:lnTo>
                    <a:cubicBezTo>
                      <a:pt x="2420303" y="201938"/>
                      <a:pt x="2423096" y="200764"/>
                      <a:pt x="2426018" y="200033"/>
                    </a:cubicBezTo>
                    <a:cubicBezTo>
                      <a:pt x="2441797" y="196088"/>
                      <a:pt x="2442587" y="197540"/>
                      <a:pt x="2460308" y="194318"/>
                    </a:cubicBezTo>
                    <a:cubicBezTo>
                      <a:pt x="2491553" y="188637"/>
                      <a:pt x="2449209" y="194267"/>
                      <a:pt x="2486025" y="188603"/>
                    </a:cubicBezTo>
                    <a:cubicBezTo>
                      <a:pt x="2493615" y="187435"/>
                      <a:pt x="2501265" y="186698"/>
                      <a:pt x="2508885" y="185746"/>
                    </a:cubicBezTo>
                    <a:cubicBezTo>
                      <a:pt x="2527892" y="180993"/>
                      <a:pt x="2523447" y="181482"/>
                      <a:pt x="2551748" y="180031"/>
                    </a:cubicBezTo>
                    <a:cubicBezTo>
                      <a:pt x="2578400" y="178664"/>
                      <a:pt x="2605088" y="178126"/>
                      <a:pt x="2631758" y="177173"/>
                    </a:cubicBezTo>
                    <a:cubicBezTo>
                      <a:pt x="2634615" y="176221"/>
                      <a:pt x="2637434" y="175143"/>
                      <a:pt x="2640330" y="174316"/>
                    </a:cubicBezTo>
                    <a:cubicBezTo>
                      <a:pt x="2644106" y="173237"/>
                      <a:pt x="2648150" y="173005"/>
                      <a:pt x="2651760" y="171458"/>
                    </a:cubicBezTo>
                    <a:cubicBezTo>
                      <a:pt x="2667172" y="164853"/>
                      <a:pt x="2652917" y="165103"/>
                      <a:pt x="2671763" y="162886"/>
                    </a:cubicBezTo>
                    <a:cubicBezTo>
                      <a:pt x="2694132" y="160254"/>
                      <a:pt x="2748412" y="158053"/>
                      <a:pt x="2766060" y="157171"/>
                    </a:cubicBezTo>
                    <a:cubicBezTo>
                      <a:pt x="2773680" y="156218"/>
                      <a:pt x="2781272" y="155008"/>
                      <a:pt x="2788920" y="154313"/>
                    </a:cubicBezTo>
                    <a:cubicBezTo>
                      <a:pt x="2802234" y="153103"/>
                      <a:pt x="2815638" y="152932"/>
                      <a:pt x="2828925" y="151456"/>
                    </a:cubicBezTo>
                    <a:cubicBezTo>
                      <a:pt x="2832828" y="151022"/>
                      <a:pt x="2836481" y="149244"/>
                      <a:pt x="2840355" y="148598"/>
                    </a:cubicBezTo>
                    <a:cubicBezTo>
                      <a:pt x="2847930" y="147336"/>
                      <a:pt x="2855588" y="146638"/>
                      <a:pt x="2863215" y="145741"/>
                    </a:cubicBezTo>
                    <a:cubicBezTo>
                      <a:pt x="2890576" y="142522"/>
                      <a:pt x="2891092" y="142687"/>
                      <a:pt x="2920365" y="140026"/>
                    </a:cubicBezTo>
                    <a:cubicBezTo>
                      <a:pt x="2939733" y="133569"/>
                      <a:pt x="2916105" y="140878"/>
                      <a:pt x="2948940" y="134311"/>
                    </a:cubicBezTo>
                    <a:cubicBezTo>
                      <a:pt x="2951894" y="133720"/>
                      <a:pt x="2954578" y="132130"/>
                      <a:pt x="2957513" y="131453"/>
                    </a:cubicBezTo>
                    <a:cubicBezTo>
                      <a:pt x="2966978" y="129269"/>
                      <a:pt x="2976507" y="127335"/>
                      <a:pt x="2986088" y="125738"/>
                    </a:cubicBezTo>
                    <a:cubicBezTo>
                      <a:pt x="2997518" y="123833"/>
                      <a:pt x="3009136" y="122833"/>
                      <a:pt x="3020378" y="120023"/>
                    </a:cubicBezTo>
                    <a:cubicBezTo>
                      <a:pt x="3041095" y="114845"/>
                      <a:pt x="3027900" y="117557"/>
                      <a:pt x="3060383" y="114308"/>
                    </a:cubicBezTo>
                    <a:cubicBezTo>
                      <a:pt x="3084922" y="108174"/>
                      <a:pt x="3062113" y="113224"/>
                      <a:pt x="3106103" y="108593"/>
                    </a:cubicBezTo>
                    <a:cubicBezTo>
                      <a:pt x="3119251" y="107209"/>
                      <a:pt x="3130292" y="104871"/>
                      <a:pt x="3143250" y="102878"/>
                    </a:cubicBezTo>
                    <a:cubicBezTo>
                      <a:pt x="3149907" y="101854"/>
                      <a:pt x="3156544" y="100613"/>
                      <a:pt x="3163253" y="100021"/>
                    </a:cubicBezTo>
                    <a:cubicBezTo>
                      <a:pt x="3188941" y="97755"/>
                      <a:pt x="3240405" y="94306"/>
                      <a:pt x="3240405" y="94306"/>
                    </a:cubicBezTo>
                    <a:cubicBezTo>
                      <a:pt x="3243263" y="93353"/>
                      <a:pt x="3246014" y="91987"/>
                      <a:pt x="3248978" y="91448"/>
                    </a:cubicBezTo>
                    <a:cubicBezTo>
                      <a:pt x="3255132" y="90329"/>
                      <a:pt x="3292582" y="86286"/>
                      <a:pt x="3297555" y="85733"/>
                    </a:cubicBezTo>
                    <a:cubicBezTo>
                      <a:pt x="3301365" y="84781"/>
                      <a:pt x="3305103" y="83473"/>
                      <a:pt x="3308985" y="82876"/>
                    </a:cubicBezTo>
                    <a:cubicBezTo>
                      <a:pt x="3316276" y="81754"/>
                      <a:pt x="3357129" y="77776"/>
                      <a:pt x="3363278" y="77161"/>
                    </a:cubicBezTo>
                    <a:cubicBezTo>
                      <a:pt x="3368040" y="76208"/>
                      <a:pt x="3372751" y="74945"/>
                      <a:pt x="3377565" y="74303"/>
                    </a:cubicBezTo>
                    <a:cubicBezTo>
                      <a:pt x="3394292" y="72073"/>
                      <a:pt x="3428000" y="69764"/>
                      <a:pt x="3443288" y="68588"/>
                    </a:cubicBezTo>
                    <a:cubicBezTo>
                      <a:pt x="3491129" y="60616"/>
                      <a:pt x="3434505" y="69293"/>
                      <a:pt x="3540443" y="62873"/>
                    </a:cubicBezTo>
                    <a:cubicBezTo>
                      <a:pt x="3545291" y="62579"/>
                      <a:pt x="3549888" y="60388"/>
                      <a:pt x="3554730" y="60016"/>
                    </a:cubicBezTo>
                    <a:cubicBezTo>
                      <a:pt x="3574696" y="58480"/>
                      <a:pt x="3594735" y="58111"/>
                      <a:pt x="3614738" y="57158"/>
                    </a:cubicBezTo>
                    <a:cubicBezTo>
                      <a:pt x="3623310" y="56206"/>
                      <a:pt x="3631930" y="55613"/>
                      <a:pt x="3640455" y="54301"/>
                    </a:cubicBezTo>
                    <a:cubicBezTo>
                      <a:pt x="3644337" y="53704"/>
                      <a:pt x="3647997" y="51998"/>
                      <a:pt x="3651885" y="51443"/>
                    </a:cubicBezTo>
                    <a:cubicBezTo>
                      <a:pt x="3661361" y="50089"/>
                      <a:pt x="3670953" y="49704"/>
                      <a:pt x="3680460" y="48586"/>
                    </a:cubicBezTo>
                    <a:cubicBezTo>
                      <a:pt x="3687149" y="47799"/>
                      <a:pt x="3693836" y="46933"/>
                      <a:pt x="3700463" y="45728"/>
                    </a:cubicBezTo>
                    <a:cubicBezTo>
                      <a:pt x="3704327" y="45025"/>
                      <a:pt x="3708011" y="43468"/>
                      <a:pt x="3711893" y="42871"/>
                    </a:cubicBezTo>
                    <a:cubicBezTo>
                      <a:pt x="3719186" y="41749"/>
                      <a:pt x="3760035" y="37771"/>
                      <a:pt x="3766185" y="37156"/>
                    </a:cubicBezTo>
                    <a:cubicBezTo>
                      <a:pt x="3769043" y="36203"/>
                      <a:pt x="3771794" y="34837"/>
                      <a:pt x="3774758" y="34298"/>
                    </a:cubicBezTo>
                    <a:cubicBezTo>
                      <a:pt x="3781993" y="32983"/>
                      <a:pt x="3817148" y="29356"/>
                      <a:pt x="3823335" y="28583"/>
                    </a:cubicBezTo>
                    <a:cubicBezTo>
                      <a:pt x="3878328" y="21709"/>
                      <a:pt x="3790738" y="29994"/>
                      <a:pt x="3897630" y="22868"/>
                    </a:cubicBezTo>
                    <a:cubicBezTo>
                      <a:pt x="3908128" y="22168"/>
                      <a:pt x="3918606" y="21173"/>
                      <a:pt x="3929063" y="20011"/>
                    </a:cubicBezTo>
                    <a:cubicBezTo>
                      <a:pt x="3944328" y="18315"/>
                      <a:pt x="3959432" y="14776"/>
                      <a:pt x="3974783" y="14296"/>
                    </a:cubicBezTo>
                    <a:lnTo>
                      <a:pt x="4066223" y="11438"/>
                    </a:lnTo>
                    <a:cubicBezTo>
                      <a:pt x="4080368" y="7902"/>
                      <a:pt x="4094614" y="4795"/>
                      <a:pt x="4109085" y="2866"/>
                    </a:cubicBezTo>
                    <a:cubicBezTo>
                      <a:pt x="4132887" y="-308"/>
                      <a:pt x="4127753" y="8"/>
                      <a:pt x="4143375" y="8"/>
                    </a:cubicBezTo>
                  </a:path>
                </a:pathLst>
              </a:cu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en-GB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0" name="Freeform 49"/>
              <p:cNvSpPr/>
              <p:nvPr/>
            </p:nvSpPr>
            <p:spPr>
              <a:xfrm>
                <a:off x="5517833" y="3000013"/>
                <a:ext cx="2314575" cy="306115"/>
              </a:xfrm>
              <a:custGeom>
                <a:avLst/>
                <a:gdLst>
                  <a:gd name="connsiteX0" fmla="*/ 0 w 2314575"/>
                  <a:gd name="connsiteY0" fmla="*/ 306115 h 306115"/>
                  <a:gd name="connsiteX1" fmla="*/ 28575 w 2314575"/>
                  <a:gd name="connsiteY1" fmla="*/ 303257 h 306115"/>
                  <a:gd name="connsiteX2" fmla="*/ 48577 w 2314575"/>
                  <a:gd name="connsiteY2" fmla="*/ 297542 h 306115"/>
                  <a:gd name="connsiteX3" fmla="*/ 60007 w 2314575"/>
                  <a:gd name="connsiteY3" fmla="*/ 294685 h 306115"/>
                  <a:gd name="connsiteX4" fmla="*/ 117157 w 2314575"/>
                  <a:gd name="connsiteY4" fmla="*/ 291827 h 306115"/>
                  <a:gd name="connsiteX5" fmla="*/ 154305 w 2314575"/>
                  <a:gd name="connsiteY5" fmla="*/ 286112 h 306115"/>
                  <a:gd name="connsiteX6" fmla="*/ 191452 w 2314575"/>
                  <a:gd name="connsiteY6" fmla="*/ 280397 h 306115"/>
                  <a:gd name="connsiteX7" fmla="*/ 225742 w 2314575"/>
                  <a:gd name="connsiteY7" fmla="*/ 274682 h 306115"/>
                  <a:gd name="connsiteX8" fmla="*/ 237172 w 2314575"/>
                  <a:gd name="connsiteY8" fmla="*/ 271825 h 306115"/>
                  <a:gd name="connsiteX9" fmla="*/ 271462 w 2314575"/>
                  <a:gd name="connsiteY9" fmla="*/ 266110 h 306115"/>
                  <a:gd name="connsiteX10" fmla="*/ 288607 w 2314575"/>
                  <a:gd name="connsiteY10" fmla="*/ 263252 h 306115"/>
                  <a:gd name="connsiteX11" fmla="*/ 308610 w 2314575"/>
                  <a:gd name="connsiteY11" fmla="*/ 257537 h 306115"/>
                  <a:gd name="connsiteX12" fmla="*/ 365760 w 2314575"/>
                  <a:gd name="connsiteY12" fmla="*/ 254680 h 306115"/>
                  <a:gd name="connsiteX13" fmla="*/ 480060 w 2314575"/>
                  <a:gd name="connsiteY13" fmla="*/ 246107 h 306115"/>
                  <a:gd name="connsiteX14" fmla="*/ 508635 w 2314575"/>
                  <a:gd name="connsiteY14" fmla="*/ 240392 h 306115"/>
                  <a:gd name="connsiteX15" fmla="*/ 554355 w 2314575"/>
                  <a:gd name="connsiteY15" fmla="*/ 234677 h 306115"/>
                  <a:gd name="connsiteX16" fmla="*/ 588645 w 2314575"/>
                  <a:gd name="connsiteY16" fmla="*/ 228962 h 306115"/>
                  <a:gd name="connsiteX17" fmla="*/ 642937 w 2314575"/>
                  <a:gd name="connsiteY17" fmla="*/ 226105 h 306115"/>
                  <a:gd name="connsiteX18" fmla="*/ 680085 w 2314575"/>
                  <a:gd name="connsiteY18" fmla="*/ 223247 h 306115"/>
                  <a:gd name="connsiteX19" fmla="*/ 700087 w 2314575"/>
                  <a:gd name="connsiteY19" fmla="*/ 220390 h 306115"/>
                  <a:gd name="connsiteX20" fmla="*/ 740092 w 2314575"/>
                  <a:gd name="connsiteY20" fmla="*/ 217532 h 306115"/>
                  <a:gd name="connsiteX21" fmla="*/ 757237 w 2314575"/>
                  <a:gd name="connsiteY21" fmla="*/ 214675 h 306115"/>
                  <a:gd name="connsiteX22" fmla="*/ 780097 w 2314575"/>
                  <a:gd name="connsiteY22" fmla="*/ 211817 h 306115"/>
                  <a:gd name="connsiteX23" fmla="*/ 791527 w 2314575"/>
                  <a:gd name="connsiteY23" fmla="*/ 208960 h 306115"/>
                  <a:gd name="connsiteX24" fmla="*/ 860107 w 2314575"/>
                  <a:gd name="connsiteY24" fmla="*/ 203245 h 306115"/>
                  <a:gd name="connsiteX25" fmla="*/ 900112 w 2314575"/>
                  <a:gd name="connsiteY25" fmla="*/ 197530 h 306115"/>
                  <a:gd name="connsiteX26" fmla="*/ 968692 w 2314575"/>
                  <a:gd name="connsiteY26" fmla="*/ 191815 h 306115"/>
                  <a:gd name="connsiteX27" fmla="*/ 980122 w 2314575"/>
                  <a:gd name="connsiteY27" fmla="*/ 188957 h 306115"/>
                  <a:gd name="connsiteX28" fmla="*/ 1042987 w 2314575"/>
                  <a:gd name="connsiteY28" fmla="*/ 183242 h 306115"/>
                  <a:gd name="connsiteX29" fmla="*/ 1085850 w 2314575"/>
                  <a:gd name="connsiteY29" fmla="*/ 177527 h 306115"/>
                  <a:gd name="connsiteX30" fmla="*/ 1097280 w 2314575"/>
                  <a:gd name="connsiteY30" fmla="*/ 174670 h 306115"/>
                  <a:gd name="connsiteX31" fmla="*/ 1168717 w 2314575"/>
                  <a:gd name="connsiteY31" fmla="*/ 171812 h 306115"/>
                  <a:gd name="connsiteX32" fmla="*/ 1203007 w 2314575"/>
                  <a:gd name="connsiteY32" fmla="*/ 168955 h 306115"/>
                  <a:gd name="connsiteX33" fmla="*/ 1214437 w 2314575"/>
                  <a:gd name="connsiteY33" fmla="*/ 166097 h 306115"/>
                  <a:gd name="connsiteX34" fmla="*/ 1237297 w 2314575"/>
                  <a:gd name="connsiteY34" fmla="*/ 163240 h 306115"/>
                  <a:gd name="connsiteX35" fmla="*/ 1283017 w 2314575"/>
                  <a:gd name="connsiteY35" fmla="*/ 160382 h 306115"/>
                  <a:gd name="connsiteX36" fmla="*/ 1303020 w 2314575"/>
                  <a:gd name="connsiteY36" fmla="*/ 154667 h 306115"/>
                  <a:gd name="connsiteX37" fmla="*/ 1320165 w 2314575"/>
                  <a:gd name="connsiteY37" fmla="*/ 151810 h 306115"/>
                  <a:gd name="connsiteX38" fmla="*/ 1354455 w 2314575"/>
                  <a:gd name="connsiteY38" fmla="*/ 146095 h 306115"/>
                  <a:gd name="connsiteX39" fmla="*/ 1371600 w 2314575"/>
                  <a:gd name="connsiteY39" fmla="*/ 143237 h 306115"/>
                  <a:gd name="connsiteX40" fmla="*/ 1445895 w 2314575"/>
                  <a:gd name="connsiteY40" fmla="*/ 140380 h 306115"/>
                  <a:gd name="connsiteX41" fmla="*/ 1480185 w 2314575"/>
                  <a:gd name="connsiteY41" fmla="*/ 134665 h 306115"/>
                  <a:gd name="connsiteX42" fmla="*/ 1508760 w 2314575"/>
                  <a:gd name="connsiteY42" fmla="*/ 128950 h 306115"/>
                  <a:gd name="connsiteX43" fmla="*/ 1537335 w 2314575"/>
                  <a:gd name="connsiteY43" fmla="*/ 126092 h 306115"/>
                  <a:gd name="connsiteX44" fmla="*/ 1560195 w 2314575"/>
                  <a:gd name="connsiteY44" fmla="*/ 123235 h 306115"/>
                  <a:gd name="connsiteX45" fmla="*/ 1591627 w 2314575"/>
                  <a:gd name="connsiteY45" fmla="*/ 120377 h 306115"/>
                  <a:gd name="connsiteX46" fmla="*/ 1614487 w 2314575"/>
                  <a:gd name="connsiteY46" fmla="*/ 117520 h 306115"/>
                  <a:gd name="connsiteX47" fmla="*/ 1708785 w 2314575"/>
                  <a:gd name="connsiteY47" fmla="*/ 114662 h 306115"/>
                  <a:gd name="connsiteX48" fmla="*/ 1734502 w 2314575"/>
                  <a:gd name="connsiteY48" fmla="*/ 108947 h 306115"/>
                  <a:gd name="connsiteX49" fmla="*/ 1751647 w 2314575"/>
                  <a:gd name="connsiteY49" fmla="*/ 103232 h 306115"/>
                  <a:gd name="connsiteX50" fmla="*/ 1820227 w 2314575"/>
                  <a:gd name="connsiteY50" fmla="*/ 100375 h 306115"/>
                  <a:gd name="connsiteX51" fmla="*/ 1828800 w 2314575"/>
                  <a:gd name="connsiteY51" fmla="*/ 97517 h 306115"/>
                  <a:gd name="connsiteX52" fmla="*/ 1857375 w 2314575"/>
                  <a:gd name="connsiteY52" fmla="*/ 91802 h 306115"/>
                  <a:gd name="connsiteX53" fmla="*/ 1868805 w 2314575"/>
                  <a:gd name="connsiteY53" fmla="*/ 88945 h 306115"/>
                  <a:gd name="connsiteX54" fmla="*/ 1897380 w 2314575"/>
                  <a:gd name="connsiteY54" fmla="*/ 77515 h 306115"/>
                  <a:gd name="connsiteX55" fmla="*/ 1905952 w 2314575"/>
                  <a:gd name="connsiteY55" fmla="*/ 74657 h 306115"/>
                  <a:gd name="connsiteX56" fmla="*/ 1925955 w 2314575"/>
                  <a:gd name="connsiteY56" fmla="*/ 71800 h 306115"/>
                  <a:gd name="connsiteX57" fmla="*/ 1951672 w 2314575"/>
                  <a:gd name="connsiteY57" fmla="*/ 60370 h 306115"/>
                  <a:gd name="connsiteX58" fmla="*/ 1957387 w 2314575"/>
                  <a:gd name="connsiteY58" fmla="*/ 51797 h 306115"/>
                  <a:gd name="connsiteX59" fmla="*/ 1974532 w 2314575"/>
                  <a:gd name="connsiteY59" fmla="*/ 40367 h 306115"/>
                  <a:gd name="connsiteX60" fmla="*/ 1994535 w 2314575"/>
                  <a:gd name="connsiteY60" fmla="*/ 34652 h 306115"/>
                  <a:gd name="connsiteX61" fmla="*/ 2023110 w 2314575"/>
                  <a:gd name="connsiteY61" fmla="*/ 31795 h 306115"/>
                  <a:gd name="connsiteX62" fmla="*/ 2154555 w 2314575"/>
                  <a:gd name="connsiteY62" fmla="*/ 26080 h 306115"/>
                  <a:gd name="connsiteX63" fmla="*/ 2177415 w 2314575"/>
                  <a:gd name="connsiteY63" fmla="*/ 23222 h 306115"/>
                  <a:gd name="connsiteX64" fmla="*/ 2205990 w 2314575"/>
                  <a:gd name="connsiteY64" fmla="*/ 26080 h 306115"/>
                  <a:gd name="connsiteX65" fmla="*/ 2223135 w 2314575"/>
                  <a:gd name="connsiteY65" fmla="*/ 23222 h 306115"/>
                  <a:gd name="connsiteX66" fmla="*/ 2243137 w 2314575"/>
                  <a:gd name="connsiteY66" fmla="*/ 17507 h 306115"/>
                  <a:gd name="connsiteX67" fmla="*/ 2251710 w 2314575"/>
                  <a:gd name="connsiteY67" fmla="*/ 11792 h 306115"/>
                  <a:gd name="connsiteX68" fmla="*/ 2254567 w 2314575"/>
                  <a:gd name="connsiteY68" fmla="*/ 3220 h 306115"/>
                  <a:gd name="connsiteX69" fmla="*/ 2263140 w 2314575"/>
                  <a:gd name="connsiteY69" fmla="*/ 362 h 306115"/>
                  <a:gd name="connsiteX70" fmla="*/ 2314575 w 2314575"/>
                  <a:gd name="connsiteY70" fmla="*/ 362 h 306115"/>
                  <a:gd name="connsiteX0" fmla="*/ 0 w 2314575"/>
                  <a:gd name="connsiteY0" fmla="*/ 306115 h 306115"/>
                  <a:gd name="connsiteX1" fmla="*/ 28575 w 2314575"/>
                  <a:gd name="connsiteY1" fmla="*/ 303257 h 306115"/>
                  <a:gd name="connsiteX2" fmla="*/ 48577 w 2314575"/>
                  <a:gd name="connsiteY2" fmla="*/ 297542 h 306115"/>
                  <a:gd name="connsiteX3" fmla="*/ 60007 w 2314575"/>
                  <a:gd name="connsiteY3" fmla="*/ 294685 h 306115"/>
                  <a:gd name="connsiteX4" fmla="*/ 117157 w 2314575"/>
                  <a:gd name="connsiteY4" fmla="*/ 291827 h 306115"/>
                  <a:gd name="connsiteX5" fmla="*/ 154305 w 2314575"/>
                  <a:gd name="connsiteY5" fmla="*/ 286112 h 306115"/>
                  <a:gd name="connsiteX6" fmla="*/ 191452 w 2314575"/>
                  <a:gd name="connsiteY6" fmla="*/ 280397 h 306115"/>
                  <a:gd name="connsiteX7" fmla="*/ 225742 w 2314575"/>
                  <a:gd name="connsiteY7" fmla="*/ 274682 h 306115"/>
                  <a:gd name="connsiteX8" fmla="*/ 237172 w 2314575"/>
                  <a:gd name="connsiteY8" fmla="*/ 271825 h 306115"/>
                  <a:gd name="connsiteX9" fmla="*/ 271462 w 2314575"/>
                  <a:gd name="connsiteY9" fmla="*/ 266110 h 306115"/>
                  <a:gd name="connsiteX10" fmla="*/ 288607 w 2314575"/>
                  <a:gd name="connsiteY10" fmla="*/ 263252 h 306115"/>
                  <a:gd name="connsiteX11" fmla="*/ 308610 w 2314575"/>
                  <a:gd name="connsiteY11" fmla="*/ 257537 h 306115"/>
                  <a:gd name="connsiteX12" fmla="*/ 365760 w 2314575"/>
                  <a:gd name="connsiteY12" fmla="*/ 254680 h 306115"/>
                  <a:gd name="connsiteX13" fmla="*/ 480060 w 2314575"/>
                  <a:gd name="connsiteY13" fmla="*/ 246107 h 306115"/>
                  <a:gd name="connsiteX14" fmla="*/ 508635 w 2314575"/>
                  <a:gd name="connsiteY14" fmla="*/ 240392 h 306115"/>
                  <a:gd name="connsiteX15" fmla="*/ 554355 w 2314575"/>
                  <a:gd name="connsiteY15" fmla="*/ 234677 h 306115"/>
                  <a:gd name="connsiteX16" fmla="*/ 588645 w 2314575"/>
                  <a:gd name="connsiteY16" fmla="*/ 228962 h 306115"/>
                  <a:gd name="connsiteX17" fmla="*/ 642937 w 2314575"/>
                  <a:gd name="connsiteY17" fmla="*/ 226105 h 306115"/>
                  <a:gd name="connsiteX18" fmla="*/ 680085 w 2314575"/>
                  <a:gd name="connsiteY18" fmla="*/ 223247 h 306115"/>
                  <a:gd name="connsiteX19" fmla="*/ 700087 w 2314575"/>
                  <a:gd name="connsiteY19" fmla="*/ 220390 h 306115"/>
                  <a:gd name="connsiteX20" fmla="*/ 740092 w 2314575"/>
                  <a:gd name="connsiteY20" fmla="*/ 217532 h 306115"/>
                  <a:gd name="connsiteX21" fmla="*/ 757237 w 2314575"/>
                  <a:gd name="connsiteY21" fmla="*/ 214675 h 306115"/>
                  <a:gd name="connsiteX22" fmla="*/ 780097 w 2314575"/>
                  <a:gd name="connsiteY22" fmla="*/ 211817 h 306115"/>
                  <a:gd name="connsiteX23" fmla="*/ 791527 w 2314575"/>
                  <a:gd name="connsiteY23" fmla="*/ 208960 h 306115"/>
                  <a:gd name="connsiteX24" fmla="*/ 860107 w 2314575"/>
                  <a:gd name="connsiteY24" fmla="*/ 203245 h 306115"/>
                  <a:gd name="connsiteX25" fmla="*/ 900112 w 2314575"/>
                  <a:gd name="connsiteY25" fmla="*/ 197530 h 306115"/>
                  <a:gd name="connsiteX26" fmla="*/ 968692 w 2314575"/>
                  <a:gd name="connsiteY26" fmla="*/ 191815 h 306115"/>
                  <a:gd name="connsiteX27" fmla="*/ 980122 w 2314575"/>
                  <a:gd name="connsiteY27" fmla="*/ 188957 h 306115"/>
                  <a:gd name="connsiteX28" fmla="*/ 1042987 w 2314575"/>
                  <a:gd name="connsiteY28" fmla="*/ 183242 h 306115"/>
                  <a:gd name="connsiteX29" fmla="*/ 1085850 w 2314575"/>
                  <a:gd name="connsiteY29" fmla="*/ 177527 h 306115"/>
                  <a:gd name="connsiteX30" fmla="*/ 1097280 w 2314575"/>
                  <a:gd name="connsiteY30" fmla="*/ 174670 h 306115"/>
                  <a:gd name="connsiteX31" fmla="*/ 1168717 w 2314575"/>
                  <a:gd name="connsiteY31" fmla="*/ 171812 h 306115"/>
                  <a:gd name="connsiteX32" fmla="*/ 1203007 w 2314575"/>
                  <a:gd name="connsiteY32" fmla="*/ 168955 h 306115"/>
                  <a:gd name="connsiteX33" fmla="*/ 1214437 w 2314575"/>
                  <a:gd name="connsiteY33" fmla="*/ 166097 h 306115"/>
                  <a:gd name="connsiteX34" fmla="*/ 1237297 w 2314575"/>
                  <a:gd name="connsiteY34" fmla="*/ 163240 h 306115"/>
                  <a:gd name="connsiteX35" fmla="*/ 1283017 w 2314575"/>
                  <a:gd name="connsiteY35" fmla="*/ 160382 h 306115"/>
                  <a:gd name="connsiteX36" fmla="*/ 1303020 w 2314575"/>
                  <a:gd name="connsiteY36" fmla="*/ 154667 h 306115"/>
                  <a:gd name="connsiteX37" fmla="*/ 1320165 w 2314575"/>
                  <a:gd name="connsiteY37" fmla="*/ 151810 h 306115"/>
                  <a:gd name="connsiteX38" fmla="*/ 1354455 w 2314575"/>
                  <a:gd name="connsiteY38" fmla="*/ 146095 h 306115"/>
                  <a:gd name="connsiteX39" fmla="*/ 1371600 w 2314575"/>
                  <a:gd name="connsiteY39" fmla="*/ 143237 h 306115"/>
                  <a:gd name="connsiteX40" fmla="*/ 1445895 w 2314575"/>
                  <a:gd name="connsiteY40" fmla="*/ 140380 h 306115"/>
                  <a:gd name="connsiteX41" fmla="*/ 1480185 w 2314575"/>
                  <a:gd name="connsiteY41" fmla="*/ 134665 h 306115"/>
                  <a:gd name="connsiteX42" fmla="*/ 1508760 w 2314575"/>
                  <a:gd name="connsiteY42" fmla="*/ 128950 h 306115"/>
                  <a:gd name="connsiteX43" fmla="*/ 1537335 w 2314575"/>
                  <a:gd name="connsiteY43" fmla="*/ 126092 h 306115"/>
                  <a:gd name="connsiteX44" fmla="*/ 1560195 w 2314575"/>
                  <a:gd name="connsiteY44" fmla="*/ 123235 h 306115"/>
                  <a:gd name="connsiteX45" fmla="*/ 1591627 w 2314575"/>
                  <a:gd name="connsiteY45" fmla="*/ 120377 h 306115"/>
                  <a:gd name="connsiteX46" fmla="*/ 1614487 w 2314575"/>
                  <a:gd name="connsiteY46" fmla="*/ 117520 h 306115"/>
                  <a:gd name="connsiteX47" fmla="*/ 1708785 w 2314575"/>
                  <a:gd name="connsiteY47" fmla="*/ 114662 h 306115"/>
                  <a:gd name="connsiteX48" fmla="*/ 1734502 w 2314575"/>
                  <a:gd name="connsiteY48" fmla="*/ 108947 h 306115"/>
                  <a:gd name="connsiteX49" fmla="*/ 1751647 w 2314575"/>
                  <a:gd name="connsiteY49" fmla="*/ 103232 h 306115"/>
                  <a:gd name="connsiteX50" fmla="*/ 1820227 w 2314575"/>
                  <a:gd name="connsiteY50" fmla="*/ 100375 h 306115"/>
                  <a:gd name="connsiteX51" fmla="*/ 1816308 w 2314575"/>
                  <a:gd name="connsiteY51" fmla="*/ 90022 h 306115"/>
                  <a:gd name="connsiteX52" fmla="*/ 1857375 w 2314575"/>
                  <a:gd name="connsiteY52" fmla="*/ 91802 h 306115"/>
                  <a:gd name="connsiteX53" fmla="*/ 1868805 w 2314575"/>
                  <a:gd name="connsiteY53" fmla="*/ 88945 h 306115"/>
                  <a:gd name="connsiteX54" fmla="*/ 1897380 w 2314575"/>
                  <a:gd name="connsiteY54" fmla="*/ 77515 h 306115"/>
                  <a:gd name="connsiteX55" fmla="*/ 1905952 w 2314575"/>
                  <a:gd name="connsiteY55" fmla="*/ 74657 h 306115"/>
                  <a:gd name="connsiteX56" fmla="*/ 1925955 w 2314575"/>
                  <a:gd name="connsiteY56" fmla="*/ 71800 h 306115"/>
                  <a:gd name="connsiteX57" fmla="*/ 1951672 w 2314575"/>
                  <a:gd name="connsiteY57" fmla="*/ 60370 h 306115"/>
                  <a:gd name="connsiteX58" fmla="*/ 1957387 w 2314575"/>
                  <a:gd name="connsiteY58" fmla="*/ 51797 h 306115"/>
                  <a:gd name="connsiteX59" fmla="*/ 1974532 w 2314575"/>
                  <a:gd name="connsiteY59" fmla="*/ 40367 h 306115"/>
                  <a:gd name="connsiteX60" fmla="*/ 1994535 w 2314575"/>
                  <a:gd name="connsiteY60" fmla="*/ 34652 h 306115"/>
                  <a:gd name="connsiteX61" fmla="*/ 2023110 w 2314575"/>
                  <a:gd name="connsiteY61" fmla="*/ 31795 h 306115"/>
                  <a:gd name="connsiteX62" fmla="*/ 2154555 w 2314575"/>
                  <a:gd name="connsiteY62" fmla="*/ 26080 h 306115"/>
                  <a:gd name="connsiteX63" fmla="*/ 2177415 w 2314575"/>
                  <a:gd name="connsiteY63" fmla="*/ 23222 h 306115"/>
                  <a:gd name="connsiteX64" fmla="*/ 2205990 w 2314575"/>
                  <a:gd name="connsiteY64" fmla="*/ 26080 h 306115"/>
                  <a:gd name="connsiteX65" fmla="*/ 2223135 w 2314575"/>
                  <a:gd name="connsiteY65" fmla="*/ 23222 h 306115"/>
                  <a:gd name="connsiteX66" fmla="*/ 2243137 w 2314575"/>
                  <a:gd name="connsiteY66" fmla="*/ 17507 h 306115"/>
                  <a:gd name="connsiteX67" fmla="*/ 2251710 w 2314575"/>
                  <a:gd name="connsiteY67" fmla="*/ 11792 h 306115"/>
                  <a:gd name="connsiteX68" fmla="*/ 2254567 w 2314575"/>
                  <a:gd name="connsiteY68" fmla="*/ 3220 h 306115"/>
                  <a:gd name="connsiteX69" fmla="*/ 2263140 w 2314575"/>
                  <a:gd name="connsiteY69" fmla="*/ 362 h 306115"/>
                  <a:gd name="connsiteX70" fmla="*/ 2314575 w 2314575"/>
                  <a:gd name="connsiteY70" fmla="*/ 362 h 306115"/>
                  <a:gd name="connsiteX0" fmla="*/ 0 w 2314575"/>
                  <a:gd name="connsiteY0" fmla="*/ 306115 h 306115"/>
                  <a:gd name="connsiteX1" fmla="*/ 28575 w 2314575"/>
                  <a:gd name="connsiteY1" fmla="*/ 303257 h 306115"/>
                  <a:gd name="connsiteX2" fmla="*/ 48577 w 2314575"/>
                  <a:gd name="connsiteY2" fmla="*/ 297542 h 306115"/>
                  <a:gd name="connsiteX3" fmla="*/ 60007 w 2314575"/>
                  <a:gd name="connsiteY3" fmla="*/ 294685 h 306115"/>
                  <a:gd name="connsiteX4" fmla="*/ 117157 w 2314575"/>
                  <a:gd name="connsiteY4" fmla="*/ 291827 h 306115"/>
                  <a:gd name="connsiteX5" fmla="*/ 154305 w 2314575"/>
                  <a:gd name="connsiteY5" fmla="*/ 286112 h 306115"/>
                  <a:gd name="connsiteX6" fmla="*/ 191452 w 2314575"/>
                  <a:gd name="connsiteY6" fmla="*/ 280397 h 306115"/>
                  <a:gd name="connsiteX7" fmla="*/ 225742 w 2314575"/>
                  <a:gd name="connsiteY7" fmla="*/ 274682 h 306115"/>
                  <a:gd name="connsiteX8" fmla="*/ 237172 w 2314575"/>
                  <a:gd name="connsiteY8" fmla="*/ 271825 h 306115"/>
                  <a:gd name="connsiteX9" fmla="*/ 271462 w 2314575"/>
                  <a:gd name="connsiteY9" fmla="*/ 266110 h 306115"/>
                  <a:gd name="connsiteX10" fmla="*/ 288607 w 2314575"/>
                  <a:gd name="connsiteY10" fmla="*/ 263252 h 306115"/>
                  <a:gd name="connsiteX11" fmla="*/ 308610 w 2314575"/>
                  <a:gd name="connsiteY11" fmla="*/ 257537 h 306115"/>
                  <a:gd name="connsiteX12" fmla="*/ 365760 w 2314575"/>
                  <a:gd name="connsiteY12" fmla="*/ 254680 h 306115"/>
                  <a:gd name="connsiteX13" fmla="*/ 480060 w 2314575"/>
                  <a:gd name="connsiteY13" fmla="*/ 246107 h 306115"/>
                  <a:gd name="connsiteX14" fmla="*/ 508635 w 2314575"/>
                  <a:gd name="connsiteY14" fmla="*/ 240392 h 306115"/>
                  <a:gd name="connsiteX15" fmla="*/ 554355 w 2314575"/>
                  <a:gd name="connsiteY15" fmla="*/ 234677 h 306115"/>
                  <a:gd name="connsiteX16" fmla="*/ 588645 w 2314575"/>
                  <a:gd name="connsiteY16" fmla="*/ 228962 h 306115"/>
                  <a:gd name="connsiteX17" fmla="*/ 642937 w 2314575"/>
                  <a:gd name="connsiteY17" fmla="*/ 226105 h 306115"/>
                  <a:gd name="connsiteX18" fmla="*/ 680085 w 2314575"/>
                  <a:gd name="connsiteY18" fmla="*/ 223247 h 306115"/>
                  <a:gd name="connsiteX19" fmla="*/ 700087 w 2314575"/>
                  <a:gd name="connsiteY19" fmla="*/ 220390 h 306115"/>
                  <a:gd name="connsiteX20" fmla="*/ 740092 w 2314575"/>
                  <a:gd name="connsiteY20" fmla="*/ 217532 h 306115"/>
                  <a:gd name="connsiteX21" fmla="*/ 757237 w 2314575"/>
                  <a:gd name="connsiteY21" fmla="*/ 214675 h 306115"/>
                  <a:gd name="connsiteX22" fmla="*/ 780097 w 2314575"/>
                  <a:gd name="connsiteY22" fmla="*/ 211817 h 306115"/>
                  <a:gd name="connsiteX23" fmla="*/ 791527 w 2314575"/>
                  <a:gd name="connsiteY23" fmla="*/ 208960 h 306115"/>
                  <a:gd name="connsiteX24" fmla="*/ 860107 w 2314575"/>
                  <a:gd name="connsiteY24" fmla="*/ 203245 h 306115"/>
                  <a:gd name="connsiteX25" fmla="*/ 900112 w 2314575"/>
                  <a:gd name="connsiteY25" fmla="*/ 197530 h 306115"/>
                  <a:gd name="connsiteX26" fmla="*/ 968692 w 2314575"/>
                  <a:gd name="connsiteY26" fmla="*/ 191815 h 306115"/>
                  <a:gd name="connsiteX27" fmla="*/ 980122 w 2314575"/>
                  <a:gd name="connsiteY27" fmla="*/ 188957 h 306115"/>
                  <a:gd name="connsiteX28" fmla="*/ 1042987 w 2314575"/>
                  <a:gd name="connsiteY28" fmla="*/ 183242 h 306115"/>
                  <a:gd name="connsiteX29" fmla="*/ 1085850 w 2314575"/>
                  <a:gd name="connsiteY29" fmla="*/ 177527 h 306115"/>
                  <a:gd name="connsiteX30" fmla="*/ 1097280 w 2314575"/>
                  <a:gd name="connsiteY30" fmla="*/ 174670 h 306115"/>
                  <a:gd name="connsiteX31" fmla="*/ 1168717 w 2314575"/>
                  <a:gd name="connsiteY31" fmla="*/ 171812 h 306115"/>
                  <a:gd name="connsiteX32" fmla="*/ 1203007 w 2314575"/>
                  <a:gd name="connsiteY32" fmla="*/ 168955 h 306115"/>
                  <a:gd name="connsiteX33" fmla="*/ 1214437 w 2314575"/>
                  <a:gd name="connsiteY33" fmla="*/ 166097 h 306115"/>
                  <a:gd name="connsiteX34" fmla="*/ 1237297 w 2314575"/>
                  <a:gd name="connsiteY34" fmla="*/ 163240 h 306115"/>
                  <a:gd name="connsiteX35" fmla="*/ 1283017 w 2314575"/>
                  <a:gd name="connsiteY35" fmla="*/ 160382 h 306115"/>
                  <a:gd name="connsiteX36" fmla="*/ 1303020 w 2314575"/>
                  <a:gd name="connsiteY36" fmla="*/ 154667 h 306115"/>
                  <a:gd name="connsiteX37" fmla="*/ 1320165 w 2314575"/>
                  <a:gd name="connsiteY37" fmla="*/ 151810 h 306115"/>
                  <a:gd name="connsiteX38" fmla="*/ 1354455 w 2314575"/>
                  <a:gd name="connsiteY38" fmla="*/ 146095 h 306115"/>
                  <a:gd name="connsiteX39" fmla="*/ 1371600 w 2314575"/>
                  <a:gd name="connsiteY39" fmla="*/ 143237 h 306115"/>
                  <a:gd name="connsiteX40" fmla="*/ 1445895 w 2314575"/>
                  <a:gd name="connsiteY40" fmla="*/ 140380 h 306115"/>
                  <a:gd name="connsiteX41" fmla="*/ 1480185 w 2314575"/>
                  <a:gd name="connsiteY41" fmla="*/ 134665 h 306115"/>
                  <a:gd name="connsiteX42" fmla="*/ 1508760 w 2314575"/>
                  <a:gd name="connsiteY42" fmla="*/ 128950 h 306115"/>
                  <a:gd name="connsiteX43" fmla="*/ 1537335 w 2314575"/>
                  <a:gd name="connsiteY43" fmla="*/ 126092 h 306115"/>
                  <a:gd name="connsiteX44" fmla="*/ 1560195 w 2314575"/>
                  <a:gd name="connsiteY44" fmla="*/ 123235 h 306115"/>
                  <a:gd name="connsiteX45" fmla="*/ 1591627 w 2314575"/>
                  <a:gd name="connsiteY45" fmla="*/ 120377 h 306115"/>
                  <a:gd name="connsiteX46" fmla="*/ 1614487 w 2314575"/>
                  <a:gd name="connsiteY46" fmla="*/ 117520 h 306115"/>
                  <a:gd name="connsiteX47" fmla="*/ 1708785 w 2314575"/>
                  <a:gd name="connsiteY47" fmla="*/ 114662 h 306115"/>
                  <a:gd name="connsiteX48" fmla="*/ 1734502 w 2314575"/>
                  <a:gd name="connsiteY48" fmla="*/ 108947 h 306115"/>
                  <a:gd name="connsiteX49" fmla="*/ 1751647 w 2314575"/>
                  <a:gd name="connsiteY49" fmla="*/ 103232 h 306115"/>
                  <a:gd name="connsiteX50" fmla="*/ 1820227 w 2314575"/>
                  <a:gd name="connsiteY50" fmla="*/ 100375 h 306115"/>
                  <a:gd name="connsiteX51" fmla="*/ 1821304 w 2314575"/>
                  <a:gd name="connsiteY51" fmla="*/ 85025 h 306115"/>
                  <a:gd name="connsiteX52" fmla="*/ 1857375 w 2314575"/>
                  <a:gd name="connsiteY52" fmla="*/ 91802 h 306115"/>
                  <a:gd name="connsiteX53" fmla="*/ 1868805 w 2314575"/>
                  <a:gd name="connsiteY53" fmla="*/ 88945 h 306115"/>
                  <a:gd name="connsiteX54" fmla="*/ 1897380 w 2314575"/>
                  <a:gd name="connsiteY54" fmla="*/ 77515 h 306115"/>
                  <a:gd name="connsiteX55" fmla="*/ 1905952 w 2314575"/>
                  <a:gd name="connsiteY55" fmla="*/ 74657 h 306115"/>
                  <a:gd name="connsiteX56" fmla="*/ 1925955 w 2314575"/>
                  <a:gd name="connsiteY56" fmla="*/ 71800 h 306115"/>
                  <a:gd name="connsiteX57" fmla="*/ 1951672 w 2314575"/>
                  <a:gd name="connsiteY57" fmla="*/ 60370 h 306115"/>
                  <a:gd name="connsiteX58" fmla="*/ 1957387 w 2314575"/>
                  <a:gd name="connsiteY58" fmla="*/ 51797 h 306115"/>
                  <a:gd name="connsiteX59" fmla="*/ 1974532 w 2314575"/>
                  <a:gd name="connsiteY59" fmla="*/ 40367 h 306115"/>
                  <a:gd name="connsiteX60" fmla="*/ 1994535 w 2314575"/>
                  <a:gd name="connsiteY60" fmla="*/ 34652 h 306115"/>
                  <a:gd name="connsiteX61" fmla="*/ 2023110 w 2314575"/>
                  <a:gd name="connsiteY61" fmla="*/ 31795 h 306115"/>
                  <a:gd name="connsiteX62" fmla="*/ 2154555 w 2314575"/>
                  <a:gd name="connsiteY62" fmla="*/ 26080 h 306115"/>
                  <a:gd name="connsiteX63" fmla="*/ 2177415 w 2314575"/>
                  <a:gd name="connsiteY63" fmla="*/ 23222 h 306115"/>
                  <a:gd name="connsiteX64" fmla="*/ 2205990 w 2314575"/>
                  <a:gd name="connsiteY64" fmla="*/ 26080 h 306115"/>
                  <a:gd name="connsiteX65" fmla="*/ 2223135 w 2314575"/>
                  <a:gd name="connsiteY65" fmla="*/ 23222 h 306115"/>
                  <a:gd name="connsiteX66" fmla="*/ 2243137 w 2314575"/>
                  <a:gd name="connsiteY66" fmla="*/ 17507 h 306115"/>
                  <a:gd name="connsiteX67" fmla="*/ 2251710 w 2314575"/>
                  <a:gd name="connsiteY67" fmla="*/ 11792 h 306115"/>
                  <a:gd name="connsiteX68" fmla="*/ 2254567 w 2314575"/>
                  <a:gd name="connsiteY68" fmla="*/ 3220 h 306115"/>
                  <a:gd name="connsiteX69" fmla="*/ 2263140 w 2314575"/>
                  <a:gd name="connsiteY69" fmla="*/ 362 h 306115"/>
                  <a:gd name="connsiteX70" fmla="*/ 2314575 w 2314575"/>
                  <a:gd name="connsiteY70" fmla="*/ 362 h 306115"/>
                  <a:gd name="connsiteX0" fmla="*/ 0 w 2314575"/>
                  <a:gd name="connsiteY0" fmla="*/ 306115 h 306115"/>
                  <a:gd name="connsiteX1" fmla="*/ 28575 w 2314575"/>
                  <a:gd name="connsiteY1" fmla="*/ 303257 h 306115"/>
                  <a:gd name="connsiteX2" fmla="*/ 48577 w 2314575"/>
                  <a:gd name="connsiteY2" fmla="*/ 297542 h 306115"/>
                  <a:gd name="connsiteX3" fmla="*/ 60007 w 2314575"/>
                  <a:gd name="connsiteY3" fmla="*/ 294685 h 306115"/>
                  <a:gd name="connsiteX4" fmla="*/ 117157 w 2314575"/>
                  <a:gd name="connsiteY4" fmla="*/ 291827 h 306115"/>
                  <a:gd name="connsiteX5" fmla="*/ 154305 w 2314575"/>
                  <a:gd name="connsiteY5" fmla="*/ 286112 h 306115"/>
                  <a:gd name="connsiteX6" fmla="*/ 191452 w 2314575"/>
                  <a:gd name="connsiteY6" fmla="*/ 280397 h 306115"/>
                  <a:gd name="connsiteX7" fmla="*/ 225742 w 2314575"/>
                  <a:gd name="connsiteY7" fmla="*/ 274682 h 306115"/>
                  <a:gd name="connsiteX8" fmla="*/ 237172 w 2314575"/>
                  <a:gd name="connsiteY8" fmla="*/ 271825 h 306115"/>
                  <a:gd name="connsiteX9" fmla="*/ 271462 w 2314575"/>
                  <a:gd name="connsiteY9" fmla="*/ 266110 h 306115"/>
                  <a:gd name="connsiteX10" fmla="*/ 288607 w 2314575"/>
                  <a:gd name="connsiteY10" fmla="*/ 263252 h 306115"/>
                  <a:gd name="connsiteX11" fmla="*/ 308610 w 2314575"/>
                  <a:gd name="connsiteY11" fmla="*/ 257537 h 306115"/>
                  <a:gd name="connsiteX12" fmla="*/ 365760 w 2314575"/>
                  <a:gd name="connsiteY12" fmla="*/ 254680 h 306115"/>
                  <a:gd name="connsiteX13" fmla="*/ 480060 w 2314575"/>
                  <a:gd name="connsiteY13" fmla="*/ 246107 h 306115"/>
                  <a:gd name="connsiteX14" fmla="*/ 508635 w 2314575"/>
                  <a:gd name="connsiteY14" fmla="*/ 240392 h 306115"/>
                  <a:gd name="connsiteX15" fmla="*/ 554355 w 2314575"/>
                  <a:gd name="connsiteY15" fmla="*/ 234677 h 306115"/>
                  <a:gd name="connsiteX16" fmla="*/ 588645 w 2314575"/>
                  <a:gd name="connsiteY16" fmla="*/ 228962 h 306115"/>
                  <a:gd name="connsiteX17" fmla="*/ 642937 w 2314575"/>
                  <a:gd name="connsiteY17" fmla="*/ 226105 h 306115"/>
                  <a:gd name="connsiteX18" fmla="*/ 680085 w 2314575"/>
                  <a:gd name="connsiteY18" fmla="*/ 223247 h 306115"/>
                  <a:gd name="connsiteX19" fmla="*/ 700087 w 2314575"/>
                  <a:gd name="connsiteY19" fmla="*/ 220390 h 306115"/>
                  <a:gd name="connsiteX20" fmla="*/ 740092 w 2314575"/>
                  <a:gd name="connsiteY20" fmla="*/ 217532 h 306115"/>
                  <a:gd name="connsiteX21" fmla="*/ 757237 w 2314575"/>
                  <a:gd name="connsiteY21" fmla="*/ 214675 h 306115"/>
                  <a:gd name="connsiteX22" fmla="*/ 780097 w 2314575"/>
                  <a:gd name="connsiteY22" fmla="*/ 211817 h 306115"/>
                  <a:gd name="connsiteX23" fmla="*/ 791527 w 2314575"/>
                  <a:gd name="connsiteY23" fmla="*/ 208960 h 306115"/>
                  <a:gd name="connsiteX24" fmla="*/ 860107 w 2314575"/>
                  <a:gd name="connsiteY24" fmla="*/ 203245 h 306115"/>
                  <a:gd name="connsiteX25" fmla="*/ 900112 w 2314575"/>
                  <a:gd name="connsiteY25" fmla="*/ 197530 h 306115"/>
                  <a:gd name="connsiteX26" fmla="*/ 968692 w 2314575"/>
                  <a:gd name="connsiteY26" fmla="*/ 191815 h 306115"/>
                  <a:gd name="connsiteX27" fmla="*/ 980122 w 2314575"/>
                  <a:gd name="connsiteY27" fmla="*/ 188957 h 306115"/>
                  <a:gd name="connsiteX28" fmla="*/ 1042987 w 2314575"/>
                  <a:gd name="connsiteY28" fmla="*/ 183242 h 306115"/>
                  <a:gd name="connsiteX29" fmla="*/ 1085850 w 2314575"/>
                  <a:gd name="connsiteY29" fmla="*/ 177527 h 306115"/>
                  <a:gd name="connsiteX30" fmla="*/ 1097280 w 2314575"/>
                  <a:gd name="connsiteY30" fmla="*/ 174670 h 306115"/>
                  <a:gd name="connsiteX31" fmla="*/ 1168717 w 2314575"/>
                  <a:gd name="connsiteY31" fmla="*/ 171812 h 306115"/>
                  <a:gd name="connsiteX32" fmla="*/ 1203007 w 2314575"/>
                  <a:gd name="connsiteY32" fmla="*/ 168955 h 306115"/>
                  <a:gd name="connsiteX33" fmla="*/ 1214437 w 2314575"/>
                  <a:gd name="connsiteY33" fmla="*/ 166097 h 306115"/>
                  <a:gd name="connsiteX34" fmla="*/ 1237297 w 2314575"/>
                  <a:gd name="connsiteY34" fmla="*/ 163240 h 306115"/>
                  <a:gd name="connsiteX35" fmla="*/ 1283017 w 2314575"/>
                  <a:gd name="connsiteY35" fmla="*/ 160382 h 306115"/>
                  <a:gd name="connsiteX36" fmla="*/ 1303020 w 2314575"/>
                  <a:gd name="connsiteY36" fmla="*/ 154667 h 306115"/>
                  <a:gd name="connsiteX37" fmla="*/ 1320165 w 2314575"/>
                  <a:gd name="connsiteY37" fmla="*/ 151810 h 306115"/>
                  <a:gd name="connsiteX38" fmla="*/ 1354455 w 2314575"/>
                  <a:gd name="connsiteY38" fmla="*/ 146095 h 306115"/>
                  <a:gd name="connsiteX39" fmla="*/ 1371600 w 2314575"/>
                  <a:gd name="connsiteY39" fmla="*/ 143237 h 306115"/>
                  <a:gd name="connsiteX40" fmla="*/ 1445895 w 2314575"/>
                  <a:gd name="connsiteY40" fmla="*/ 140380 h 306115"/>
                  <a:gd name="connsiteX41" fmla="*/ 1480185 w 2314575"/>
                  <a:gd name="connsiteY41" fmla="*/ 134665 h 306115"/>
                  <a:gd name="connsiteX42" fmla="*/ 1508760 w 2314575"/>
                  <a:gd name="connsiteY42" fmla="*/ 128950 h 306115"/>
                  <a:gd name="connsiteX43" fmla="*/ 1537335 w 2314575"/>
                  <a:gd name="connsiteY43" fmla="*/ 126092 h 306115"/>
                  <a:gd name="connsiteX44" fmla="*/ 1560195 w 2314575"/>
                  <a:gd name="connsiteY44" fmla="*/ 123235 h 306115"/>
                  <a:gd name="connsiteX45" fmla="*/ 1591627 w 2314575"/>
                  <a:gd name="connsiteY45" fmla="*/ 120377 h 306115"/>
                  <a:gd name="connsiteX46" fmla="*/ 1614487 w 2314575"/>
                  <a:gd name="connsiteY46" fmla="*/ 117520 h 306115"/>
                  <a:gd name="connsiteX47" fmla="*/ 1708785 w 2314575"/>
                  <a:gd name="connsiteY47" fmla="*/ 114662 h 306115"/>
                  <a:gd name="connsiteX48" fmla="*/ 1734502 w 2314575"/>
                  <a:gd name="connsiteY48" fmla="*/ 108947 h 306115"/>
                  <a:gd name="connsiteX49" fmla="*/ 1751647 w 2314575"/>
                  <a:gd name="connsiteY49" fmla="*/ 103232 h 306115"/>
                  <a:gd name="connsiteX50" fmla="*/ 1805236 w 2314575"/>
                  <a:gd name="connsiteY50" fmla="*/ 95378 h 306115"/>
                  <a:gd name="connsiteX51" fmla="*/ 1821304 w 2314575"/>
                  <a:gd name="connsiteY51" fmla="*/ 85025 h 306115"/>
                  <a:gd name="connsiteX52" fmla="*/ 1857375 w 2314575"/>
                  <a:gd name="connsiteY52" fmla="*/ 91802 h 306115"/>
                  <a:gd name="connsiteX53" fmla="*/ 1868805 w 2314575"/>
                  <a:gd name="connsiteY53" fmla="*/ 88945 h 306115"/>
                  <a:gd name="connsiteX54" fmla="*/ 1897380 w 2314575"/>
                  <a:gd name="connsiteY54" fmla="*/ 77515 h 306115"/>
                  <a:gd name="connsiteX55" fmla="*/ 1905952 w 2314575"/>
                  <a:gd name="connsiteY55" fmla="*/ 74657 h 306115"/>
                  <a:gd name="connsiteX56" fmla="*/ 1925955 w 2314575"/>
                  <a:gd name="connsiteY56" fmla="*/ 71800 h 306115"/>
                  <a:gd name="connsiteX57" fmla="*/ 1951672 w 2314575"/>
                  <a:gd name="connsiteY57" fmla="*/ 60370 h 306115"/>
                  <a:gd name="connsiteX58" fmla="*/ 1957387 w 2314575"/>
                  <a:gd name="connsiteY58" fmla="*/ 51797 h 306115"/>
                  <a:gd name="connsiteX59" fmla="*/ 1974532 w 2314575"/>
                  <a:gd name="connsiteY59" fmla="*/ 40367 h 306115"/>
                  <a:gd name="connsiteX60" fmla="*/ 1994535 w 2314575"/>
                  <a:gd name="connsiteY60" fmla="*/ 34652 h 306115"/>
                  <a:gd name="connsiteX61" fmla="*/ 2023110 w 2314575"/>
                  <a:gd name="connsiteY61" fmla="*/ 31795 h 306115"/>
                  <a:gd name="connsiteX62" fmla="*/ 2154555 w 2314575"/>
                  <a:gd name="connsiteY62" fmla="*/ 26080 h 306115"/>
                  <a:gd name="connsiteX63" fmla="*/ 2177415 w 2314575"/>
                  <a:gd name="connsiteY63" fmla="*/ 23222 h 306115"/>
                  <a:gd name="connsiteX64" fmla="*/ 2205990 w 2314575"/>
                  <a:gd name="connsiteY64" fmla="*/ 26080 h 306115"/>
                  <a:gd name="connsiteX65" fmla="*/ 2223135 w 2314575"/>
                  <a:gd name="connsiteY65" fmla="*/ 23222 h 306115"/>
                  <a:gd name="connsiteX66" fmla="*/ 2243137 w 2314575"/>
                  <a:gd name="connsiteY66" fmla="*/ 17507 h 306115"/>
                  <a:gd name="connsiteX67" fmla="*/ 2251710 w 2314575"/>
                  <a:gd name="connsiteY67" fmla="*/ 11792 h 306115"/>
                  <a:gd name="connsiteX68" fmla="*/ 2254567 w 2314575"/>
                  <a:gd name="connsiteY68" fmla="*/ 3220 h 306115"/>
                  <a:gd name="connsiteX69" fmla="*/ 2263140 w 2314575"/>
                  <a:gd name="connsiteY69" fmla="*/ 362 h 306115"/>
                  <a:gd name="connsiteX70" fmla="*/ 2314575 w 2314575"/>
                  <a:gd name="connsiteY70" fmla="*/ 362 h 306115"/>
                  <a:gd name="connsiteX0" fmla="*/ 0 w 2314575"/>
                  <a:gd name="connsiteY0" fmla="*/ 306115 h 306115"/>
                  <a:gd name="connsiteX1" fmla="*/ 28575 w 2314575"/>
                  <a:gd name="connsiteY1" fmla="*/ 303257 h 306115"/>
                  <a:gd name="connsiteX2" fmla="*/ 48577 w 2314575"/>
                  <a:gd name="connsiteY2" fmla="*/ 297542 h 306115"/>
                  <a:gd name="connsiteX3" fmla="*/ 60007 w 2314575"/>
                  <a:gd name="connsiteY3" fmla="*/ 294685 h 306115"/>
                  <a:gd name="connsiteX4" fmla="*/ 117157 w 2314575"/>
                  <a:gd name="connsiteY4" fmla="*/ 291827 h 306115"/>
                  <a:gd name="connsiteX5" fmla="*/ 154305 w 2314575"/>
                  <a:gd name="connsiteY5" fmla="*/ 286112 h 306115"/>
                  <a:gd name="connsiteX6" fmla="*/ 191452 w 2314575"/>
                  <a:gd name="connsiteY6" fmla="*/ 280397 h 306115"/>
                  <a:gd name="connsiteX7" fmla="*/ 225742 w 2314575"/>
                  <a:gd name="connsiteY7" fmla="*/ 274682 h 306115"/>
                  <a:gd name="connsiteX8" fmla="*/ 237172 w 2314575"/>
                  <a:gd name="connsiteY8" fmla="*/ 271825 h 306115"/>
                  <a:gd name="connsiteX9" fmla="*/ 271462 w 2314575"/>
                  <a:gd name="connsiteY9" fmla="*/ 266110 h 306115"/>
                  <a:gd name="connsiteX10" fmla="*/ 288607 w 2314575"/>
                  <a:gd name="connsiteY10" fmla="*/ 263252 h 306115"/>
                  <a:gd name="connsiteX11" fmla="*/ 308610 w 2314575"/>
                  <a:gd name="connsiteY11" fmla="*/ 257537 h 306115"/>
                  <a:gd name="connsiteX12" fmla="*/ 365760 w 2314575"/>
                  <a:gd name="connsiteY12" fmla="*/ 254680 h 306115"/>
                  <a:gd name="connsiteX13" fmla="*/ 480060 w 2314575"/>
                  <a:gd name="connsiteY13" fmla="*/ 246107 h 306115"/>
                  <a:gd name="connsiteX14" fmla="*/ 508635 w 2314575"/>
                  <a:gd name="connsiteY14" fmla="*/ 240392 h 306115"/>
                  <a:gd name="connsiteX15" fmla="*/ 554355 w 2314575"/>
                  <a:gd name="connsiteY15" fmla="*/ 234677 h 306115"/>
                  <a:gd name="connsiteX16" fmla="*/ 588645 w 2314575"/>
                  <a:gd name="connsiteY16" fmla="*/ 228962 h 306115"/>
                  <a:gd name="connsiteX17" fmla="*/ 642937 w 2314575"/>
                  <a:gd name="connsiteY17" fmla="*/ 226105 h 306115"/>
                  <a:gd name="connsiteX18" fmla="*/ 680085 w 2314575"/>
                  <a:gd name="connsiteY18" fmla="*/ 223247 h 306115"/>
                  <a:gd name="connsiteX19" fmla="*/ 700087 w 2314575"/>
                  <a:gd name="connsiteY19" fmla="*/ 220390 h 306115"/>
                  <a:gd name="connsiteX20" fmla="*/ 740092 w 2314575"/>
                  <a:gd name="connsiteY20" fmla="*/ 217532 h 306115"/>
                  <a:gd name="connsiteX21" fmla="*/ 757237 w 2314575"/>
                  <a:gd name="connsiteY21" fmla="*/ 214675 h 306115"/>
                  <a:gd name="connsiteX22" fmla="*/ 780097 w 2314575"/>
                  <a:gd name="connsiteY22" fmla="*/ 211817 h 306115"/>
                  <a:gd name="connsiteX23" fmla="*/ 791527 w 2314575"/>
                  <a:gd name="connsiteY23" fmla="*/ 208960 h 306115"/>
                  <a:gd name="connsiteX24" fmla="*/ 860107 w 2314575"/>
                  <a:gd name="connsiteY24" fmla="*/ 203245 h 306115"/>
                  <a:gd name="connsiteX25" fmla="*/ 900112 w 2314575"/>
                  <a:gd name="connsiteY25" fmla="*/ 197530 h 306115"/>
                  <a:gd name="connsiteX26" fmla="*/ 968692 w 2314575"/>
                  <a:gd name="connsiteY26" fmla="*/ 191815 h 306115"/>
                  <a:gd name="connsiteX27" fmla="*/ 980122 w 2314575"/>
                  <a:gd name="connsiteY27" fmla="*/ 188957 h 306115"/>
                  <a:gd name="connsiteX28" fmla="*/ 1042987 w 2314575"/>
                  <a:gd name="connsiteY28" fmla="*/ 183242 h 306115"/>
                  <a:gd name="connsiteX29" fmla="*/ 1085850 w 2314575"/>
                  <a:gd name="connsiteY29" fmla="*/ 177527 h 306115"/>
                  <a:gd name="connsiteX30" fmla="*/ 1097280 w 2314575"/>
                  <a:gd name="connsiteY30" fmla="*/ 174670 h 306115"/>
                  <a:gd name="connsiteX31" fmla="*/ 1168717 w 2314575"/>
                  <a:gd name="connsiteY31" fmla="*/ 171812 h 306115"/>
                  <a:gd name="connsiteX32" fmla="*/ 1203007 w 2314575"/>
                  <a:gd name="connsiteY32" fmla="*/ 168955 h 306115"/>
                  <a:gd name="connsiteX33" fmla="*/ 1214437 w 2314575"/>
                  <a:gd name="connsiteY33" fmla="*/ 166097 h 306115"/>
                  <a:gd name="connsiteX34" fmla="*/ 1237297 w 2314575"/>
                  <a:gd name="connsiteY34" fmla="*/ 163240 h 306115"/>
                  <a:gd name="connsiteX35" fmla="*/ 1283017 w 2314575"/>
                  <a:gd name="connsiteY35" fmla="*/ 160382 h 306115"/>
                  <a:gd name="connsiteX36" fmla="*/ 1303020 w 2314575"/>
                  <a:gd name="connsiteY36" fmla="*/ 154667 h 306115"/>
                  <a:gd name="connsiteX37" fmla="*/ 1320165 w 2314575"/>
                  <a:gd name="connsiteY37" fmla="*/ 151810 h 306115"/>
                  <a:gd name="connsiteX38" fmla="*/ 1354455 w 2314575"/>
                  <a:gd name="connsiteY38" fmla="*/ 146095 h 306115"/>
                  <a:gd name="connsiteX39" fmla="*/ 1371600 w 2314575"/>
                  <a:gd name="connsiteY39" fmla="*/ 143237 h 306115"/>
                  <a:gd name="connsiteX40" fmla="*/ 1445895 w 2314575"/>
                  <a:gd name="connsiteY40" fmla="*/ 140380 h 306115"/>
                  <a:gd name="connsiteX41" fmla="*/ 1480185 w 2314575"/>
                  <a:gd name="connsiteY41" fmla="*/ 134665 h 306115"/>
                  <a:gd name="connsiteX42" fmla="*/ 1508760 w 2314575"/>
                  <a:gd name="connsiteY42" fmla="*/ 128950 h 306115"/>
                  <a:gd name="connsiteX43" fmla="*/ 1537335 w 2314575"/>
                  <a:gd name="connsiteY43" fmla="*/ 126092 h 306115"/>
                  <a:gd name="connsiteX44" fmla="*/ 1560195 w 2314575"/>
                  <a:gd name="connsiteY44" fmla="*/ 123235 h 306115"/>
                  <a:gd name="connsiteX45" fmla="*/ 1591627 w 2314575"/>
                  <a:gd name="connsiteY45" fmla="*/ 120377 h 306115"/>
                  <a:gd name="connsiteX46" fmla="*/ 1614487 w 2314575"/>
                  <a:gd name="connsiteY46" fmla="*/ 117520 h 306115"/>
                  <a:gd name="connsiteX47" fmla="*/ 1708785 w 2314575"/>
                  <a:gd name="connsiteY47" fmla="*/ 114662 h 306115"/>
                  <a:gd name="connsiteX48" fmla="*/ 1734502 w 2314575"/>
                  <a:gd name="connsiteY48" fmla="*/ 108947 h 306115"/>
                  <a:gd name="connsiteX49" fmla="*/ 1751647 w 2314575"/>
                  <a:gd name="connsiteY49" fmla="*/ 103232 h 306115"/>
                  <a:gd name="connsiteX50" fmla="*/ 1805236 w 2314575"/>
                  <a:gd name="connsiteY50" fmla="*/ 95378 h 306115"/>
                  <a:gd name="connsiteX51" fmla="*/ 1821304 w 2314575"/>
                  <a:gd name="connsiteY51" fmla="*/ 85025 h 306115"/>
                  <a:gd name="connsiteX52" fmla="*/ 1849880 w 2314575"/>
                  <a:gd name="connsiteY52" fmla="*/ 81809 h 306115"/>
                  <a:gd name="connsiteX53" fmla="*/ 1868805 w 2314575"/>
                  <a:gd name="connsiteY53" fmla="*/ 88945 h 306115"/>
                  <a:gd name="connsiteX54" fmla="*/ 1897380 w 2314575"/>
                  <a:gd name="connsiteY54" fmla="*/ 77515 h 306115"/>
                  <a:gd name="connsiteX55" fmla="*/ 1905952 w 2314575"/>
                  <a:gd name="connsiteY55" fmla="*/ 74657 h 306115"/>
                  <a:gd name="connsiteX56" fmla="*/ 1925955 w 2314575"/>
                  <a:gd name="connsiteY56" fmla="*/ 71800 h 306115"/>
                  <a:gd name="connsiteX57" fmla="*/ 1951672 w 2314575"/>
                  <a:gd name="connsiteY57" fmla="*/ 60370 h 306115"/>
                  <a:gd name="connsiteX58" fmla="*/ 1957387 w 2314575"/>
                  <a:gd name="connsiteY58" fmla="*/ 51797 h 306115"/>
                  <a:gd name="connsiteX59" fmla="*/ 1974532 w 2314575"/>
                  <a:gd name="connsiteY59" fmla="*/ 40367 h 306115"/>
                  <a:gd name="connsiteX60" fmla="*/ 1994535 w 2314575"/>
                  <a:gd name="connsiteY60" fmla="*/ 34652 h 306115"/>
                  <a:gd name="connsiteX61" fmla="*/ 2023110 w 2314575"/>
                  <a:gd name="connsiteY61" fmla="*/ 31795 h 306115"/>
                  <a:gd name="connsiteX62" fmla="*/ 2154555 w 2314575"/>
                  <a:gd name="connsiteY62" fmla="*/ 26080 h 306115"/>
                  <a:gd name="connsiteX63" fmla="*/ 2177415 w 2314575"/>
                  <a:gd name="connsiteY63" fmla="*/ 23222 h 306115"/>
                  <a:gd name="connsiteX64" fmla="*/ 2205990 w 2314575"/>
                  <a:gd name="connsiteY64" fmla="*/ 26080 h 306115"/>
                  <a:gd name="connsiteX65" fmla="*/ 2223135 w 2314575"/>
                  <a:gd name="connsiteY65" fmla="*/ 23222 h 306115"/>
                  <a:gd name="connsiteX66" fmla="*/ 2243137 w 2314575"/>
                  <a:gd name="connsiteY66" fmla="*/ 17507 h 306115"/>
                  <a:gd name="connsiteX67" fmla="*/ 2251710 w 2314575"/>
                  <a:gd name="connsiteY67" fmla="*/ 11792 h 306115"/>
                  <a:gd name="connsiteX68" fmla="*/ 2254567 w 2314575"/>
                  <a:gd name="connsiteY68" fmla="*/ 3220 h 306115"/>
                  <a:gd name="connsiteX69" fmla="*/ 2263140 w 2314575"/>
                  <a:gd name="connsiteY69" fmla="*/ 362 h 306115"/>
                  <a:gd name="connsiteX70" fmla="*/ 2314575 w 2314575"/>
                  <a:gd name="connsiteY70" fmla="*/ 362 h 306115"/>
                  <a:gd name="connsiteX0" fmla="*/ 0 w 2314575"/>
                  <a:gd name="connsiteY0" fmla="*/ 306115 h 306115"/>
                  <a:gd name="connsiteX1" fmla="*/ 28575 w 2314575"/>
                  <a:gd name="connsiteY1" fmla="*/ 303257 h 306115"/>
                  <a:gd name="connsiteX2" fmla="*/ 48577 w 2314575"/>
                  <a:gd name="connsiteY2" fmla="*/ 297542 h 306115"/>
                  <a:gd name="connsiteX3" fmla="*/ 60007 w 2314575"/>
                  <a:gd name="connsiteY3" fmla="*/ 294685 h 306115"/>
                  <a:gd name="connsiteX4" fmla="*/ 117157 w 2314575"/>
                  <a:gd name="connsiteY4" fmla="*/ 291827 h 306115"/>
                  <a:gd name="connsiteX5" fmla="*/ 154305 w 2314575"/>
                  <a:gd name="connsiteY5" fmla="*/ 286112 h 306115"/>
                  <a:gd name="connsiteX6" fmla="*/ 191452 w 2314575"/>
                  <a:gd name="connsiteY6" fmla="*/ 280397 h 306115"/>
                  <a:gd name="connsiteX7" fmla="*/ 225742 w 2314575"/>
                  <a:gd name="connsiteY7" fmla="*/ 274682 h 306115"/>
                  <a:gd name="connsiteX8" fmla="*/ 237172 w 2314575"/>
                  <a:gd name="connsiteY8" fmla="*/ 271825 h 306115"/>
                  <a:gd name="connsiteX9" fmla="*/ 271462 w 2314575"/>
                  <a:gd name="connsiteY9" fmla="*/ 266110 h 306115"/>
                  <a:gd name="connsiteX10" fmla="*/ 288607 w 2314575"/>
                  <a:gd name="connsiteY10" fmla="*/ 263252 h 306115"/>
                  <a:gd name="connsiteX11" fmla="*/ 308610 w 2314575"/>
                  <a:gd name="connsiteY11" fmla="*/ 257537 h 306115"/>
                  <a:gd name="connsiteX12" fmla="*/ 365760 w 2314575"/>
                  <a:gd name="connsiteY12" fmla="*/ 254680 h 306115"/>
                  <a:gd name="connsiteX13" fmla="*/ 480060 w 2314575"/>
                  <a:gd name="connsiteY13" fmla="*/ 246107 h 306115"/>
                  <a:gd name="connsiteX14" fmla="*/ 508635 w 2314575"/>
                  <a:gd name="connsiteY14" fmla="*/ 240392 h 306115"/>
                  <a:gd name="connsiteX15" fmla="*/ 554355 w 2314575"/>
                  <a:gd name="connsiteY15" fmla="*/ 234677 h 306115"/>
                  <a:gd name="connsiteX16" fmla="*/ 588645 w 2314575"/>
                  <a:gd name="connsiteY16" fmla="*/ 228962 h 306115"/>
                  <a:gd name="connsiteX17" fmla="*/ 642937 w 2314575"/>
                  <a:gd name="connsiteY17" fmla="*/ 226105 h 306115"/>
                  <a:gd name="connsiteX18" fmla="*/ 680085 w 2314575"/>
                  <a:gd name="connsiteY18" fmla="*/ 223247 h 306115"/>
                  <a:gd name="connsiteX19" fmla="*/ 700087 w 2314575"/>
                  <a:gd name="connsiteY19" fmla="*/ 220390 h 306115"/>
                  <a:gd name="connsiteX20" fmla="*/ 740092 w 2314575"/>
                  <a:gd name="connsiteY20" fmla="*/ 217532 h 306115"/>
                  <a:gd name="connsiteX21" fmla="*/ 757237 w 2314575"/>
                  <a:gd name="connsiteY21" fmla="*/ 214675 h 306115"/>
                  <a:gd name="connsiteX22" fmla="*/ 780097 w 2314575"/>
                  <a:gd name="connsiteY22" fmla="*/ 211817 h 306115"/>
                  <a:gd name="connsiteX23" fmla="*/ 791527 w 2314575"/>
                  <a:gd name="connsiteY23" fmla="*/ 208960 h 306115"/>
                  <a:gd name="connsiteX24" fmla="*/ 860107 w 2314575"/>
                  <a:gd name="connsiteY24" fmla="*/ 203245 h 306115"/>
                  <a:gd name="connsiteX25" fmla="*/ 900112 w 2314575"/>
                  <a:gd name="connsiteY25" fmla="*/ 197530 h 306115"/>
                  <a:gd name="connsiteX26" fmla="*/ 968692 w 2314575"/>
                  <a:gd name="connsiteY26" fmla="*/ 191815 h 306115"/>
                  <a:gd name="connsiteX27" fmla="*/ 980122 w 2314575"/>
                  <a:gd name="connsiteY27" fmla="*/ 188957 h 306115"/>
                  <a:gd name="connsiteX28" fmla="*/ 1042987 w 2314575"/>
                  <a:gd name="connsiteY28" fmla="*/ 183242 h 306115"/>
                  <a:gd name="connsiteX29" fmla="*/ 1085850 w 2314575"/>
                  <a:gd name="connsiteY29" fmla="*/ 177527 h 306115"/>
                  <a:gd name="connsiteX30" fmla="*/ 1097280 w 2314575"/>
                  <a:gd name="connsiteY30" fmla="*/ 174670 h 306115"/>
                  <a:gd name="connsiteX31" fmla="*/ 1168717 w 2314575"/>
                  <a:gd name="connsiteY31" fmla="*/ 171812 h 306115"/>
                  <a:gd name="connsiteX32" fmla="*/ 1203007 w 2314575"/>
                  <a:gd name="connsiteY32" fmla="*/ 168955 h 306115"/>
                  <a:gd name="connsiteX33" fmla="*/ 1214437 w 2314575"/>
                  <a:gd name="connsiteY33" fmla="*/ 166097 h 306115"/>
                  <a:gd name="connsiteX34" fmla="*/ 1237297 w 2314575"/>
                  <a:gd name="connsiteY34" fmla="*/ 163240 h 306115"/>
                  <a:gd name="connsiteX35" fmla="*/ 1283017 w 2314575"/>
                  <a:gd name="connsiteY35" fmla="*/ 160382 h 306115"/>
                  <a:gd name="connsiteX36" fmla="*/ 1303020 w 2314575"/>
                  <a:gd name="connsiteY36" fmla="*/ 154667 h 306115"/>
                  <a:gd name="connsiteX37" fmla="*/ 1320165 w 2314575"/>
                  <a:gd name="connsiteY37" fmla="*/ 151810 h 306115"/>
                  <a:gd name="connsiteX38" fmla="*/ 1354455 w 2314575"/>
                  <a:gd name="connsiteY38" fmla="*/ 146095 h 306115"/>
                  <a:gd name="connsiteX39" fmla="*/ 1371600 w 2314575"/>
                  <a:gd name="connsiteY39" fmla="*/ 143237 h 306115"/>
                  <a:gd name="connsiteX40" fmla="*/ 1445895 w 2314575"/>
                  <a:gd name="connsiteY40" fmla="*/ 140380 h 306115"/>
                  <a:gd name="connsiteX41" fmla="*/ 1480185 w 2314575"/>
                  <a:gd name="connsiteY41" fmla="*/ 134665 h 306115"/>
                  <a:gd name="connsiteX42" fmla="*/ 1508760 w 2314575"/>
                  <a:gd name="connsiteY42" fmla="*/ 128950 h 306115"/>
                  <a:gd name="connsiteX43" fmla="*/ 1537335 w 2314575"/>
                  <a:gd name="connsiteY43" fmla="*/ 126092 h 306115"/>
                  <a:gd name="connsiteX44" fmla="*/ 1560195 w 2314575"/>
                  <a:gd name="connsiteY44" fmla="*/ 123235 h 306115"/>
                  <a:gd name="connsiteX45" fmla="*/ 1591627 w 2314575"/>
                  <a:gd name="connsiteY45" fmla="*/ 120377 h 306115"/>
                  <a:gd name="connsiteX46" fmla="*/ 1614487 w 2314575"/>
                  <a:gd name="connsiteY46" fmla="*/ 117520 h 306115"/>
                  <a:gd name="connsiteX47" fmla="*/ 1708785 w 2314575"/>
                  <a:gd name="connsiteY47" fmla="*/ 114662 h 306115"/>
                  <a:gd name="connsiteX48" fmla="*/ 1734502 w 2314575"/>
                  <a:gd name="connsiteY48" fmla="*/ 108947 h 306115"/>
                  <a:gd name="connsiteX49" fmla="*/ 1751647 w 2314575"/>
                  <a:gd name="connsiteY49" fmla="*/ 103232 h 306115"/>
                  <a:gd name="connsiteX50" fmla="*/ 1805236 w 2314575"/>
                  <a:gd name="connsiteY50" fmla="*/ 95378 h 306115"/>
                  <a:gd name="connsiteX51" fmla="*/ 1821304 w 2314575"/>
                  <a:gd name="connsiteY51" fmla="*/ 85025 h 306115"/>
                  <a:gd name="connsiteX52" fmla="*/ 1849880 w 2314575"/>
                  <a:gd name="connsiteY52" fmla="*/ 81809 h 306115"/>
                  <a:gd name="connsiteX53" fmla="*/ 1866307 w 2314575"/>
                  <a:gd name="connsiteY53" fmla="*/ 76453 h 306115"/>
                  <a:gd name="connsiteX54" fmla="*/ 1897380 w 2314575"/>
                  <a:gd name="connsiteY54" fmla="*/ 77515 h 306115"/>
                  <a:gd name="connsiteX55" fmla="*/ 1905952 w 2314575"/>
                  <a:gd name="connsiteY55" fmla="*/ 74657 h 306115"/>
                  <a:gd name="connsiteX56" fmla="*/ 1925955 w 2314575"/>
                  <a:gd name="connsiteY56" fmla="*/ 71800 h 306115"/>
                  <a:gd name="connsiteX57" fmla="*/ 1951672 w 2314575"/>
                  <a:gd name="connsiteY57" fmla="*/ 60370 h 306115"/>
                  <a:gd name="connsiteX58" fmla="*/ 1957387 w 2314575"/>
                  <a:gd name="connsiteY58" fmla="*/ 51797 h 306115"/>
                  <a:gd name="connsiteX59" fmla="*/ 1974532 w 2314575"/>
                  <a:gd name="connsiteY59" fmla="*/ 40367 h 306115"/>
                  <a:gd name="connsiteX60" fmla="*/ 1994535 w 2314575"/>
                  <a:gd name="connsiteY60" fmla="*/ 34652 h 306115"/>
                  <a:gd name="connsiteX61" fmla="*/ 2023110 w 2314575"/>
                  <a:gd name="connsiteY61" fmla="*/ 31795 h 306115"/>
                  <a:gd name="connsiteX62" fmla="*/ 2154555 w 2314575"/>
                  <a:gd name="connsiteY62" fmla="*/ 26080 h 306115"/>
                  <a:gd name="connsiteX63" fmla="*/ 2177415 w 2314575"/>
                  <a:gd name="connsiteY63" fmla="*/ 23222 h 306115"/>
                  <a:gd name="connsiteX64" fmla="*/ 2205990 w 2314575"/>
                  <a:gd name="connsiteY64" fmla="*/ 26080 h 306115"/>
                  <a:gd name="connsiteX65" fmla="*/ 2223135 w 2314575"/>
                  <a:gd name="connsiteY65" fmla="*/ 23222 h 306115"/>
                  <a:gd name="connsiteX66" fmla="*/ 2243137 w 2314575"/>
                  <a:gd name="connsiteY66" fmla="*/ 17507 h 306115"/>
                  <a:gd name="connsiteX67" fmla="*/ 2251710 w 2314575"/>
                  <a:gd name="connsiteY67" fmla="*/ 11792 h 306115"/>
                  <a:gd name="connsiteX68" fmla="*/ 2254567 w 2314575"/>
                  <a:gd name="connsiteY68" fmla="*/ 3220 h 306115"/>
                  <a:gd name="connsiteX69" fmla="*/ 2263140 w 2314575"/>
                  <a:gd name="connsiteY69" fmla="*/ 362 h 306115"/>
                  <a:gd name="connsiteX70" fmla="*/ 2314575 w 2314575"/>
                  <a:gd name="connsiteY70" fmla="*/ 362 h 306115"/>
                  <a:gd name="connsiteX0" fmla="*/ 0 w 2314575"/>
                  <a:gd name="connsiteY0" fmla="*/ 306115 h 306115"/>
                  <a:gd name="connsiteX1" fmla="*/ 28575 w 2314575"/>
                  <a:gd name="connsiteY1" fmla="*/ 303257 h 306115"/>
                  <a:gd name="connsiteX2" fmla="*/ 48577 w 2314575"/>
                  <a:gd name="connsiteY2" fmla="*/ 297542 h 306115"/>
                  <a:gd name="connsiteX3" fmla="*/ 60007 w 2314575"/>
                  <a:gd name="connsiteY3" fmla="*/ 294685 h 306115"/>
                  <a:gd name="connsiteX4" fmla="*/ 117157 w 2314575"/>
                  <a:gd name="connsiteY4" fmla="*/ 291827 h 306115"/>
                  <a:gd name="connsiteX5" fmla="*/ 154305 w 2314575"/>
                  <a:gd name="connsiteY5" fmla="*/ 286112 h 306115"/>
                  <a:gd name="connsiteX6" fmla="*/ 191452 w 2314575"/>
                  <a:gd name="connsiteY6" fmla="*/ 280397 h 306115"/>
                  <a:gd name="connsiteX7" fmla="*/ 225742 w 2314575"/>
                  <a:gd name="connsiteY7" fmla="*/ 274682 h 306115"/>
                  <a:gd name="connsiteX8" fmla="*/ 237172 w 2314575"/>
                  <a:gd name="connsiteY8" fmla="*/ 271825 h 306115"/>
                  <a:gd name="connsiteX9" fmla="*/ 271462 w 2314575"/>
                  <a:gd name="connsiteY9" fmla="*/ 266110 h 306115"/>
                  <a:gd name="connsiteX10" fmla="*/ 288607 w 2314575"/>
                  <a:gd name="connsiteY10" fmla="*/ 263252 h 306115"/>
                  <a:gd name="connsiteX11" fmla="*/ 308610 w 2314575"/>
                  <a:gd name="connsiteY11" fmla="*/ 257537 h 306115"/>
                  <a:gd name="connsiteX12" fmla="*/ 365760 w 2314575"/>
                  <a:gd name="connsiteY12" fmla="*/ 254680 h 306115"/>
                  <a:gd name="connsiteX13" fmla="*/ 480060 w 2314575"/>
                  <a:gd name="connsiteY13" fmla="*/ 246107 h 306115"/>
                  <a:gd name="connsiteX14" fmla="*/ 508635 w 2314575"/>
                  <a:gd name="connsiteY14" fmla="*/ 240392 h 306115"/>
                  <a:gd name="connsiteX15" fmla="*/ 554355 w 2314575"/>
                  <a:gd name="connsiteY15" fmla="*/ 234677 h 306115"/>
                  <a:gd name="connsiteX16" fmla="*/ 588645 w 2314575"/>
                  <a:gd name="connsiteY16" fmla="*/ 228962 h 306115"/>
                  <a:gd name="connsiteX17" fmla="*/ 642937 w 2314575"/>
                  <a:gd name="connsiteY17" fmla="*/ 226105 h 306115"/>
                  <a:gd name="connsiteX18" fmla="*/ 680085 w 2314575"/>
                  <a:gd name="connsiteY18" fmla="*/ 223247 h 306115"/>
                  <a:gd name="connsiteX19" fmla="*/ 700087 w 2314575"/>
                  <a:gd name="connsiteY19" fmla="*/ 220390 h 306115"/>
                  <a:gd name="connsiteX20" fmla="*/ 740092 w 2314575"/>
                  <a:gd name="connsiteY20" fmla="*/ 217532 h 306115"/>
                  <a:gd name="connsiteX21" fmla="*/ 757237 w 2314575"/>
                  <a:gd name="connsiteY21" fmla="*/ 214675 h 306115"/>
                  <a:gd name="connsiteX22" fmla="*/ 780097 w 2314575"/>
                  <a:gd name="connsiteY22" fmla="*/ 211817 h 306115"/>
                  <a:gd name="connsiteX23" fmla="*/ 791527 w 2314575"/>
                  <a:gd name="connsiteY23" fmla="*/ 208960 h 306115"/>
                  <a:gd name="connsiteX24" fmla="*/ 860107 w 2314575"/>
                  <a:gd name="connsiteY24" fmla="*/ 203245 h 306115"/>
                  <a:gd name="connsiteX25" fmla="*/ 900112 w 2314575"/>
                  <a:gd name="connsiteY25" fmla="*/ 197530 h 306115"/>
                  <a:gd name="connsiteX26" fmla="*/ 968692 w 2314575"/>
                  <a:gd name="connsiteY26" fmla="*/ 191815 h 306115"/>
                  <a:gd name="connsiteX27" fmla="*/ 980122 w 2314575"/>
                  <a:gd name="connsiteY27" fmla="*/ 188957 h 306115"/>
                  <a:gd name="connsiteX28" fmla="*/ 1042987 w 2314575"/>
                  <a:gd name="connsiteY28" fmla="*/ 183242 h 306115"/>
                  <a:gd name="connsiteX29" fmla="*/ 1085850 w 2314575"/>
                  <a:gd name="connsiteY29" fmla="*/ 177527 h 306115"/>
                  <a:gd name="connsiteX30" fmla="*/ 1097280 w 2314575"/>
                  <a:gd name="connsiteY30" fmla="*/ 174670 h 306115"/>
                  <a:gd name="connsiteX31" fmla="*/ 1168717 w 2314575"/>
                  <a:gd name="connsiteY31" fmla="*/ 171812 h 306115"/>
                  <a:gd name="connsiteX32" fmla="*/ 1203007 w 2314575"/>
                  <a:gd name="connsiteY32" fmla="*/ 168955 h 306115"/>
                  <a:gd name="connsiteX33" fmla="*/ 1214437 w 2314575"/>
                  <a:gd name="connsiteY33" fmla="*/ 166097 h 306115"/>
                  <a:gd name="connsiteX34" fmla="*/ 1237297 w 2314575"/>
                  <a:gd name="connsiteY34" fmla="*/ 163240 h 306115"/>
                  <a:gd name="connsiteX35" fmla="*/ 1283017 w 2314575"/>
                  <a:gd name="connsiteY35" fmla="*/ 160382 h 306115"/>
                  <a:gd name="connsiteX36" fmla="*/ 1303020 w 2314575"/>
                  <a:gd name="connsiteY36" fmla="*/ 154667 h 306115"/>
                  <a:gd name="connsiteX37" fmla="*/ 1320165 w 2314575"/>
                  <a:gd name="connsiteY37" fmla="*/ 151810 h 306115"/>
                  <a:gd name="connsiteX38" fmla="*/ 1354455 w 2314575"/>
                  <a:gd name="connsiteY38" fmla="*/ 146095 h 306115"/>
                  <a:gd name="connsiteX39" fmla="*/ 1371600 w 2314575"/>
                  <a:gd name="connsiteY39" fmla="*/ 143237 h 306115"/>
                  <a:gd name="connsiteX40" fmla="*/ 1445895 w 2314575"/>
                  <a:gd name="connsiteY40" fmla="*/ 140380 h 306115"/>
                  <a:gd name="connsiteX41" fmla="*/ 1480185 w 2314575"/>
                  <a:gd name="connsiteY41" fmla="*/ 134665 h 306115"/>
                  <a:gd name="connsiteX42" fmla="*/ 1508760 w 2314575"/>
                  <a:gd name="connsiteY42" fmla="*/ 128950 h 306115"/>
                  <a:gd name="connsiteX43" fmla="*/ 1537335 w 2314575"/>
                  <a:gd name="connsiteY43" fmla="*/ 126092 h 306115"/>
                  <a:gd name="connsiteX44" fmla="*/ 1560195 w 2314575"/>
                  <a:gd name="connsiteY44" fmla="*/ 123235 h 306115"/>
                  <a:gd name="connsiteX45" fmla="*/ 1591627 w 2314575"/>
                  <a:gd name="connsiteY45" fmla="*/ 120377 h 306115"/>
                  <a:gd name="connsiteX46" fmla="*/ 1614487 w 2314575"/>
                  <a:gd name="connsiteY46" fmla="*/ 117520 h 306115"/>
                  <a:gd name="connsiteX47" fmla="*/ 1708785 w 2314575"/>
                  <a:gd name="connsiteY47" fmla="*/ 114662 h 306115"/>
                  <a:gd name="connsiteX48" fmla="*/ 1734502 w 2314575"/>
                  <a:gd name="connsiteY48" fmla="*/ 108947 h 306115"/>
                  <a:gd name="connsiteX49" fmla="*/ 1751647 w 2314575"/>
                  <a:gd name="connsiteY49" fmla="*/ 103232 h 306115"/>
                  <a:gd name="connsiteX50" fmla="*/ 1805236 w 2314575"/>
                  <a:gd name="connsiteY50" fmla="*/ 95378 h 306115"/>
                  <a:gd name="connsiteX51" fmla="*/ 1821304 w 2314575"/>
                  <a:gd name="connsiteY51" fmla="*/ 85025 h 306115"/>
                  <a:gd name="connsiteX52" fmla="*/ 1849880 w 2314575"/>
                  <a:gd name="connsiteY52" fmla="*/ 81809 h 306115"/>
                  <a:gd name="connsiteX53" fmla="*/ 1866307 w 2314575"/>
                  <a:gd name="connsiteY53" fmla="*/ 76453 h 306115"/>
                  <a:gd name="connsiteX54" fmla="*/ 1897380 w 2314575"/>
                  <a:gd name="connsiteY54" fmla="*/ 77515 h 306115"/>
                  <a:gd name="connsiteX55" fmla="*/ 1905952 w 2314575"/>
                  <a:gd name="connsiteY55" fmla="*/ 74657 h 306115"/>
                  <a:gd name="connsiteX56" fmla="*/ 1925955 w 2314575"/>
                  <a:gd name="connsiteY56" fmla="*/ 64304 h 306115"/>
                  <a:gd name="connsiteX57" fmla="*/ 1951672 w 2314575"/>
                  <a:gd name="connsiteY57" fmla="*/ 60370 h 306115"/>
                  <a:gd name="connsiteX58" fmla="*/ 1957387 w 2314575"/>
                  <a:gd name="connsiteY58" fmla="*/ 51797 h 306115"/>
                  <a:gd name="connsiteX59" fmla="*/ 1974532 w 2314575"/>
                  <a:gd name="connsiteY59" fmla="*/ 40367 h 306115"/>
                  <a:gd name="connsiteX60" fmla="*/ 1994535 w 2314575"/>
                  <a:gd name="connsiteY60" fmla="*/ 34652 h 306115"/>
                  <a:gd name="connsiteX61" fmla="*/ 2023110 w 2314575"/>
                  <a:gd name="connsiteY61" fmla="*/ 31795 h 306115"/>
                  <a:gd name="connsiteX62" fmla="*/ 2154555 w 2314575"/>
                  <a:gd name="connsiteY62" fmla="*/ 26080 h 306115"/>
                  <a:gd name="connsiteX63" fmla="*/ 2177415 w 2314575"/>
                  <a:gd name="connsiteY63" fmla="*/ 23222 h 306115"/>
                  <a:gd name="connsiteX64" fmla="*/ 2205990 w 2314575"/>
                  <a:gd name="connsiteY64" fmla="*/ 26080 h 306115"/>
                  <a:gd name="connsiteX65" fmla="*/ 2223135 w 2314575"/>
                  <a:gd name="connsiteY65" fmla="*/ 23222 h 306115"/>
                  <a:gd name="connsiteX66" fmla="*/ 2243137 w 2314575"/>
                  <a:gd name="connsiteY66" fmla="*/ 17507 h 306115"/>
                  <a:gd name="connsiteX67" fmla="*/ 2251710 w 2314575"/>
                  <a:gd name="connsiteY67" fmla="*/ 11792 h 306115"/>
                  <a:gd name="connsiteX68" fmla="*/ 2254567 w 2314575"/>
                  <a:gd name="connsiteY68" fmla="*/ 3220 h 306115"/>
                  <a:gd name="connsiteX69" fmla="*/ 2263140 w 2314575"/>
                  <a:gd name="connsiteY69" fmla="*/ 362 h 306115"/>
                  <a:gd name="connsiteX70" fmla="*/ 2314575 w 2314575"/>
                  <a:gd name="connsiteY70" fmla="*/ 362 h 306115"/>
                  <a:gd name="connsiteX0" fmla="*/ 0 w 2314575"/>
                  <a:gd name="connsiteY0" fmla="*/ 306115 h 306115"/>
                  <a:gd name="connsiteX1" fmla="*/ 28575 w 2314575"/>
                  <a:gd name="connsiteY1" fmla="*/ 303257 h 306115"/>
                  <a:gd name="connsiteX2" fmla="*/ 48577 w 2314575"/>
                  <a:gd name="connsiteY2" fmla="*/ 297542 h 306115"/>
                  <a:gd name="connsiteX3" fmla="*/ 60007 w 2314575"/>
                  <a:gd name="connsiteY3" fmla="*/ 294685 h 306115"/>
                  <a:gd name="connsiteX4" fmla="*/ 117157 w 2314575"/>
                  <a:gd name="connsiteY4" fmla="*/ 291827 h 306115"/>
                  <a:gd name="connsiteX5" fmla="*/ 154305 w 2314575"/>
                  <a:gd name="connsiteY5" fmla="*/ 286112 h 306115"/>
                  <a:gd name="connsiteX6" fmla="*/ 191452 w 2314575"/>
                  <a:gd name="connsiteY6" fmla="*/ 280397 h 306115"/>
                  <a:gd name="connsiteX7" fmla="*/ 225742 w 2314575"/>
                  <a:gd name="connsiteY7" fmla="*/ 274682 h 306115"/>
                  <a:gd name="connsiteX8" fmla="*/ 237172 w 2314575"/>
                  <a:gd name="connsiteY8" fmla="*/ 271825 h 306115"/>
                  <a:gd name="connsiteX9" fmla="*/ 271462 w 2314575"/>
                  <a:gd name="connsiteY9" fmla="*/ 266110 h 306115"/>
                  <a:gd name="connsiteX10" fmla="*/ 288607 w 2314575"/>
                  <a:gd name="connsiteY10" fmla="*/ 263252 h 306115"/>
                  <a:gd name="connsiteX11" fmla="*/ 308610 w 2314575"/>
                  <a:gd name="connsiteY11" fmla="*/ 257537 h 306115"/>
                  <a:gd name="connsiteX12" fmla="*/ 365760 w 2314575"/>
                  <a:gd name="connsiteY12" fmla="*/ 254680 h 306115"/>
                  <a:gd name="connsiteX13" fmla="*/ 480060 w 2314575"/>
                  <a:gd name="connsiteY13" fmla="*/ 246107 h 306115"/>
                  <a:gd name="connsiteX14" fmla="*/ 508635 w 2314575"/>
                  <a:gd name="connsiteY14" fmla="*/ 240392 h 306115"/>
                  <a:gd name="connsiteX15" fmla="*/ 554355 w 2314575"/>
                  <a:gd name="connsiteY15" fmla="*/ 234677 h 306115"/>
                  <a:gd name="connsiteX16" fmla="*/ 588645 w 2314575"/>
                  <a:gd name="connsiteY16" fmla="*/ 228962 h 306115"/>
                  <a:gd name="connsiteX17" fmla="*/ 642937 w 2314575"/>
                  <a:gd name="connsiteY17" fmla="*/ 226105 h 306115"/>
                  <a:gd name="connsiteX18" fmla="*/ 680085 w 2314575"/>
                  <a:gd name="connsiteY18" fmla="*/ 223247 h 306115"/>
                  <a:gd name="connsiteX19" fmla="*/ 700087 w 2314575"/>
                  <a:gd name="connsiteY19" fmla="*/ 220390 h 306115"/>
                  <a:gd name="connsiteX20" fmla="*/ 740092 w 2314575"/>
                  <a:gd name="connsiteY20" fmla="*/ 217532 h 306115"/>
                  <a:gd name="connsiteX21" fmla="*/ 757237 w 2314575"/>
                  <a:gd name="connsiteY21" fmla="*/ 214675 h 306115"/>
                  <a:gd name="connsiteX22" fmla="*/ 780097 w 2314575"/>
                  <a:gd name="connsiteY22" fmla="*/ 211817 h 306115"/>
                  <a:gd name="connsiteX23" fmla="*/ 791527 w 2314575"/>
                  <a:gd name="connsiteY23" fmla="*/ 208960 h 306115"/>
                  <a:gd name="connsiteX24" fmla="*/ 860107 w 2314575"/>
                  <a:gd name="connsiteY24" fmla="*/ 203245 h 306115"/>
                  <a:gd name="connsiteX25" fmla="*/ 900112 w 2314575"/>
                  <a:gd name="connsiteY25" fmla="*/ 197530 h 306115"/>
                  <a:gd name="connsiteX26" fmla="*/ 968692 w 2314575"/>
                  <a:gd name="connsiteY26" fmla="*/ 191815 h 306115"/>
                  <a:gd name="connsiteX27" fmla="*/ 980122 w 2314575"/>
                  <a:gd name="connsiteY27" fmla="*/ 188957 h 306115"/>
                  <a:gd name="connsiteX28" fmla="*/ 1042987 w 2314575"/>
                  <a:gd name="connsiteY28" fmla="*/ 183242 h 306115"/>
                  <a:gd name="connsiteX29" fmla="*/ 1085850 w 2314575"/>
                  <a:gd name="connsiteY29" fmla="*/ 177527 h 306115"/>
                  <a:gd name="connsiteX30" fmla="*/ 1097280 w 2314575"/>
                  <a:gd name="connsiteY30" fmla="*/ 174670 h 306115"/>
                  <a:gd name="connsiteX31" fmla="*/ 1168717 w 2314575"/>
                  <a:gd name="connsiteY31" fmla="*/ 171812 h 306115"/>
                  <a:gd name="connsiteX32" fmla="*/ 1203007 w 2314575"/>
                  <a:gd name="connsiteY32" fmla="*/ 168955 h 306115"/>
                  <a:gd name="connsiteX33" fmla="*/ 1214437 w 2314575"/>
                  <a:gd name="connsiteY33" fmla="*/ 166097 h 306115"/>
                  <a:gd name="connsiteX34" fmla="*/ 1237297 w 2314575"/>
                  <a:gd name="connsiteY34" fmla="*/ 163240 h 306115"/>
                  <a:gd name="connsiteX35" fmla="*/ 1283017 w 2314575"/>
                  <a:gd name="connsiteY35" fmla="*/ 160382 h 306115"/>
                  <a:gd name="connsiteX36" fmla="*/ 1303020 w 2314575"/>
                  <a:gd name="connsiteY36" fmla="*/ 154667 h 306115"/>
                  <a:gd name="connsiteX37" fmla="*/ 1320165 w 2314575"/>
                  <a:gd name="connsiteY37" fmla="*/ 151810 h 306115"/>
                  <a:gd name="connsiteX38" fmla="*/ 1354455 w 2314575"/>
                  <a:gd name="connsiteY38" fmla="*/ 146095 h 306115"/>
                  <a:gd name="connsiteX39" fmla="*/ 1371600 w 2314575"/>
                  <a:gd name="connsiteY39" fmla="*/ 143237 h 306115"/>
                  <a:gd name="connsiteX40" fmla="*/ 1445895 w 2314575"/>
                  <a:gd name="connsiteY40" fmla="*/ 140380 h 306115"/>
                  <a:gd name="connsiteX41" fmla="*/ 1480185 w 2314575"/>
                  <a:gd name="connsiteY41" fmla="*/ 134665 h 306115"/>
                  <a:gd name="connsiteX42" fmla="*/ 1508760 w 2314575"/>
                  <a:gd name="connsiteY42" fmla="*/ 128950 h 306115"/>
                  <a:gd name="connsiteX43" fmla="*/ 1537335 w 2314575"/>
                  <a:gd name="connsiteY43" fmla="*/ 126092 h 306115"/>
                  <a:gd name="connsiteX44" fmla="*/ 1560195 w 2314575"/>
                  <a:gd name="connsiteY44" fmla="*/ 123235 h 306115"/>
                  <a:gd name="connsiteX45" fmla="*/ 1591627 w 2314575"/>
                  <a:gd name="connsiteY45" fmla="*/ 120377 h 306115"/>
                  <a:gd name="connsiteX46" fmla="*/ 1614487 w 2314575"/>
                  <a:gd name="connsiteY46" fmla="*/ 117520 h 306115"/>
                  <a:gd name="connsiteX47" fmla="*/ 1708785 w 2314575"/>
                  <a:gd name="connsiteY47" fmla="*/ 114662 h 306115"/>
                  <a:gd name="connsiteX48" fmla="*/ 1734502 w 2314575"/>
                  <a:gd name="connsiteY48" fmla="*/ 108947 h 306115"/>
                  <a:gd name="connsiteX49" fmla="*/ 1751647 w 2314575"/>
                  <a:gd name="connsiteY49" fmla="*/ 103232 h 306115"/>
                  <a:gd name="connsiteX50" fmla="*/ 1805236 w 2314575"/>
                  <a:gd name="connsiteY50" fmla="*/ 95378 h 306115"/>
                  <a:gd name="connsiteX51" fmla="*/ 1821304 w 2314575"/>
                  <a:gd name="connsiteY51" fmla="*/ 85025 h 306115"/>
                  <a:gd name="connsiteX52" fmla="*/ 1849880 w 2314575"/>
                  <a:gd name="connsiteY52" fmla="*/ 81809 h 306115"/>
                  <a:gd name="connsiteX53" fmla="*/ 1866307 w 2314575"/>
                  <a:gd name="connsiteY53" fmla="*/ 76453 h 306115"/>
                  <a:gd name="connsiteX54" fmla="*/ 1897380 w 2314575"/>
                  <a:gd name="connsiteY54" fmla="*/ 77515 h 306115"/>
                  <a:gd name="connsiteX55" fmla="*/ 1905952 w 2314575"/>
                  <a:gd name="connsiteY55" fmla="*/ 74657 h 306115"/>
                  <a:gd name="connsiteX56" fmla="*/ 1925955 w 2314575"/>
                  <a:gd name="connsiteY56" fmla="*/ 64304 h 306115"/>
                  <a:gd name="connsiteX57" fmla="*/ 1951672 w 2314575"/>
                  <a:gd name="connsiteY57" fmla="*/ 60370 h 306115"/>
                  <a:gd name="connsiteX58" fmla="*/ 1949892 w 2314575"/>
                  <a:gd name="connsiteY58" fmla="*/ 41804 h 306115"/>
                  <a:gd name="connsiteX59" fmla="*/ 1974532 w 2314575"/>
                  <a:gd name="connsiteY59" fmla="*/ 40367 h 306115"/>
                  <a:gd name="connsiteX60" fmla="*/ 1994535 w 2314575"/>
                  <a:gd name="connsiteY60" fmla="*/ 34652 h 306115"/>
                  <a:gd name="connsiteX61" fmla="*/ 2023110 w 2314575"/>
                  <a:gd name="connsiteY61" fmla="*/ 31795 h 306115"/>
                  <a:gd name="connsiteX62" fmla="*/ 2154555 w 2314575"/>
                  <a:gd name="connsiteY62" fmla="*/ 26080 h 306115"/>
                  <a:gd name="connsiteX63" fmla="*/ 2177415 w 2314575"/>
                  <a:gd name="connsiteY63" fmla="*/ 23222 h 306115"/>
                  <a:gd name="connsiteX64" fmla="*/ 2205990 w 2314575"/>
                  <a:gd name="connsiteY64" fmla="*/ 26080 h 306115"/>
                  <a:gd name="connsiteX65" fmla="*/ 2223135 w 2314575"/>
                  <a:gd name="connsiteY65" fmla="*/ 23222 h 306115"/>
                  <a:gd name="connsiteX66" fmla="*/ 2243137 w 2314575"/>
                  <a:gd name="connsiteY66" fmla="*/ 17507 h 306115"/>
                  <a:gd name="connsiteX67" fmla="*/ 2251710 w 2314575"/>
                  <a:gd name="connsiteY67" fmla="*/ 11792 h 306115"/>
                  <a:gd name="connsiteX68" fmla="*/ 2254567 w 2314575"/>
                  <a:gd name="connsiteY68" fmla="*/ 3220 h 306115"/>
                  <a:gd name="connsiteX69" fmla="*/ 2263140 w 2314575"/>
                  <a:gd name="connsiteY69" fmla="*/ 362 h 306115"/>
                  <a:gd name="connsiteX70" fmla="*/ 2314575 w 2314575"/>
                  <a:gd name="connsiteY70" fmla="*/ 362 h 306115"/>
                  <a:gd name="connsiteX0" fmla="*/ 0 w 2314575"/>
                  <a:gd name="connsiteY0" fmla="*/ 306115 h 306115"/>
                  <a:gd name="connsiteX1" fmla="*/ 28575 w 2314575"/>
                  <a:gd name="connsiteY1" fmla="*/ 303257 h 306115"/>
                  <a:gd name="connsiteX2" fmla="*/ 48577 w 2314575"/>
                  <a:gd name="connsiteY2" fmla="*/ 297542 h 306115"/>
                  <a:gd name="connsiteX3" fmla="*/ 60007 w 2314575"/>
                  <a:gd name="connsiteY3" fmla="*/ 294685 h 306115"/>
                  <a:gd name="connsiteX4" fmla="*/ 117157 w 2314575"/>
                  <a:gd name="connsiteY4" fmla="*/ 291827 h 306115"/>
                  <a:gd name="connsiteX5" fmla="*/ 154305 w 2314575"/>
                  <a:gd name="connsiteY5" fmla="*/ 286112 h 306115"/>
                  <a:gd name="connsiteX6" fmla="*/ 191452 w 2314575"/>
                  <a:gd name="connsiteY6" fmla="*/ 280397 h 306115"/>
                  <a:gd name="connsiteX7" fmla="*/ 225742 w 2314575"/>
                  <a:gd name="connsiteY7" fmla="*/ 274682 h 306115"/>
                  <a:gd name="connsiteX8" fmla="*/ 237172 w 2314575"/>
                  <a:gd name="connsiteY8" fmla="*/ 271825 h 306115"/>
                  <a:gd name="connsiteX9" fmla="*/ 271462 w 2314575"/>
                  <a:gd name="connsiteY9" fmla="*/ 266110 h 306115"/>
                  <a:gd name="connsiteX10" fmla="*/ 288607 w 2314575"/>
                  <a:gd name="connsiteY10" fmla="*/ 263252 h 306115"/>
                  <a:gd name="connsiteX11" fmla="*/ 308610 w 2314575"/>
                  <a:gd name="connsiteY11" fmla="*/ 257537 h 306115"/>
                  <a:gd name="connsiteX12" fmla="*/ 365760 w 2314575"/>
                  <a:gd name="connsiteY12" fmla="*/ 254680 h 306115"/>
                  <a:gd name="connsiteX13" fmla="*/ 480060 w 2314575"/>
                  <a:gd name="connsiteY13" fmla="*/ 246107 h 306115"/>
                  <a:gd name="connsiteX14" fmla="*/ 508635 w 2314575"/>
                  <a:gd name="connsiteY14" fmla="*/ 240392 h 306115"/>
                  <a:gd name="connsiteX15" fmla="*/ 554355 w 2314575"/>
                  <a:gd name="connsiteY15" fmla="*/ 234677 h 306115"/>
                  <a:gd name="connsiteX16" fmla="*/ 588645 w 2314575"/>
                  <a:gd name="connsiteY16" fmla="*/ 228962 h 306115"/>
                  <a:gd name="connsiteX17" fmla="*/ 642937 w 2314575"/>
                  <a:gd name="connsiteY17" fmla="*/ 226105 h 306115"/>
                  <a:gd name="connsiteX18" fmla="*/ 680085 w 2314575"/>
                  <a:gd name="connsiteY18" fmla="*/ 223247 h 306115"/>
                  <a:gd name="connsiteX19" fmla="*/ 700087 w 2314575"/>
                  <a:gd name="connsiteY19" fmla="*/ 220390 h 306115"/>
                  <a:gd name="connsiteX20" fmla="*/ 740092 w 2314575"/>
                  <a:gd name="connsiteY20" fmla="*/ 217532 h 306115"/>
                  <a:gd name="connsiteX21" fmla="*/ 757237 w 2314575"/>
                  <a:gd name="connsiteY21" fmla="*/ 214675 h 306115"/>
                  <a:gd name="connsiteX22" fmla="*/ 780097 w 2314575"/>
                  <a:gd name="connsiteY22" fmla="*/ 211817 h 306115"/>
                  <a:gd name="connsiteX23" fmla="*/ 791527 w 2314575"/>
                  <a:gd name="connsiteY23" fmla="*/ 208960 h 306115"/>
                  <a:gd name="connsiteX24" fmla="*/ 860107 w 2314575"/>
                  <a:gd name="connsiteY24" fmla="*/ 203245 h 306115"/>
                  <a:gd name="connsiteX25" fmla="*/ 900112 w 2314575"/>
                  <a:gd name="connsiteY25" fmla="*/ 197530 h 306115"/>
                  <a:gd name="connsiteX26" fmla="*/ 968692 w 2314575"/>
                  <a:gd name="connsiteY26" fmla="*/ 191815 h 306115"/>
                  <a:gd name="connsiteX27" fmla="*/ 980122 w 2314575"/>
                  <a:gd name="connsiteY27" fmla="*/ 188957 h 306115"/>
                  <a:gd name="connsiteX28" fmla="*/ 1042987 w 2314575"/>
                  <a:gd name="connsiteY28" fmla="*/ 183242 h 306115"/>
                  <a:gd name="connsiteX29" fmla="*/ 1085850 w 2314575"/>
                  <a:gd name="connsiteY29" fmla="*/ 177527 h 306115"/>
                  <a:gd name="connsiteX30" fmla="*/ 1097280 w 2314575"/>
                  <a:gd name="connsiteY30" fmla="*/ 174670 h 306115"/>
                  <a:gd name="connsiteX31" fmla="*/ 1168717 w 2314575"/>
                  <a:gd name="connsiteY31" fmla="*/ 171812 h 306115"/>
                  <a:gd name="connsiteX32" fmla="*/ 1203007 w 2314575"/>
                  <a:gd name="connsiteY32" fmla="*/ 168955 h 306115"/>
                  <a:gd name="connsiteX33" fmla="*/ 1214437 w 2314575"/>
                  <a:gd name="connsiteY33" fmla="*/ 166097 h 306115"/>
                  <a:gd name="connsiteX34" fmla="*/ 1237297 w 2314575"/>
                  <a:gd name="connsiteY34" fmla="*/ 163240 h 306115"/>
                  <a:gd name="connsiteX35" fmla="*/ 1283017 w 2314575"/>
                  <a:gd name="connsiteY35" fmla="*/ 160382 h 306115"/>
                  <a:gd name="connsiteX36" fmla="*/ 1303020 w 2314575"/>
                  <a:gd name="connsiteY36" fmla="*/ 154667 h 306115"/>
                  <a:gd name="connsiteX37" fmla="*/ 1320165 w 2314575"/>
                  <a:gd name="connsiteY37" fmla="*/ 151810 h 306115"/>
                  <a:gd name="connsiteX38" fmla="*/ 1354455 w 2314575"/>
                  <a:gd name="connsiteY38" fmla="*/ 146095 h 306115"/>
                  <a:gd name="connsiteX39" fmla="*/ 1371600 w 2314575"/>
                  <a:gd name="connsiteY39" fmla="*/ 143237 h 306115"/>
                  <a:gd name="connsiteX40" fmla="*/ 1445895 w 2314575"/>
                  <a:gd name="connsiteY40" fmla="*/ 140380 h 306115"/>
                  <a:gd name="connsiteX41" fmla="*/ 1480185 w 2314575"/>
                  <a:gd name="connsiteY41" fmla="*/ 134665 h 306115"/>
                  <a:gd name="connsiteX42" fmla="*/ 1508760 w 2314575"/>
                  <a:gd name="connsiteY42" fmla="*/ 128950 h 306115"/>
                  <a:gd name="connsiteX43" fmla="*/ 1537335 w 2314575"/>
                  <a:gd name="connsiteY43" fmla="*/ 126092 h 306115"/>
                  <a:gd name="connsiteX44" fmla="*/ 1560195 w 2314575"/>
                  <a:gd name="connsiteY44" fmla="*/ 123235 h 306115"/>
                  <a:gd name="connsiteX45" fmla="*/ 1591627 w 2314575"/>
                  <a:gd name="connsiteY45" fmla="*/ 120377 h 306115"/>
                  <a:gd name="connsiteX46" fmla="*/ 1614487 w 2314575"/>
                  <a:gd name="connsiteY46" fmla="*/ 117520 h 306115"/>
                  <a:gd name="connsiteX47" fmla="*/ 1708785 w 2314575"/>
                  <a:gd name="connsiteY47" fmla="*/ 114662 h 306115"/>
                  <a:gd name="connsiteX48" fmla="*/ 1734502 w 2314575"/>
                  <a:gd name="connsiteY48" fmla="*/ 108947 h 306115"/>
                  <a:gd name="connsiteX49" fmla="*/ 1751647 w 2314575"/>
                  <a:gd name="connsiteY49" fmla="*/ 103232 h 306115"/>
                  <a:gd name="connsiteX50" fmla="*/ 1805236 w 2314575"/>
                  <a:gd name="connsiteY50" fmla="*/ 95378 h 306115"/>
                  <a:gd name="connsiteX51" fmla="*/ 1821304 w 2314575"/>
                  <a:gd name="connsiteY51" fmla="*/ 85025 h 306115"/>
                  <a:gd name="connsiteX52" fmla="*/ 1849880 w 2314575"/>
                  <a:gd name="connsiteY52" fmla="*/ 81809 h 306115"/>
                  <a:gd name="connsiteX53" fmla="*/ 1866307 w 2314575"/>
                  <a:gd name="connsiteY53" fmla="*/ 76453 h 306115"/>
                  <a:gd name="connsiteX54" fmla="*/ 1897380 w 2314575"/>
                  <a:gd name="connsiteY54" fmla="*/ 77515 h 306115"/>
                  <a:gd name="connsiteX55" fmla="*/ 1905952 w 2314575"/>
                  <a:gd name="connsiteY55" fmla="*/ 74657 h 306115"/>
                  <a:gd name="connsiteX56" fmla="*/ 1925955 w 2314575"/>
                  <a:gd name="connsiteY56" fmla="*/ 64304 h 306115"/>
                  <a:gd name="connsiteX57" fmla="*/ 1951672 w 2314575"/>
                  <a:gd name="connsiteY57" fmla="*/ 60370 h 306115"/>
                  <a:gd name="connsiteX58" fmla="*/ 1957387 w 2314575"/>
                  <a:gd name="connsiteY58" fmla="*/ 44302 h 306115"/>
                  <a:gd name="connsiteX59" fmla="*/ 1974532 w 2314575"/>
                  <a:gd name="connsiteY59" fmla="*/ 40367 h 306115"/>
                  <a:gd name="connsiteX60" fmla="*/ 1994535 w 2314575"/>
                  <a:gd name="connsiteY60" fmla="*/ 34652 h 306115"/>
                  <a:gd name="connsiteX61" fmla="*/ 2023110 w 2314575"/>
                  <a:gd name="connsiteY61" fmla="*/ 31795 h 306115"/>
                  <a:gd name="connsiteX62" fmla="*/ 2154555 w 2314575"/>
                  <a:gd name="connsiteY62" fmla="*/ 26080 h 306115"/>
                  <a:gd name="connsiteX63" fmla="*/ 2177415 w 2314575"/>
                  <a:gd name="connsiteY63" fmla="*/ 23222 h 306115"/>
                  <a:gd name="connsiteX64" fmla="*/ 2205990 w 2314575"/>
                  <a:gd name="connsiteY64" fmla="*/ 26080 h 306115"/>
                  <a:gd name="connsiteX65" fmla="*/ 2223135 w 2314575"/>
                  <a:gd name="connsiteY65" fmla="*/ 23222 h 306115"/>
                  <a:gd name="connsiteX66" fmla="*/ 2243137 w 2314575"/>
                  <a:gd name="connsiteY66" fmla="*/ 17507 h 306115"/>
                  <a:gd name="connsiteX67" fmla="*/ 2251710 w 2314575"/>
                  <a:gd name="connsiteY67" fmla="*/ 11792 h 306115"/>
                  <a:gd name="connsiteX68" fmla="*/ 2254567 w 2314575"/>
                  <a:gd name="connsiteY68" fmla="*/ 3220 h 306115"/>
                  <a:gd name="connsiteX69" fmla="*/ 2263140 w 2314575"/>
                  <a:gd name="connsiteY69" fmla="*/ 362 h 306115"/>
                  <a:gd name="connsiteX70" fmla="*/ 2314575 w 2314575"/>
                  <a:gd name="connsiteY70" fmla="*/ 362 h 306115"/>
                  <a:gd name="connsiteX0" fmla="*/ 0 w 2314575"/>
                  <a:gd name="connsiteY0" fmla="*/ 306115 h 306115"/>
                  <a:gd name="connsiteX1" fmla="*/ 28575 w 2314575"/>
                  <a:gd name="connsiteY1" fmla="*/ 303257 h 306115"/>
                  <a:gd name="connsiteX2" fmla="*/ 48577 w 2314575"/>
                  <a:gd name="connsiteY2" fmla="*/ 297542 h 306115"/>
                  <a:gd name="connsiteX3" fmla="*/ 60007 w 2314575"/>
                  <a:gd name="connsiteY3" fmla="*/ 294685 h 306115"/>
                  <a:gd name="connsiteX4" fmla="*/ 117157 w 2314575"/>
                  <a:gd name="connsiteY4" fmla="*/ 291827 h 306115"/>
                  <a:gd name="connsiteX5" fmla="*/ 154305 w 2314575"/>
                  <a:gd name="connsiteY5" fmla="*/ 286112 h 306115"/>
                  <a:gd name="connsiteX6" fmla="*/ 191452 w 2314575"/>
                  <a:gd name="connsiteY6" fmla="*/ 280397 h 306115"/>
                  <a:gd name="connsiteX7" fmla="*/ 225742 w 2314575"/>
                  <a:gd name="connsiteY7" fmla="*/ 274682 h 306115"/>
                  <a:gd name="connsiteX8" fmla="*/ 237172 w 2314575"/>
                  <a:gd name="connsiteY8" fmla="*/ 271825 h 306115"/>
                  <a:gd name="connsiteX9" fmla="*/ 271462 w 2314575"/>
                  <a:gd name="connsiteY9" fmla="*/ 266110 h 306115"/>
                  <a:gd name="connsiteX10" fmla="*/ 288607 w 2314575"/>
                  <a:gd name="connsiteY10" fmla="*/ 263252 h 306115"/>
                  <a:gd name="connsiteX11" fmla="*/ 308610 w 2314575"/>
                  <a:gd name="connsiteY11" fmla="*/ 257537 h 306115"/>
                  <a:gd name="connsiteX12" fmla="*/ 365760 w 2314575"/>
                  <a:gd name="connsiteY12" fmla="*/ 254680 h 306115"/>
                  <a:gd name="connsiteX13" fmla="*/ 480060 w 2314575"/>
                  <a:gd name="connsiteY13" fmla="*/ 246107 h 306115"/>
                  <a:gd name="connsiteX14" fmla="*/ 508635 w 2314575"/>
                  <a:gd name="connsiteY14" fmla="*/ 240392 h 306115"/>
                  <a:gd name="connsiteX15" fmla="*/ 554355 w 2314575"/>
                  <a:gd name="connsiteY15" fmla="*/ 234677 h 306115"/>
                  <a:gd name="connsiteX16" fmla="*/ 588645 w 2314575"/>
                  <a:gd name="connsiteY16" fmla="*/ 228962 h 306115"/>
                  <a:gd name="connsiteX17" fmla="*/ 642937 w 2314575"/>
                  <a:gd name="connsiteY17" fmla="*/ 226105 h 306115"/>
                  <a:gd name="connsiteX18" fmla="*/ 680085 w 2314575"/>
                  <a:gd name="connsiteY18" fmla="*/ 223247 h 306115"/>
                  <a:gd name="connsiteX19" fmla="*/ 700087 w 2314575"/>
                  <a:gd name="connsiteY19" fmla="*/ 220390 h 306115"/>
                  <a:gd name="connsiteX20" fmla="*/ 740092 w 2314575"/>
                  <a:gd name="connsiteY20" fmla="*/ 217532 h 306115"/>
                  <a:gd name="connsiteX21" fmla="*/ 757237 w 2314575"/>
                  <a:gd name="connsiteY21" fmla="*/ 214675 h 306115"/>
                  <a:gd name="connsiteX22" fmla="*/ 780097 w 2314575"/>
                  <a:gd name="connsiteY22" fmla="*/ 211817 h 306115"/>
                  <a:gd name="connsiteX23" fmla="*/ 791527 w 2314575"/>
                  <a:gd name="connsiteY23" fmla="*/ 208960 h 306115"/>
                  <a:gd name="connsiteX24" fmla="*/ 860107 w 2314575"/>
                  <a:gd name="connsiteY24" fmla="*/ 203245 h 306115"/>
                  <a:gd name="connsiteX25" fmla="*/ 900112 w 2314575"/>
                  <a:gd name="connsiteY25" fmla="*/ 197530 h 306115"/>
                  <a:gd name="connsiteX26" fmla="*/ 968692 w 2314575"/>
                  <a:gd name="connsiteY26" fmla="*/ 191815 h 306115"/>
                  <a:gd name="connsiteX27" fmla="*/ 980122 w 2314575"/>
                  <a:gd name="connsiteY27" fmla="*/ 188957 h 306115"/>
                  <a:gd name="connsiteX28" fmla="*/ 1042987 w 2314575"/>
                  <a:gd name="connsiteY28" fmla="*/ 183242 h 306115"/>
                  <a:gd name="connsiteX29" fmla="*/ 1085850 w 2314575"/>
                  <a:gd name="connsiteY29" fmla="*/ 177527 h 306115"/>
                  <a:gd name="connsiteX30" fmla="*/ 1097280 w 2314575"/>
                  <a:gd name="connsiteY30" fmla="*/ 174670 h 306115"/>
                  <a:gd name="connsiteX31" fmla="*/ 1168717 w 2314575"/>
                  <a:gd name="connsiteY31" fmla="*/ 171812 h 306115"/>
                  <a:gd name="connsiteX32" fmla="*/ 1203007 w 2314575"/>
                  <a:gd name="connsiteY32" fmla="*/ 168955 h 306115"/>
                  <a:gd name="connsiteX33" fmla="*/ 1214437 w 2314575"/>
                  <a:gd name="connsiteY33" fmla="*/ 166097 h 306115"/>
                  <a:gd name="connsiteX34" fmla="*/ 1237297 w 2314575"/>
                  <a:gd name="connsiteY34" fmla="*/ 163240 h 306115"/>
                  <a:gd name="connsiteX35" fmla="*/ 1283017 w 2314575"/>
                  <a:gd name="connsiteY35" fmla="*/ 160382 h 306115"/>
                  <a:gd name="connsiteX36" fmla="*/ 1303020 w 2314575"/>
                  <a:gd name="connsiteY36" fmla="*/ 154667 h 306115"/>
                  <a:gd name="connsiteX37" fmla="*/ 1320165 w 2314575"/>
                  <a:gd name="connsiteY37" fmla="*/ 151810 h 306115"/>
                  <a:gd name="connsiteX38" fmla="*/ 1354455 w 2314575"/>
                  <a:gd name="connsiteY38" fmla="*/ 146095 h 306115"/>
                  <a:gd name="connsiteX39" fmla="*/ 1371600 w 2314575"/>
                  <a:gd name="connsiteY39" fmla="*/ 143237 h 306115"/>
                  <a:gd name="connsiteX40" fmla="*/ 1445895 w 2314575"/>
                  <a:gd name="connsiteY40" fmla="*/ 140380 h 306115"/>
                  <a:gd name="connsiteX41" fmla="*/ 1480185 w 2314575"/>
                  <a:gd name="connsiteY41" fmla="*/ 134665 h 306115"/>
                  <a:gd name="connsiteX42" fmla="*/ 1508760 w 2314575"/>
                  <a:gd name="connsiteY42" fmla="*/ 128950 h 306115"/>
                  <a:gd name="connsiteX43" fmla="*/ 1537335 w 2314575"/>
                  <a:gd name="connsiteY43" fmla="*/ 126092 h 306115"/>
                  <a:gd name="connsiteX44" fmla="*/ 1560195 w 2314575"/>
                  <a:gd name="connsiteY44" fmla="*/ 123235 h 306115"/>
                  <a:gd name="connsiteX45" fmla="*/ 1591627 w 2314575"/>
                  <a:gd name="connsiteY45" fmla="*/ 120377 h 306115"/>
                  <a:gd name="connsiteX46" fmla="*/ 1614487 w 2314575"/>
                  <a:gd name="connsiteY46" fmla="*/ 117520 h 306115"/>
                  <a:gd name="connsiteX47" fmla="*/ 1708785 w 2314575"/>
                  <a:gd name="connsiteY47" fmla="*/ 114662 h 306115"/>
                  <a:gd name="connsiteX48" fmla="*/ 1734502 w 2314575"/>
                  <a:gd name="connsiteY48" fmla="*/ 108947 h 306115"/>
                  <a:gd name="connsiteX49" fmla="*/ 1751647 w 2314575"/>
                  <a:gd name="connsiteY49" fmla="*/ 103232 h 306115"/>
                  <a:gd name="connsiteX50" fmla="*/ 1805236 w 2314575"/>
                  <a:gd name="connsiteY50" fmla="*/ 95378 h 306115"/>
                  <a:gd name="connsiteX51" fmla="*/ 1821304 w 2314575"/>
                  <a:gd name="connsiteY51" fmla="*/ 85025 h 306115"/>
                  <a:gd name="connsiteX52" fmla="*/ 1849880 w 2314575"/>
                  <a:gd name="connsiteY52" fmla="*/ 81809 h 306115"/>
                  <a:gd name="connsiteX53" fmla="*/ 1866307 w 2314575"/>
                  <a:gd name="connsiteY53" fmla="*/ 76453 h 306115"/>
                  <a:gd name="connsiteX54" fmla="*/ 1897380 w 2314575"/>
                  <a:gd name="connsiteY54" fmla="*/ 77515 h 306115"/>
                  <a:gd name="connsiteX55" fmla="*/ 1905952 w 2314575"/>
                  <a:gd name="connsiteY55" fmla="*/ 74657 h 306115"/>
                  <a:gd name="connsiteX56" fmla="*/ 1925955 w 2314575"/>
                  <a:gd name="connsiteY56" fmla="*/ 64304 h 306115"/>
                  <a:gd name="connsiteX57" fmla="*/ 1941679 w 2314575"/>
                  <a:gd name="connsiteY57" fmla="*/ 55373 h 306115"/>
                  <a:gd name="connsiteX58" fmla="*/ 1957387 w 2314575"/>
                  <a:gd name="connsiteY58" fmla="*/ 44302 h 306115"/>
                  <a:gd name="connsiteX59" fmla="*/ 1974532 w 2314575"/>
                  <a:gd name="connsiteY59" fmla="*/ 40367 h 306115"/>
                  <a:gd name="connsiteX60" fmla="*/ 1994535 w 2314575"/>
                  <a:gd name="connsiteY60" fmla="*/ 34652 h 306115"/>
                  <a:gd name="connsiteX61" fmla="*/ 2023110 w 2314575"/>
                  <a:gd name="connsiteY61" fmla="*/ 31795 h 306115"/>
                  <a:gd name="connsiteX62" fmla="*/ 2154555 w 2314575"/>
                  <a:gd name="connsiteY62" fmla="*/ 26080 h 306115"/>
                  <a:gd name="connsiteX63" fmla="*/ 2177415 w 2314575"/>
                  <a:gd name="connsiteY63" fmla="*/ 23222 h 306115"/>
                  <a:gd name="connsiteX64" fmla="*/ 2205990 w 2314575"/>
                  <a:gd name="connsiteY64" fmla="*/ 26080 h 306115"/>
                  <a:gd name="connsiteX65" fmla="*/ 2223135 w 2314575"/>
                  <a:gd name="connsiteY65" fmla="*/ 23222 h 306115"/>
                  <a:gd name="connsiteX66" fmla="*/ 2243137 w 2314575"/>
                  <a:gd name="connsiteY66" fmla="*/ 17507 h 306115"/>
                  <a:gd name="connsiteX67" fmla="*/ 2251710 w 2314575"/>
                  <a:gd name="connsiteY67" fmla="*/ 11792 h 306115"/>
                  <a:gd name="connsiteX68" fmla="*/ 2254567 w 2314575"/>
                  <a:gd name="connsiteY68" fmla="*/ 3220 h 306115"/>
                  <a:gd name="connsiteX69" fmla="*/ 2263140 w 2314575"/>
                  <a:gd name="connsiteY69" fmla="*/ 362 h 306115"/>
                  <a:gd name="connsiteX70" fmla="*/ 2314575 w 2314575"/>
                  <a:gd name="connsiteY70" fmla="*/ 362 h 306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2314575" h="306115">
                    <a:moveTo>
                      <a:pt x="0" y="306115"/>
                    </a:moveTo>
                    <a:cubicBezTo>
                      <a:pt x="9525" y="305162"/>
                      <a:pt x="19099" y="304611"/>
                      <a:pt x="28575" y="303257"/>
                    </a:cubicBezTo>
                    <a:cubicBezTo>
                      <a:pt x="37520" y="301979"/>
                      <a:pt x="40426" y="299871"/>
                      <a:pt x="48577" y="297542"/>
                    </a:cubicBezTo>
                    <a:cubicBezTo>
                      <a:pt x="52353" y="296463"/>
                      <a:pt x="56093" y="295011"/>
                      <a:pt x="60007" y="294685"/>
                    </a:cubicBezTo>
                    <a:cubicBezTo>
                      <a:pt x="79015" y="293101"/>
                      <a:pt x="98107" y="292780"/>
                      <a:pt x="117157" y="291827"/>
                    </a:cubicBezTo>
                    <a:cubicBezTo>
                      <a:pt x="159923" y="284701"/>
                      <a:pt x="106505" y="293466"/>
                      <a:pt x="154305" y="286112"/>
                    </a:cubicBezTo>
                    <a:cubicBezTo>
                      <a:pt x="205865" y="278180"/>
                      <a:pt x="133431" y="288687"/>
                      <a:pt x="191452" y="280397"/>
                    </a:cubicBezTo>
                    <a:cubicBezTo>
                      <a:pt x="210595" y="274017"/>
                      <a:pt x="190195" y="280151"/>
                      <a:pt x="225742" y="274682"/>
                    </a:cubicBezTo>
                    <a:cubicBezTo>
                      <a:pt x="229624" y="274085"/>
                      <a:pt x="233312" y="272549"/>
                      <a:pt x="237172" y="271825"/>
                    </a:cubicBezTo>
                    <a:cubicBezTo>
                      <a:pt x="248561" y="269690"/>
                      <a:pt x="260032" y="268015"/>
                      <a:pt x="271462" y="266110"/>
                    </a:cubicBezTo>
                    <a:cubicBezTo>
                      <a:pt x="277177" y="265157"/>
                      <a:pt x="283110" y="265084"/>
                      <a:pt x="288607" y="263252"/>
                    </a:cubicBezTo>
                    <a:cubicBezTo>
                      <a:pt x="293563" y="261600"/>
                      <a:pt x="303831" y="257935"/>
                      <a:pt x="308610" y="257537"/>
                    </a:cubicBezTo>
                    <a:cubicBezTo>
                      <a:pt x="327618" y="255953"/>
                      <a:pt x="346710" y="255632"/>
                      <a:pt x="365760" y="254680"/>
                    </a:cubicBezTo>
                    <a:cubicBezTo>
                      <a:pt x="404000" y="229185"/>
                      <a:pt x="367470" y="251344"/>
                      <a:pt x="480060" y="246107"/>
                    </a:cubicBezTo>
                    <a:cubicBezTo>
                      <a:pt x="492830" y="245513"/>
                      <a:pt x="497176" y="242684"/>
                      <a:pt x="508635" y="240392"/>
                    </a:cubicBezTo>
                    <a:cubicBezTo>
                      <a:pt x="526351" y="236849"/>
                      <a:pt x="534673" y="236646"/>
                      <a:pt x="554355" y="234677"/>
                    </a:cubicBezTo>
                    <a:cubicBezTo>
                      <a:pt x="569590" y="229599"/>
                      <a:pt x="564286" y="230702"/>
                      <a:pt x="588645" y="228962"/>
                    </a:cubicBezTo>
                    <a:cubicBezTo>
                      <a:pt x="606721" y="227671"/>
                      <a:pt x="624850" y="227235"/>
                      <a:pt x="642937" y="226105"/>
                    </a:cubicBezTo>
                    <a:cubicBezTo>
                      <a:pt x="655332" y="225330"/>
                      <a:pt x="667727" y="224483"/>
                      <a:pt x="680085" y="223247"/>
                    </a:cubicBezTo>
                    <a:cubicBezTo>
                      <a:pt x="686787" y="222577"/>
                      <a:pt x="693382" y="221029"/>
                      <a:pt x="700087" y="220390"/>
                    </a:cubicBezTo>
                    <a:cubicBezTo>
                      <a:pt x="713396" y="219122"/>
                      <a:pt x="726757" y="218485"/>
                      <a:pt x="740092" y="217532"/>
                    </a:cubicBezTo>
                    <a:cubicBezTo>
                      <a:pt x="745807" y="216580"/>
                      <a:pt x="751501" y="215494"/>
                      <a:pt x="757237" y="214675"/>
                    </a:cubicBezTo>
                    <a:cubicBezTo>
                      <a:pt x="764839" y="213589"/>
                      <a:pt x="772522" y="213079"/>
                      <a:pt x="780097" y="211817"/>
                    </a:cubicBezTo>
                    <a:cubicBezTo>
                      <a:pt x="783971" y="211171"/>
                      <a:pt x="787645" y="209557"/>
                      <a:pt x="791527" y="208960"/>
                    </a:cubicBezTo>
                    <a:cubicBezTo>
                      <a:pt x="814608" y="205409"/>
                      <a:pt x="836642" y="205200"/>
                      <a:pt x="860107" y="203245"/>
                    </a:cubicBezTo>
                    <a:cubicBezTo>
                      <a:pt x="927508" y="197628"/>
                      <a:pt x="856615" y="203330"/>
                      <a:pt x="900112" y="197530"/>
                    </a:cubicBezTo>
                    <a:cubicBezTo>
                      <a:pt x="919456" y="194951"/>
                      <a:pt x="950609" y="193106"/>
                      <a:pt x="968692" y="191815"/>
                    </a:cubicBezTo>
                    <a:cubicBezTo>
                      <a:pt x="972502" y="190862"/>
                      <a:pt x="976240" y="189554"/>
                      <a:pt x="980122" y="188957"/>
                    </a:cubicBezTo>
                    <a:cubicBezTo>
                      <a:pt x="997024" y="186357"/>
                      <a:pt x="1027705" y="184418"/>
                      <a:pt x="1042987" y="183242"/>
                    </a:cubicBezTo>
                    <a:cubicBezTo>
                      <a:pt x="1079379" y="175965"/>
                      <a:pt x="1027378" y="185880"/>
                      <a:pt x="1085850" y="177527"/>
                    </a:cubicBezTo>
                    <a:cubicBezTo>
                      <a:pt x="1089738" y="176972"/>
                      <a:pt x="1093362" y="174940"/>
                      <a:pt x="1097280" y="174670"/>
                    </a:cubicBezTo>
                    <a:cubicBezTo>
                      <a:pt x="1121055" y="173030"/>
                      <a:pt x="1144905" y="172765"/>
                      <a:pt x="1168717" y="171812"/>
                    </a:cubicBezTo>
                    <a:cubicBezTo>
                      <a:pt x="1180147" y="170860"/>
                      <a:pt x="1191626" y="170378"/>
                      <a:pt x="1203007" y="168955"/>
                    </a:cubicBezTo>
                    <a:cubicBezTo>
                      <a:pt x="1206904" y="168468"/>
                      <a:pt x="1210563" y="166743"/>
                      <a:pt x="1214437" y="166097"/>
                    </a:cubicBezTo>
                    <a:cubicBezTo>
                      <a:pt x="1222012" y="164835"/>
                      <a:pt x="1229644" y="163878"/>
                      <a:pt x="1237297" y="163240"/>
                    </a:cubicBezTo>
                    <a:cubicBezTo>
                      <a:pt x="1252514" y="161972"/>
                      <a:pt x="1267777" y="161335"/>
                      <a:pt x="1283017" y="160382"/>
                    </a:cubicBezTo>
                    <a:cubicBezTo>
                      <a:pt x="1291182" y="157661"/>
                      <a:pt x="1294058" y="156459"/>
                      <a:pt x="1303020" y="154667"/>
                    </a:cubicBezTo>
                    <a:cubicBezTo>
                      <a:pt x="1308701" y="153531"/>
                      <a:pt x="1314465" y="152846"/>
                      <a:pt x="1320165" y="151810"/>
                    </a:cubicBezTo>
                    <a:cubicBezTo>
                      <a:pt x="1361707" y="144257"/>
                      <a:pt x="1301006" y="154318"/>
                      <a:pt x="1354455" y="146095"/>
                    </a:cubicBezTo>
                    <a:cubicBezTo>
                      <a:pt x="1360181" y="145214"/>
                      <a:pt x="1365817" y="143598"/>
                      <a:pt x="1371600" y="143237"/>
                    </a:cubicBezTo>
                    <a:cubicBezTo>
                      <a:pt x="1396335" y="141691"/>
                      <a:pt x="1421130" y="141332"/>
                      <a:pt x="1445895" y="140380"/>
                    </a:cubicBezTo>
                    <a:cubicBezTo>
                      <a:pt x="1465037" y="133998"/>
                      <a:pt x="1444637" y="140134"/>
                      <a:pt x="1480185" y="134665"/>
                    </a:cubicBezTo>
                    <a:cubicBezTo>
                      <a:pt x="1533536" y="126457"/>
                      <a:pt x="1434189" y="138271"/>
                      <a:pt x="1508760" y="128950"/>
                    </a:cubicBezTo>
                    <a:cubicBezTo>
                      <a:pt x="1518259" y="127763"/>
                      <a:pt x="1527821" y="127149"/>
                      <a:pt x="1537335" y="126092"/>
                    </a:cubicBezTo>
                    <a:cubicBezTo>
                      <a:pt x="1544967" y="125244"/>
                      <a:pt x="1552558" y="124039"/>
                      <a:pt x="1560195" y="123235"/>
                    </a:cubicBezTo>
                    <a:cubicBezTo>
                      <a:pt x="1570658" y="122134"/>
                      <a:pt x="1581164" y="121478"/>
                      <a:pt x="1591627" y="120377"/>
                    </a:cubicBezTo>
                    <a:cubicBezTo>
                      <a:pt x="1599264" y="119573"/>
                      <a:pt x="1606817" y="117894"/>
                      <a:pt x="1614487" y="117520"/>
                    </a:cubicBezTo>
                    <a:cubicBezTo>
                      <a:pt x="1645897" y="115988"/>
                      <a:pt x="1677352" y="115615"/>
                      <a:pt x="1708785" y="114662"/>
                    </a:cubicBezTo>
                    <a:cubicBezTo>
                      <a:pt x="1716952" y="113029"/>
                      <a:pt x="1726423" y="111371"/>
                      <a:pt x="1734502" y="108947"/>
                    </a:cubicBezTo>
                    <a:cubicBezTo>
                      <a:pt x="1740272" y="107216"/>
                      <a:pt x="1739858" y="105493"/>
                      <a:pt x="1751647" y="103232"/>
                    </a:cubicBezTo>
                    <a:cubicBezTo>
                      <a:pt x="1763436" y="100971"/>
                      <a:pt x="1787373" y="97996"/>
                      <a:pt x="1805236" y="95378"/>
                    </a:cubicBezTo>
                    <a:cubicBezTo>
                      <a:pt x="1808094" y="94425"/>
                      <a:pt x="1813863" y="87286"/>
                      <a:pt x="1821304" y="85025"/>
                    </a:cubicBezTo>
                    <a:cubicBezTo>
                      <a:pt x="1828745" y="82764"/>
                      <a:pt x="1842379" y="83238"/>
                      <a:pt x="1849880" y="81809"/>
                    </a:cubicBezTo>
                    <a:cubicBezTo>
                      <a:pt x="1857381" y="80380"/>
                      <a:pt x="1862497" y="77405"/>
                      <a:pt x="1866307" y="76453"/>
                    </a:cubicBezTo>
                    <a:cubicBezTo>
                      <a:pt x="1883127" y="68043"/>
                      <a:pt x="1890773" y="77814"/>
                      <a:pt x="1897380" y="77515"/>
                    </a:cubicBezTo>
                    <a:cubicBezTo>
                      <a:pt x="1903987" y="77216"/>
                      <a:pt x="1901190" y="76859"/>
                      <a:pt x="1905952" y="74657"/>
                    </a:cubicBezTo>
                    <a:cubicBezTo>
                      <a:pt x="1910714" y="72455"/>
                      <a:pt x="1919287" y="67755"/>
                      <a:pt x="1925955" y="64304"/>
                    </a:cubicBezTo>
                    <a:cubicBezTo>
                      <a:pt x="1946358" y="57503"/>
                      <a:pt x="1928095" y="64430"/>
                      <a:pt x="1941679" y="55373"/>
                    </a:cubicBezTo>
                    <a:cubicBezTo>
                      <a:pt x="1943584" y="52515"/>
                      <a:pt x="1951912" y="46803"/>
                      <a:pt x="1957387" y="44302"/>
                    </a:cubicBezTo>
                    <a:cubicBezTo>
                      <a:pt x="1962862" y="41801"/>
                      <a:pt x="1968341" y="41975"/>
                      <a:pt x="1974532" y="40367"/>
                    </a:cubicBezTo>
                    <a:cubicBezTo>
                      <a:pt x="1980723" y="38759"/>
                      <a:pt x="1988263" y="35548"/>
                      <a:pt x="1994535" y="34652"/>
                    </a:cubicBezTo>
                    <a:cubicBezTo>
                      <a:pt x="2004011" y="33298"/>
                      <a:pt x="2013551" y="32307"/>
                      <a:pt x="2023110" y="31795"/>
                    </a:cubicBezTo>
                    <a:cubicBezTo>
                      <a:pt x="2066904" y="29449"/>
                      <a:pt x="2154555" y="26080"/>
                      <a:pt x="2154555" y="26080"/>
                    </a:cubicBezTo>
                    <a:cubicBezTo>
                      <a:pt x="2162175" y="25127"/>
                      <a:pt x="2169736" y="23222"/>
                      <a:pt x="2177415" y="23222"/>
                    </a:cubicBezTo>
                    <a:cubicBezTo>
                      <a:pt x="2186988" y="23222"/>
                      <a:pt x="2196417" y="26080"/>
                      <a:pt x="2205990" y="26080"/>
                    </a:cubicBezTo>
                    <a:cubicBezTo>
                      <a:pt x="2211784" y="26080"/>
                      <a:pt x="2217454" y="24358"/>
                      <a:pt x="2223135" y="23222"/>
                    </a:cubicBezTo>
                    <a:cubicBezTo>
                      <a:pt x="2226193" y="22610"/>
                      <a:pt x="2239502" y="19325"/>
                      <a:pt x="2243137" y="17507"/>
                    </a:cubicBezTo>
                    <a:cubicBezTo>
                      <a:pt x="2246209" y="15971"/>
                      <a:pt x="2248852" y="13697"/>
                      <a:pt x="2251710" y="11792"/>
                    </a:cubicBezTo>
                    <a:cubicBezTo>
                      <a:pt x="2252662" y="8935"/>
                      <a:pt x="2252437" y="5350"/>
                      <a:pt x="2254567" y="3220"/>
                    </a:cubicBezTo>
                    <a:cubicBezTo>
                      <a:pt x="2256697" y="1090"/>
                      <a:pt x="2260131" y="505"/>
                      <a:pt x="2263140" y="362"/>
                    </a:cubicBezTo>
                    <a:cubicBezTo>
                      <a:pt x="2280266" y="-454"/>
                      <a:pt x="2297430" y="362"/>
                      <a:pt x="2314575" y="362"/>
                    </a:cubicBezTo>
                  </a:path>
                </a:pathLst>
              </a:cu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en-GB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  <p:cxnSp>
        <p:nvCxnSpPr>
          <p:cNvPr id="51" name="Straight Connector 50"/>
          <p:cNvCxnSpPr/>
          <p:nvPr/>
        </p:nvCxnSpPr>
        <p:spPr>
          <a:xfrm>
            <a:off x="4240107" y="3237845"/>
            <a:ext cx="0" cy="82895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341547" y="1147626"/>
            <a:ext cx="31181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120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IGIN</a:t>
            </a:r>
            <a:r>
              <a:rPr lang="en-GB" sz="1200" b="1" baseline="30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en-GB" sz="120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</a:p>
        </p:txBody>
      </p:sp>
      <p:graphicFrame>
        <p:nvGraphicFramePr>
          <p:cNvPr id="52" name="Chart 5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2760030"/>
              </p:ext>
            </p:extLst>
          </p:nvPr>
        </p:nvGraphicFramePr>
        <p:xfrm>
          <a:off x="4663338" y="1310528"/>
          <a:ext cx="4213910" cy="25580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3" name="TextBox 52"/>
          <p:cNvSpPr txBox="1"/>
          <p:nvPr/>
        </p:nvSpPr>
        <p:spPr>
          <a:xfrm>
            <a:off x="4578703" y="1152246"/>
            <a:ext cx="33436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120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OTE</a:t>
            </a:r>
            <a:r>
              <a:rPr lang="en-GB" sz="1200" b="1" baseline="30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en-GB" sz="1200" b="1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5075524" y="3459432"/>
            <a:ext cx="261962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GB" sz="105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me to first EAC-confirmed event (months)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260587" y="1581250"/>
            <a:ext cx="151996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GB" sz="10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R 0.91 </a:t>
            </a:r>
          </a:p>
          <a:p>
            <a:pPr defTabSz="685800"/>
            <a:r>
              <a:rPr lang="en-GB" sz="1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95% CI 0.78 ; 1.06) </a:t>
            </a:r>
          </a:p>
          <a:p>
            <a:pPr defTabSz="685800"/>
            <a:r>
              <a:rPr lang="en-GB" sz="1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-inferiority confirmed</a:t>
            </a:r>
          </a:p>
          <a:p>
            <a:pPr defTabSz="685800"/>
            <a:r>
              <a:rPr lang="en-GB" sz="1000" i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en-GB" sz="1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0.001</a:t>
            </a:r>
          </a:p>
        </p:txBody>
      </p:sp>
      <p:grpSp>
        <p:nvGrpSpPr>
          <p:cNvPr id="57" name="Group 56"/>
          <p:cNvGrpSpPr/>
          <p:nvPr/>
        </p:nvGrpSpPr>
        <p:grpSpPr>
          <a:xfrm>
            <a:off x="6875958" y="2504482"/>
            <a:ext cx="1909344" cy="447777"/>
            <a:chOff x="7544526" y="625890"/>
            <a:chExt cx="1535154" cy="447777"/>
          </a:xfrm>
        </p:grpSpPr>
        <p:sp>
          <p:nvSpPr>
            <p:cNvPr id="58" name="TextBox 57"/>
            <p:cNvSpPr txBox="1"/>
            <p:nvPr/>
          </p:nvSpPr>
          <p:spPr>
            <a:xfrm>
              <a:off x="7796525" y="625890"/>
              <a:ext cx="1283155" cy="447777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defTabSz="685800"/>
              <a:r>
                <a:rPr lang="en-GB" sz="100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sulin glargine U100</a:t>
              </a:r>
            </a:p>
            <a:p>
              <a:pPr defTabSz="685800"/>
              <a:endParaRPr lang="en-GB" sz="1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defTabSz="685800"/>
              <a:r>
                <a:rPr lang="en-GB" sz="1000" dirty="0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sulin </a:t>
              </a:r>
              <a:r>
                <a:rPr lang="en-GB" sz="1000" dirty="0" err="1">
                  <a:solidFill>
                    <a:srgbClr val="00206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gludec</a:t>
              </a:r>
              <a:endParaRPr lang="en-GB" sz="1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59" name="Straight Connector 58"/>
            <p:cNvCxnSpPr/>
            <p:nvPr/>
          </p:nvCxnSpPr>
          <p:spPr>
            <a:xfrm>
              <a:off x="7544526" y="750128"/>
              <a:ext cx="252000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>
              <a:off x="7544526" y="1056335"/>
              <a:ext cx="252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TextBox 65"/>
          <p:cNvSpPr txBox="1"/>
          <p:nvPr/>
        </p:nvSpPr>
        <p:spPr>
          <a:xfrm>
            <a:off x="4562047" y="1923649"/>
            <a:ext cx="338554" cy="1494961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pPr defTabSz="685800"/>
            <a:r>
              <a:rPr lang="en-GB" sz="100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tients with an event (%)</a:t>
            </a:r>
          </a:p>
        </p:txBody>
      </p:sp>
      <p:sp>
        <p:nvSpPr>
          <p:cNvPr id="68" name="HR and 95%CI"/>
          <p:cNvSpPr/>
          <p:nvPr/>
        </p:nvSpPr>
        <p:spPr>
          <a:xfrm>
            <a:off x="8113266" y="1347614"/>
            <a:ext cx="905139" cy="302779"/>
          </a:xfrm>
          <a:prstGeom prst="roundRect">
            <a:avLst/>
          </a:prstGeom>
          <a:solidFill>
            <a:srgbClr val="FFFFFF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685800"/>
            <a:r>
              <a:rPr lang="en-US" sz="8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te: 4.71/100 PYO</a:t>
            </a:r>
            <a:endParaRPr lang="en-GB" sz="8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9" name="HR and 95%CI"/>
          <p:cNvSpPr/>
          <p:nvPr/>
        </p:nvSpPr>
        <p:spPr>
          <a:xfrm>
            <a:off x="8113266" y="1890948"/>
            <a:ext cx="905139" cy="311304"/>
          </a:xfrm>
          <a:prstGeom prst="roundRect">
            <a:avLst/>
          </a:prstGeom>
          <a:solidFill>
            <a:srgbClr val="FFFFFF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685800"/>
            <a:r>
              <a:rPr lang="en-US" sz="8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te: 4.29/100 PYO</a:t>
            </a:r>
            <a:endParaRPr lang="en-GB" sz="8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70" name="Table 6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1590617"/>
              </p:ext>
            </p:extLst>
          </p:nvPr>
        </p:nvGraphicFramePr>
        <p:xfrm>
          <a:off x="776834" y="3722165"/>
          <a:ext cx="3700525" cy="42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38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6716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5782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8117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45782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5782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453149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481768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/>
                      <a:r>
                        <a:rPr lang="en-GB" sz="8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26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57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85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619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379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5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1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6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/>
                      <a:r>
                        <a:rPr lang="en-GB" sz="8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27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4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847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63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415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5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39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72" name="TextBox 71"/>
          <p:cNvSpPr txBox="1"/>
          <p:nvPr/>
        </p:nvSpPr>
        <p:spPr>
          <a:xfrm>
            <a:off x="4929868" y="3730440"/>
            <a:ext cx="44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8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818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4928521" y="3947576"/>
            <a:ext cx="3898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GB" sz="8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819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5257882" y="3736930"/>
            <a:ext cx="44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8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765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5256534" y="3945974"/>
            <a:ext cx="44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8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758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5595978" y="3735608"/>
            <a:ext cx="44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8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721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5602722" y="3944652"/>
            <a:ext cx="44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8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703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5940751" y="3735242"/>
            <a:ext cx="44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8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699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947495" y="3944286"/>
            <a:ext cx="44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8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655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6271176" y="3733894"/>
            <a:ext cx="44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8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611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6269827" y="3942938"/>
            <a:ext cx="44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8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595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6609691" y="3732546"/>
            <a:ext cx="44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8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563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6616435" y="3941590"/>
            <a:ext cx="44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8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530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6948208" y="3731198"/>
            <a:ext cx="44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8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504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6954952" y="3940242"/>
            <a:ext cx="44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8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472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7286724" y="3729850"/>
            <a:ext cx="44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8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851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7293468" y="3938894"/>
            <a:ext cx="44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8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832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7617148" y="3736594"/>
            <a:ext cx="44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8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767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7623892" y="3937546"/>
            <a:ext cx="44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8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742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8004216" y="3735247"/>
            <a:ext cx="44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8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11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8010960" y="3936199"/>
            <a:ext cx="44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8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11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8342731" y="3733898"/>
            <a:ext cx="44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8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7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8341384" y="3934850"/>
            <a:ext cx="44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GB" sz="8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5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316801" y="3524168"/>
            <a:ext cx="61908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GB" sz="80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. at risk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242928" y="3713702"/>
            <a:ext cx="61357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en-GB" sz="800" b="1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glar</a:t>
            </a:r>
            <a:r>
              <a:rPr lang="en-GB" sz="8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U100</a:t>
            </a:r>
            <a:endParaRPr lang="en-GB" sz="800" b="1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224081" y="3928924"/>
            <a:ext cx="61357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en-GB" sz="800" b="1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nd</a:t>
            </a:r>
            <a:r>
              <a:rPr lang="en-GB" sz="8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care</a:t>
            </a:r>
            <a:endParaRPr lang="en-GB" sz="800" b="1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4408960" y="3947023"/>
            <a:ext cx="61357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en-GB" sz="800" b="1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glar</a:t>
            </a:r>
            <a:r>
              <a:rPr lang="en-GB" sz="8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U100</a:t>
            </a:r>
            <a:endParaRPr lang="en-GB" sz="800" b="1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4407612" y="3727190"/>
            <a:ext cx="61357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r>
              <a:rPr lang="en-GB" sz="80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Deg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1603634" y="828003"/>
            <a:ext cx="651410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altLang="en-US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jd tot </a:t>
            </a:r>
            <a:r>
              <a:rPr lang="nl-NL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t eerste optreden van cardiovasculaire sterfte, niet-fatale myocardinfarct of niet-fatale beroerte 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730818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1800" b="1" dirty="0">
                <a:solidFill>
                  <a:srgbClr val="002060"/>
                </a:solidFill>
              </a:rPr>
              <a:t>Diabetes Type 2 </a:t>
            </a:r>
            <a:r>
              <a:rPr lang="en-GB" sz="1800" b="1" dirty="0" err="1">
                <a:solidFill>
                  <a:srgbClr val="002060"/>
                </a:solidFill>
              </a:rPr>
              <a:t>en</a:t>
            </a:r>
            <a:r>
              <a:rPr lang="en-GB" sz="1800" b="1" dirty="0">
                <a:solidFill>
                  <a:srgbClr val="002060"/>
                </a:solidFill>
              </a:rPr>
              <a:t> CVOT’s</a:t>
            </a:r>
            <a:r>
              <a:rPr lang="en-GB" sz="1800" b="1" dirty="0" smtClean="0">
                <a:solidFill>
                  <a:srgbClr val="002060"/>
                </a:solidFill>
              </a:rPr>
              <a:t/>
            </a:r>
            <a:br>
              <a:rPr lang="en-GB" sz="1800" b="1" dirty="0" smtClean="0">
                <a:solidFill>
                  <a:srgbClr val="002060"/>
                </a:solidFill>
              </a:rPr>
            </a:br>
            <a:endParaRPr lang="en-GB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GB" sz="2000" b="1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GB" sz="2000" b="1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GB" sz="2000" b="1" dirty="0">
              <a:solidFill>
                <a:srgbClr val="002060"/>
              </a:solidFill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en-GB" sz="2000" b="1" dirty="0" err="1">
                <a:solidFill>
                  <a:srgbClr val="002060"/>
                </a:solidFill>
              </a:rPr>
              <a:t>Recente</a:t>
            </a:r>
            <a:r>
              <a:rPr lang="en-GB" sz="2000" b="1" dirty="0">
                <a:solidFill>
                  <a:srgbClr val="002060"/>
                </a:solidFill>
              </a:rPr>
              <a:t> </a:t>
            </a:r>
            <a:r>
              <a:rPr lang="en-GB" sz="2000" b="1" dirty="0" smtClean="0">
                <a:solidFill>
                  <a:srgbClr val="002060"/>
                </a:solidFill>
              </a:rPr>
              <a:t>CVOT’s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GB" sz="2000" dirty="0" smtClean="0">
                <a:solidFill>
                  <a:srgbClr val="002060"/>
                </a:solidFill>
              </a:rPr>
              <a:t>3) GLP-1</a:t>
            </a:r>
            <a:endParaRPr lang="en-GB" sz="2000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GB" sz="2000" dirty="0" smtClean="0">
              <a:solidFill>
                <a:srgbClr val="002060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323528" y="843558"/>
            <a:ext cx="8208912" cy="352839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80675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GLP-1: </a:t>
            </a:r>
            <a:r>
              <a:rPr lang="en-GB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geen</a:t>
            </a:r>
            <a:r>
              <a:rPr lang="en-GB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significante</a:t>
            </a:r>
            <a:r>
              <a:rPr lang="en-GB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verschillen</a:t>
            </a:r>
            <a:r>
              <a:rPr lang="en-GB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op MACE</a:t>
            </a:r>
            <a:endParaRPr lang="en-GB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23850" y="4273857"/>
            <a:ext cx="8656960" cy="770826"/>
          </a:xfrm>
        </p:spPr>
        <p:txBody>
          <a:bodyPr>
            <a:normAutofit/>
          </a:bodyPr>
          <a:lstStyle/>
          <a:p>
            <a:r>
              <a:rPr lang="en-GB" sz="700" dirty="0">
                <a:latin typeface="Calibri" panose="020F0502020204030204" pitchFamily="34" charset="0"/>
                <a:cs typeface="Calibri" panose="020F0502020204030204" pitchFamily="34" charset="0"/>
              </a:rPr>
              <a:t>*Exenatide extended release. CV, cardiovascular; CVOT, cardiovascular outcomes trial; FDA, US Food and Drug Administration; GLP-1RA, glucagon-like peptide-1 receptor agonist; HR, hazard ratio; ITCA 650, continuous subcutaneous delivery of exenatide; MACE, major adverse cardiac event; </a:t>
            </a:r>
            <a:r>
              <a:rPr lang="en-GB" altLang="en-US" sz="700" dirty="0">
                <a:latin typeface="Calibri" panose="020F0502020204030204" pitchFamily="34" charset="0"/>
                <a:cs typeface="Calibri" panose="020F0502020204030204" pitchFamily="34" charset="0"/>
              </a:rPr>
              <a:t>MI, myocardial infarction; OW, once weekly. </a:t>
            </a:r>
            <a:r>
              <a:rPr lang="en-GB" sz="700" dirty="0">
                <a:latin typeface="Calibri" panose="020F0502020204030204" pitchFamily="34" charset="0"/>
                <a:cs typeface="Calibri" panose="020F0502020204030204" pitchFamily="34" charset="0"/>
              </a:rPr>
              <a:t>1. </a:t>
            </a:r>
            <a:r>
              <a:rPr lang="en-GB" sz="700" dirty="0" err="1">
                <a:latin typeface="Calibri" panose="020F0502020204030204" pitchFamily="34" charset="0"/>
                <a:cs typeface="Calibri" panose="020F0502020204030204" pitchFamily="34" charset="0"/>
              </a:rPr>
              <a:t>Pfeffer</a:t>
            </a:r>
            <a:r>
              <a:rPr lang="en-GB" sz="700" dirty="0">
                <a:latin typeface="Calibri" panose="020F0502020204030204" pitchFamily="34" charset="0"/>
                <a:cs typeface="Calibri" panose="020F0502020204030204" pitchFamily="34" charset="0"/>
              </a:rPr>
              <a:t> M et al. </a:t>
            </a:r>
            <a:r>
              <a:rPr lang="en-GB" sz="700" i="1" dirty="0">
                <a:latin typeface="Calibri" panose="020F0502020204030204" pitchFamily="34" charset="0"/>
                <a:cs typeface="Calibri" panose="020F0502020204030204" pitchFamily="34" charset="0"/>
              </a:rPr>
              <a:t>N </a:t>
            </a:r>
            <a:r>
              <a:rPr lang="en-GB" sz="700" i="1" dirty="0" err="1">
                <a:latin typeface="Calibri" panose="020F0502020204030204" pitchFamily="34" charset="0"/>
                <a:cs typeface="Calibri" panose="020F0502020204030204" pitchFamily="34" charset="0"/>
              </a:rPr>
              <a:t>Engl</a:t>
            </a:r>
            <a:r>
              <a:rPr lang="en-GB" sz="700" i="1" dirty="0">
                <a:latin typeface="Calibri" panose="020F0502020204030204" pitchFamily="34" charset="0"/>
                <a:cs typeface="Calibri" panose="020F0502020204030204" pitchFamily="34" charset="0"/>
              </a:rPr>
              <a:t> J Med </a:t>
            </a:r>
            <a:r>
              <a:rPr lang="en-GB" sz="700" dirty="0">
                <a:latin typeface="Calibri" panose="020F0502020204030204" pitchFamily="34" charset="0"/>
                <a:cs typeface="Calibri" panose="020F0502020204030204" pitchFamily="34" charset="0"/>
              </a:rPr>
              <a:t>2015;373:2247–2257; 2. </a:t>
            </a:r>
            <a:r>
              <a:rPr lang="en-GB" sz="700" dirty="0" err="1">
                <a:latin typeface="Calibri" panose="020F0502020204030204" pitchFamily="34" charset="0"/>
                <a:cs typeface="Calibri" panose="020F0502020204030204" pitchFamily="34" charset="0"/>
              </a:rPr>
              <a:t>Intarcia</a:t>
            </a:r>
            <a:r>
              <a:rPr lang="en-GB" sz="700" dirty="0">
                <a:latin typeface="Calibri" panose="020F0502020204030204" pitchFamily="34" charset="0"/>
                <a:cs typeface="Calibri" panose="020F0502020204030204" pitchFamily="34" charset="0"/>
              </a:rPr>
              <a:t> company announcement. Available at: http://www.intarcia.com/media/press-releases/2016-may-6-cardiovascular-safety.html accessed June 2017; 3. Astra Zeneca press release available at: https://www.astrazeneca-us.com/media/press-releases/2017/bydureon-exscel-trial-meets-primary-safety-objective-in-type-2-diabetes-patients-at-wide-range-of-cardiovascular-risk-05232017.html accessed June 2017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6733" t="16135" r="9397" b="4292"/>
          <a:stretch/>
        </p:blipFill>
        <p:spPr>
          <a:xfrm>
            <a:off x="247887" y="2272085"/>
            <a:ext cx="2748810" cy="2052880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>
            <a:off x="3131653" y="1023126"/>
            <a:ext cx="2880000" cy="3379846"/>
            <a:chOff x="4626217" y="3878306"/>
            <a:chExt cx="2880000" cy="4112712"/>
          </a:xfrm>
        </p:grpSpPr>
        <p:sp>
          <p:nvSpPr>
            <p:cNvPr id="7" name="Rounded Rectangle 6"/>
            <p:cNvSpPr/>
            <p:nvPr/>
          </p:nvSpPr>
          <p:spPr>
            <a:xfrm>
              <a:off x="4626217" y="3878306"/>
              <a:ext cx="2880000" cy="4112712"/>
            </a:xfrm>
            <a:prstGeom prst="roundRect">
              <a:avLst>
                <a:gd name="adj" fmla="val 7315"/>
              </a:avLst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16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4692488" y="4595063"/>
              <a:ext cx="2738727" cy="521181"/>
            </a:xfrm>
            <a:prstGeom prst="round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050" b="1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REEDOM-CVO: Placebo-controlled cardiovascular outcomes study examining the safety of ITCA 650 vs placebo</a:t>
              </a:r>
            </a:p>
          </p:txBody>
        </p:sp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375960" y="3939462"/>
              <a:ext cx="1370170" cy="535020"/>
            </a:xfrm>
            <a:prstGeom prst="rect">
              <a:avLst/>
            </a:prstGeom>
          </p:spPr>
        </p:pic>
      </p:grpSp>
      <p:sp>
        <p:nvSpPr>
          <p:cNvPr id="11" name="Rounded Rectangle 10"/>
          <p:cNvSpPr/>
          <p:nvPr/>
        </p:nvSpPr>
        <p:spPr>
          <a:xfrm>
            <a:off x="6164400" y="1023126"/>
            <a:ext cx="2880000" cy="3379846"/>
          </a:xfrm>
          <a:prstGeom prst="roundRect">
            <a:avLst>
              <a:gd name="adj" fmla="val 6084"/>
            </a:avLst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6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112414" y="1023126"/>
            <a:ext cx="2934386" cy="3379846"/>
            <a:chOff x="4631945" y="1826316"/>
            <a:chExt cx="2934386" cy="3379849"/>
          </a:xfrm>
        </p:grpSpPr>
        <p:grpSp>
          <p:nvGrpSpPr>
            <p:cNvPr id="19" name="Group 18"/>
            <p:cNvGrpSpPr/>
            <p:nvPr/>
          </p:nvGrpSpPr>
          <p:grpSpPr>
            <a:xfrm>
              <a:off x="4631945" y="1861723"/>
              <a:ext cx="2934386" cy="1340118"/>
              <a:chOff x="4779288" y="1728000"/>
              <a:chExt cx="2934386" cy="1340118"/>
            </a:xfrm>
          </p:grpSpPr>
          <p:sp>
            <p:nvSpPr>
              <p:cNvPr id="21" name="Rounded Rectangle 20"/>
              <p:cNvSpPr/>
              <p:nvPr/>
            </p:nvSpPr>
            <p:spPr>
              <a:xfrm>
                <a:off x="4779288" y="1933876"/>
                <a:ext cx="2934386" cy="1134242"/>
              </a:xfrm>
              <a:prstGeom prst="round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r>
                  <a:rPr lang="en-GB" sz="1050" b="1" dirty="0">
                    <a:solidFill>
                      <a:srgbClr val="00196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Lixisenatide in acute coronary syndrome, a long-term cardiovascular end point trial of lixisenatide vs placebo</a:t>
                </a:r>
                <a:r>
                  <a:rPr lang="en-GB" sz="1050" b="1" baseline="30000" dirty="0">
                    <a:solidFill>
                      <a:srgbClr val="00196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</a:t>
                </a:r>
                <a:endParaRPr lang="en-GB" sz="1050" b="1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pic>
            <p:nvPicPr>
              <p:cNvPr id="22" name="Picture 21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99281" y="1728000"/>
                <a:ext cx="951653" cy="438171"/>
              </a:xfrm>
              <a:prstGeom prst="rect">
                <a:avLst/>
              </a:prstGeom>
            </p:spPr>
          </p:pic>
        </p:grpSp>
        <p:sp>
          <p:nvSpPr>
            <p:cNvPr id="20" name="Rounded Rectangle 19"/>
            <p:cNvSpPr/>
            <p:nvPr/>
          </p:nvSpPr>
          <p:spPr>
            <a:xfrm>
              <a:off x="4696137" y="1826316"/>
              <a:ext cx="2870194" cy="3379849"/>
            </a:xfrm>
            <a:prstGeom prst="roundRect">
              <a:avLst>
                <a:gd name="adj" fmla="val 6541"/>
              </a:avLst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GB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81922" name="Picture 2" descr="Image for trademark with serial number 85053858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5843" y="1054302"/>
            <a:ext cx="1254642" cy="420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ounded Rectangle 22"/>
          <p:cNvSpPr/>
          <p:nvPr/>
        </p:nvSpPr>
        <p:spPr>
          <a:xfrm>
            <a:off x="6235037" y="1543099"/>
            <a:ext cx="2738727" cy="428309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trial to evaluate cardiovascular</a:t>
            </a:r>
            <a:r>
              <a:rPr lang="en-GB" sz="105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05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comes after treatment with exenatide OW* vs placebo</a:t>
            </a: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97925" y="2315063"/>
            <a:ext cx="1776010" cy="1932960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6" name="Rounded Rectangular Callout 25"/>
          <p:cNvSpPr/>
          <p:nvPr/>
        </p:nvSpPr>
        <p:spPr>
          <a:xfrm>
            <a:off x="3881397" y="3205997"/>
            <a:ext cx="2055254" cy="1147195"/>
          </a:xfrm>
          <a:prstGeom prst="wedgeRoundRectCallout">
            <a:avLst>
              <a:gd name="adj1" fmla="val -63051"/>
              <a:gd name="adj2" fmla="val -41985"/>
              <a:gd name="adj3" fmla="val 16667"/>
            </a:avLst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FREEDOM-CVO … meets its primary and secondary endpoints by demonstrating FDA required non-inferiority for pre-approval CV safety”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8"/>
          <a:srcRect l="59514" t="21544" r="9375" b="7098"/>
          <a:stretch/>
        </p:blipFill>
        <p:spPr>
          <a:xfrm>
            <a:off x="6235036" y="2254019"/>
            <a:ext cx="2642202" cy="170445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8" name="Rounded Rectangular Callout 27"/>
          <p:cNvSpPr/>
          <p:nvPr/>
        </p:nvSpPr>
        <p:spPr>
          <a:xfrm>
            <a:off x="6879461" y="2491380"/>
            <a:ext cx="2068413" cy="1846274"/>
          </a:xfrm>
          <a:prstGeom prst="wedgeRoundRectCallout">
            <a:avLst>
              <a:gd name="adj1" fmla="val -65071"/>
              <a:gd name="adj2" fmla="val -21879"/>
              <a:gd name="adj3" fmla="val 16667"/>
            </a:avLst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 defTabSz="685800">
              <a:spcBef>
                <a:spcPts val="600"/>
              </a:spcBef>
            </a:pPr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The EXSCEL trial met its primary safety objective of non-inferiority for MACE...</a:t>
            </a:r>
          </a:p>
          <a:p>
            <a:pPr algn="ctr" defTabSz="685800">
              <a:spcBef>
                <a:spcPts val="600"/>
              </a:spcBef>
            </a:pPr>
            <a:r>
              <a:rPr lang="en-GB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…Fewer CV events were observed in the exenatide OW* arm, however, the efficacy objective of superior reduction in MACE did not reach statistical significance”</a:t>
            </a:r>
          </a:p>
        </p:txBody>
      </p:sp>
    </p:spTree>
    <p:extLst>
      <p:ext uri="{BB962C8B-B14F-4D97-AF65-F5344CB8AC3E}">
        <p14:creationId xmlns:p14="http://schemas.microsoft.com/office/powerpoint/2010/main" val="14006885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defTabSz="914108" rtl="0">
              <a:spcBef>
                <a:spcPct val="0"/>
              </a:spcBef>
            </a:pPr>
            <a:r>
              <a:rPr lang="nl-NL" altLang="en-US" sz="20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IXA: </a:t>
            </a:r>
            <a:r>
              <a:rPr lang="nl-NL" altLang="en-US" sz="1500" b="1" kern="1200" dirty="0" smtClean="0">
                <a:solidFill>
                  <a:srgbClr val="00000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ijd tot </a:t>
            </a:r>
            <a:r>
              <a:rPr lang="nl-NL" sz="1500" b="1" kern="1200" dirty="0" smtClean="0">
                <a:solidFill>
                  <a:srgbClr val="00000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het eerste optreden van cardiovasculaire sterfte, niet-fatale myocardinfarct, niet-fatale beroerte of ziekenhuisopname wegens instabiele angina </a:t>
            </a:r>
            <a:endParaRPr lang="nl-NL" altLang="en-US" sz="2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3124" name="Rectangle 5"/>
          <p:cNvSpPr>
            <a:spLocks noChangeArrowheads="1"/>
          </p:cNvSpPr>
          <p:nvPr/>
        </p:nvSpPr>
        <p:spPr bwMode="auto">
          <a:xfrm>
            <a:off x="202077" y="4606240"/>
            <a:ext cx="8140700" cy="450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2" tIns="34289" rIns="68562" bIns="34289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defTabSz="685596"/>
            <a:endParaRPr lang="en-GB" altLang="en-US" sz="800" dirty="0" smtClean="0">
              <a:solidFill>
                <a:srgbClr val="82786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596"/>
            <a:r>
              <a:rPr lang="en-GB" altLang="en-US" sz="800" dirty="0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, confidence interval; CV, cardiovascular; HR, hazard ratio; MI, myocardial infarction.</a:t>
            </a:r>
          </a:p>
          <a:p>
            <a:pPr defTabSz="685596"/>
            <a:r>
              <a:rPr lang="en-GB" altLang="en-US" sz="800" dirty="0" err="1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feffer</a:t>
            </a:r>
            <a:r>
              <a:rPr lang="en-GB" altLang="en-US" sz="800" dirty="0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A et al. </a:t>
            </a:r>
            <a:r>
              <a:rPr lang="en-GB" altLang="en-US" sz="800" i="1" dirty="0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 </a:t>
            </a:r>
            <a:r>
              <a:rPr lang="en-GB" altLang="en-US" sz="800" i="1" dirty="0" err="1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gl</a:t>
            </a:r>
            <a:r>
              <a:rPr lang="en-GB" altLang="en-US" sz="800" i="1" dirty="0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J Med</a:t>
            </a:r>
            <a:r>
              <a:rPr lang="en-GB" altLang="en-US" sz="800" dirty="0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015;373:2247</a:t>
            </a:r>
            <a:r>
              <a:rPr lang="en-GB" altLang="en-US" sz="800" dirty="0" smtClean="0">
                <a:solidFill>
                  <a:srgbClr val="8B7D7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22</a:t>
            </a:r>
            <a:r>
              <a:rPr lang="en-GB" altLang="en-US" sz="800" dirty="0" smtClean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7 </a:t>
            </a:r>
            <a:endParaRPr lang="en-GB" sz="800" dirty="0">
              <a:solidFill>
                <a:srgbClr val="82786F"/>
              </a:solidFill>
              <a:latin typeface="Calibri" panose="020F0502020204030204" pitchFamily="34" charset="0"/>
              <a:ea typeface="Verdana"/>
              <a:cs typeface="Calibri" panose="020F0502020204030204" pitchFamily="34" charset="0"/>
            </a:endParaRPr>
          </a:p>
        </p:txBody>
      </p:sp>
      <p:grpSp>
        <p:nvGrpSpPr>
          <p:cNvPr id="133125" name="Group 3"/>
          <p:cNvGrpSpPr>
            <a:grpSpLocks/>
          </p:cNvGrpSpPr>
          <p:nvPr/>
        </p:nvGrpSpPr>
        <p:grpSpPr bwMode="auto">
          <a:xfrm>
            <a:off x="725102" y="1415378"/>
            <a:ext cx="6783226" cy="2969121"/>
            <a:chOff x="724594" y="1760423"/>
            <a:chExt cx="6783217" cy="2793310"/>
          </a:xfrm>
        </p:grpSpPr>
        <p:pic>
          <p:nvPicPr>
            <p:cNvPr id="133126" name="Picture 38" descr="Primary composite.emf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77451" y="2113292"/>
              <a:ext cx="5082812" cy="1665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3127" name="TextBox 7"/>
            <p:cNvSpPr txBox="1">
              <a:spLocks noChangeArrowheads="1"/>
            </p:cNvSpPr>
            <p:nvPr/>
          </p:nvSpPr>
          <p:spPr bwMode="auto">
            <a:xfrm rot="16200000">
              <a:off x="1101713" y="2702219"/>
              <a:ext cx="139214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defTabSz="685596"/>
              <a:r>
                <a:rPr lang="en-GB" altLang="en-US" sz="1200" b="1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atients with event (%)</a:t>
              </a:r>
              <a:endParaRPr lang="en-GB" altLang="en-US" sz="120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9" name="Straight Connector 8"/>
            <p:cNvCxnSpPr/>
            <p:nvPr/>
          </p:nvCxnSpPr>
          <p:spPr bwMode="auto">
            <a:xfrm flipV="1">
              <a:off x="2180717" y="1771905"/>
              <a:ext cx="0" cy="205534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129" name="TextBox 9"/>
            <p:cNvSpPr txBox="1">
              <a:spLocks noChangeArrowheads="1"/>
            </p:cNvSpPr>
            <p:nvPr/>
          </p:nvSpPr>
          <p:spPr bwMode="auto">
            <a:xfrm>
              <a:off x="2040125" y="3685308"/>
              <a:ext cx="65723" cy="144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r" defTabSz="685596"/>
              <a:r>
                <a:rPr lang="en-GB" altLang="en-US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</a:t>
              </a:r>
              <a:endParaRPr lang="en-GB" altLang="en-US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11" name="Straight Connector 10"/>
            <p:cNvCxnSpPr/>
            <p:nvPr/>
          </p:nvCxnSpPr>
          <p:spPr bwMode="auto">
            <a:xfrm>
              <a:off x="2120392" y="3773113"/>
              <a:ext cx="69850" cy="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 bwMode="auto">
            <a:xfrm>
              <a:off x="2177542" y="3828885"/>
              <a:ext cx="5308594" cy="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 bwMode="auto">
            <a:xfrm rot="16200000">
              <a:off x="2245462" y="3854311"/>
              <a:ext cx="70535" cy="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133" name="TextBox 13"/>
            <p:cNvSpPr txBox="1">
              <a:spLocks noChangeArrowheads="1"/>
            </p:cNvSpPr>
            <p:nvPr/>
          </p:nvSpPr>
          <p:spPr bwMode="auto">
            <a:xfrm>
              <a:off x="2247042" y="3886409"/>
              <a:ext cx="65723" cy="144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defTabSz="685596"/>
              <a:r>
                <a:rPr lang="en-GB" altLang="en-US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</a:t>
              </a:r>
              <a:endParaRPr lang="en-GB" altLang="en-US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15" name="Straight Connector 14"/>
            <p:cNvCxnSpPr/>
            <p:nvPr/>
          </p:nvCxnSpPr>
          <p:spPr bwMode="auto">
            <a:xfrm rot="16200000">
              <a:off x="3826610" y="3854311"/>
              <a:ext cx="70535" cy="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135" name="TextBox 15"/>
            <p:cNvSpPr txBox="1">
              <a:spLocks noChangeArrowheads="1"/>
            </p:cNvSpPr>
            <p:nvPr/>
          </p:nvSpPr>
          <p:spPr bwMode="auto">
            <a:xfrm>
              <a:off x="3795840" y="3886409"/>
              <a:ext cx="131446" cy="144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defTabSz="685596"/>
              <a:r>
                <a:rPr lang="en-GB" altLang="en-US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2</a:t>
              </a:r>
              <a:endParaRPr lang="en-GB" altLang="en-US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17" name="Straight Connector 16"/>
            <p:cNvCxnSpPr/>
            <p:nvPr/>
          </p:nvCxnSpPr>
          <p:spPr bwMode="auto">
            <a:xfrm rot="16200000">
              <a:off x="5360133" y="3854311"/>
              <a:ext cx="70535" cy="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137" name="TextBox 17"/>
            <p:cNvSpPr txBox="1">
              <a:spLocks noChangeArrowheads="1"/>
            </p:cNvSpPr>
            <p:nvPr/>
          </p:nvSpPr>
          <p:spPr bwMode="auto">
            <a:xfrm>
              <a:off x="5329324" y="3886409"/>
              <a:ext cx="131446" cy="144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defTabSz="685596"/>
              <a:r>
                <a:rPr lang="en-GB" altLang="en-US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4</a:t>
              </a:r>
              <a:endParaRPr lang="en-GB" altLang="en-US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19" name="Straight Connector 18"/>
            <p:cNvCxnSpPr/>
            <p:nvPr/>
          </p:nvCxnSpPr>
          <p:spPr bwMode="auto">
            <a:xfrm rot="16200000">
              <a:off x="6873018" y="3854311"/>
              <a:ext cx="70535" cy="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139" name="TextBox 19"/>
            <p:cNvSpPr txBox="1">
              <a:spLocks noChangeArrowheads="1"/>
            </p:cNvSpPr>
            <p:nvPr/>
          </p:nvSpPr>
          <p:spPr bwMode="auto">
            <a:xfrm>
              <a:off x="6841518" y="3886409"/>
              <a:ext cx="131446" cy="144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defTabSz="685596"/>
              <a:r>
                <a:rPr lang="en-GB" altLang="en-US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6</a:t>
              </a:r>
              <a:endParaRPr lang="en-GB" altLang="en-US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3140" name="TextBox 20"/>
            <p:cNvSpPr txBox="1">
              <a:spLocks noChangeArrowheads="1"/>
            </p:cNvSpPr>
            <p:nvPr/>
          </p:nvSpPr>
          <p:spPr bwMode="auto">
            <a:xfrm>
              <a:off x="2040125" y="3193495"/>
              <a:ext cx="65723" cy="144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r" defTabSz="685596"/>
              <a:r>
                <a:rPr lang="en-GB" altLang="en-US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  <a:endParaRPr lang="en-GB" altLang="en-US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22" name="Straight Connector 21"/>
            <p:cNvCxnSpPr/>
            <p:nvPr/>
          </p:nvCxnSpPr>
          <p:spPr bwMode="auto">
            <a:xfrm>
              <a:off x="2120392" y="3281013"/>
              <a:ext cx="69850" cy="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142" name="TextBox 22"/>
            <p:cNvSpPr txBox="1">
              <a:spLocks noChangeArrowheads="1"/>
            </p:cNvSpPr>
            <p:nvPr/>
          </p:nvSpPr>
          <p:spPr bwMode="auto">
            <a:xfrm>
              <a:off x="1974404" y="2707018"/>
              <a:ext cx="131446" cy="144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r" defTabSz="685596"/>
              <a:r>
                <a:rPr lang="en-GB" altLang="en-US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0</a:t>
              </a:r>
              <a:endParaRPr lang="en-GB" altLang="en-US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24" name="Straight Connector 23"/>
            <p:cNvCxnSpPr/>
            <p:nvPr/>
          </p:nvCxnSpPr>
          <p:spPr bwMode="auto">
            <a:xfrm>
              <a:off x="2120392" y="2793834"/>
              <a:ext cx="69850" cy="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144" name="TextBox 24"/>
            <p:cNvSpPr txBox="1">
              <a:spLocks noChangeArrowheads="1"/>
            </p:cNvSpPr>
            <p:nvPr/>
          </p:nvSpPr>
          <p:spPr bwMode="auto">
            <a:xfrm>
              <a:off x="1974404" y="2231087"/>
              <a:ext cx="131446" cy="144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r" defTabSz="685596"/>
              <a:r>
                <a:rPr lang="en-GB" altLang="en-US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5</a:t>
              </a:r>
              <a:endParaRPr lang="en-GB" altLang="en-US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26" name="Straight Connector 25"/>
            <p:cNvCxnSpPr/>
            <p:nvPr/>
          </p:nvCxnSpPr>
          <p:spPr bwMode="auto">
            <a:xfrm>
              <a:off x="2120392" y="2318137"/>
              <a:ext cx="69850" cy="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146" name="TextBox 26"/>
            <p:cNvSpPr txBox="1">
              <a:spLocks noChangeArrowheads="1"/>
            </p:cNvSpPr>
            <p:nvPr/>
          </p:nvSpPr>
          <p:spPr bwMode="auto">
            <a:xfrm>
              <a:off x="1974404" y="1760423"/>
              <a:ext cx="131446" cy="144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r" defTabSz="685596"/>
              <a:r>
                <a:rPr lang="en-GB" altLang="en-US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</a:t>
              </a:r>
              <a:endParaRPr lang="en-GB" altLang="en-US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28" name="Straight Connector 27"/>
            <p:cNvCxnSpPr/>
            <p:nvPr/>
          </p:nvCxnSpPr>
          <p:spPr bwMode="auto">
            <a:xfrm>
              <a:off x="2120392" y="1847360"/>
              <a:ext cx="69850" cy="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 bwMode="auto">
            <a:xfrm>
              <a:off x="4417502" y="3410600"/>
              <a:ext cx="279400" cy="0"/>
            </a:xfrm>
            <a:prstGeom prst="line">
              <a:avLst/>
            </a:prstGeom>
            <a:noFill/>
            <a:ln w="22225">
              <a:solidFill>
                <a:srgbClr val="739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3149" name="TextBox 106"/>
            <p:cNvSpPr txBox="1">
              <a:spLocks noChangeArrowheads="1"/>
            </p:cNvSpPr>
            <p:nvPr/>
          </p:nvSpPr>
          <p:spPr bwMode="auto">
            <a:xfrm>
              <a:off x="4771878" y="3336059"/>
              <a:ext cx="2735933" cy="289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chemeClr val="accent1"/>
                </a:buClr>
                <a:buFont typeface="Verdana" panose="020B0604030504040204" pitchFamily="34" charset="0"/>
                <a:buChar char="•"/>
                <a:defRPr>
                  <a:solidFill>
                    <a:schemeClr val="accent2"/>
                  </a:solidFill>
                  <a:latin typeface="Verdana" panose="020B060403050404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tx2"/>
                </a:buClr>
                <a:buFont typeface="Verdana" panose="020B0604030504040204" pitchFamily="34" charset="0"/>
                <a:buChar char="•"/>
                <a:defRPr sz="1600">
                  <a:solidFill>
                    <a:schemeClr val="accent2"/>
                  </a:solidFill>
                  <a:latin typeface="Verdana" panose="020B060403050404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64A0E"/>
                </a:buClr>
                <a:buFont typeface="Verdana" panose="020B0604030504040204" pitchFamily="34" charset="0"/>
                <a:buChar char="•"/>
                <a:defRPr sz="1400">
                  <a:solidFill>
                    <a:schemeClr val="accent2"/>
                  </a:solidFill>
                  <a:latin typeface="Verdana" panose="020B060403050404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82786F"/>
                </a:buClr>
                <a:buFont typeface="Verdana" panose="020B0604030504040204" pitchFamily="34" charset="0"/>
                <a:buChar char="•"/>
                <a:defRPr sz="1200">
                  <a:solidFill>
                    <a:schemeClr val="accent2"/>
                  </a:solidFill>
                  <a:latin typeface="Verdana" panose="020B060403050404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001423"/>
                </a:buClr>
                <a:buFont typeface="Verdana" panose="020B0604030504040204" pitchFamily="34" charset="0"/>
                <a:buChar char="•"/>
                <a:defRPr sz="1100">
                  <a:solidFill>
                    <a:schemeClr val="accent2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1423"/>
                </a:buClr>
                <a:buFont typeface="Verdana" panose="020B0604030504040204" pitchFamily="34" charset="0"/>
                <a:buChar char="•"/>
                <a:defRPr sz="1100">
                  <a:solidFill>
                    <a:schemeClr val="accent2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1423"/>
                </a:buClr>
                <a:buFont typeface="Verdana" panose="020B0604030504040204" pitchFamily="34" charset="0"/>
                <a:buChar char="•"/>
                <a:defRPr sz="1100">
                  <a:solidFill>
                    <a:schemeClr val="accent2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1423"/>
                </a:buClr>
                <a:buFont typeface="Verdana" panose="020B0604030504040204" pitchFamily="34" charset="0"/>
                <a:buChar char="•"/>
                <a:defRPr sz="1100">
                  <a:solidFill>
                    <a:schemeClr val="accent2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1423"/>
                </a:buClr>
                <a:buFont typeface="Verdana" panose="020B0604030504040204" pitchFamily="34" charset="0"/>
                <a:buChar char="•"/>
                <a:defRPr sz="1100">
                  <a:solidFill>
                    <a:schemeClr val="accent2"/>
                  </a:solidFill>
                  <a:latin typeface="Verdana" panose="020B0604030504040204" pitchFamily="34" charset="0"/>
                </a:defRPr>
              </a:lvl9pPr>
            </a:lstStyle>
            <a:p>
              <a:pPr defTabSz="685596">
                <a:spcBef>
                  <a:spcPct val="0"/>
                </a:spcBef>
                <a:buClrTx/>
                <a:buFont typeface="Verdana" panose="020B0604030504040204" pitchFamily="34" charset="0"/>
                <a:buNone/>
              </a:pPr>
              <a:r>
                <a:rPr lang="en-GB" altLang="en-US" sz="1000" dirty="0" err="1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ixisenatide</a:t>
              </a:r>
              <a:r>
                <a:rPr lang="en-GB" altLang="en-US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:  406/3034 = 13.4%</a:t>
              </a:r>
            </a:p>
            <a:p>
              <a:pPr defTabSz="685596">
                <a:spcBef>
                  <a:spcPct val="0"/>
                </a:spcBef>
                <a:buClrTx/>
                <a:buFont typeface="Verdana" panose="020B0604030504040204" pitchFamily="34" charset="0"/>
                <a:buNone/>
              </a:pPr>
              <a:r>
                <a:rPr lang="en-GB" altLang="en-US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lacebo:	     399/3034 = 13.2%</a:t>
              </a:r>
              <a:endParaRPr lang="en-GB" altLang="en-US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31" name="Straight Connector 30"/>
            <p:cNvCxnSpPr/>
            <p:nvPr/>
          </p:nvCxnSpPr>
          <p:spPr bwMode="auto">
            <a:xfrm>
              <a:off x="4428614" y="3587756"/>
              <a:ext cx="279400" cy="0"/>
            </a:xfrm>
            <a:prstGeom prst="line">
              <a:avLst/>
            </a:prstGeom>
            <a:noFill/>
            <a:ln w="22225">
              <a:solidFill>
                <a:srgbClr val="82786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3151" name="TextBox 110"/>
            <p:cNvSpPr txBox="1">
              <a:spLocks noChangeArrowheads="1"/>
            </p:cNvSpPr>
            <p:nvPr/>
          </p:nvSpPr>
          <p:spPr bwMode="auto">
            <a:xfrm>
              <a:off x="2335373" y="1837924"/>
              <a:ext cx="2924419" cy="521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Clr>
                  <a:schemeClr val="accent1"/>
                </a:buClr>
                <a:buFont typeface="Verdana" panose="020B0604030504040204" pitchFamily="34" charset="0"/>
                <a:buChar char="•"/>
                <a:defRPr>
                  <a:solidFill>
                    <a:schemeClr val="accent2"/>
                  </a:solidFill>
                  <a:latin typeface="Verdana" panose="020B060403050404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tx2"/>
                </a:buClr>
                <a:buFont typeface="Verdana" panose="020B0604030504040204" pitchFamily="34" charset="0"/>
                <a:buChar char="•"/>
                <a:defRPr sz="1600">
                  <a:solidFill>
                    <a:schemeClr val="accent2"/>
                  </a:solidFill>
                  <a:latin typeface="Verdana" panose="020B060403050404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64A0E"/>
                </a:buClr>
                <a:buFont typeface="Verdana" panose="020B0604030504040204" pitchFamily="34" charset="0"/>
                <a:buChar char="•"/>
                <a:defRPr sz="1400">
                  <a:solidFill>
                    <a:schemeClr val="accent2"/>
                  </a:solidFill>
                  <a:latin typeface="Verdana" panose="020B060403050404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82786F"/>
                </a:buClr>
                <a:buFont typeface="Verdana" panose="020B0604030504040204" pitchFamily="34" charset="0"/>
                <a:buChar char="•"/>
                <a:defRPr sz="1200">
                  <a:solidFill>
                    <a:schemeClr val="accent2"/>
                  </a:solidFill>
                  <a:latin typeface="Verdana" panose="020B060403050404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001423"/>
                </a:buClr>
                <a:buFont typeface="Verdana" panose="020B0604030504040204" pitchFamily="34" charset="0"/>
                <a:buChar char="•"/>
                <a:defRPr sz="1100">
                  <a:solidFill>
                    <a:schemeClr val="accent2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1423"/>
                </a:buClr>
                <a:buFont typeface="Verdana" panose="020B0604030504040204" pitchFamily="34" charset="0"/>
                <a:buChar char="•"/>
                <a:defRPr sz="1100">
                  <a:solidFill>
                    <a:schemeClr val="accent2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1423"/>
                </a:buClr>
                <a:buFont typeface="Verdana" panose="020B0604030504040204" pitchFamily="34" charset="0"/>
                <a:buChar char="•"/>
                <a:defRPr sz="1100">
                  <a:solidFill>
                    <a:schemeClr val="accent2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1423"/>
                </a:buClr>
                <a:buFont typeface="Verdana" panose="020B0604030504040204" pitchFamily="34" charset="0"/>
                <a:buChar char="•"/>
                <a:defRPr sz="1100">
                  <a:solidFill>
                    <a:schemeClr val="accent2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1423"/>
                </a:buClr>
                <a:buFont typeface="Verdana" panose="020B0604030504040204" pitchFamily="34" charset="0"/>
                <a:buChar char="•"/>
                <a:defRPr sz="1100">
                  <a:solidFill>
                    <a:schemeClr val="accent2"/>
                  </a:solidFill>
                  <a:latin typeface="Verdana" panose="020B0604030504040204" pitchFamily="34" charset="0"/>
                </a:defRPr>
              </a:lvl9pPr>
            </a:lstStyle>
            <a:p>
              <a:pPr defTabSz="685596">
                <a:spcBef>
                  <a:spcPct val="0"/>
                </a:spcBef>
                <a:buClrTx/>
                <a:buFont typeface="Verdana" panose="020B0604030504040204" pitchFamily="34" charset="0"/>
                <a:buNone/>
              </a:pPr>
              <a:r>
                <a:rPr lang="en-GB" altLang="en-US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Hazard Ratio (95% CI) 1.02 (0.89–1.17)</a:t>
              </a:r>
            </a:p>
            <a:p>
              <a:pPr defTabSz="685596">
                <a:spcBef>
                  <a:spcPct val="0"/>
                </a:spcBef>
                <a:buClrTx/>
                <a:buFont typeface="Verdana" panose="020B0604030504040204" pitchFamily="34" charset="0"/>
                <a:buNone/>
              </a:pPr>
              <a:r>
                <a:rPr lang="en-GB" altLang="en-US" sz="1000" i="1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</a:t>
              </a:r>
              <a:r>
                <a:rPr lang="en-GB" altLang="en-US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&lt;0.001 for </a:t>
              </a:r>
              <a:r>
                <a:rPr lang="en-GB" altLang="en-US" sz="1000" dirty="0" err="1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oninferiority</a:t>
              </a:r>
              <a:endParaRPr lang="en-GB" altLang="en-US" sz="10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defTabSz="685596">
                <a:spcBef>
                  <a:spcPct val="0"/>
                </a:spcBef>
                <a:buClrTx/>
                <a:buFont typeface="Verdana" panose="020B0604030504040204" pitchFamily="34" charset="0"/>
                <a:buNone/>
              </a:pPr>
              <a:r>
                <a:rPr lang="en-GB" altLang="en-US" sz="1000" i="1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</a:t>
              </a:r>
              <a:r>
                <a:rPr lang="en-GB" altLang="en-US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=0.81 for superiority</a:t>
              </a:r>
              <a:endParaRPr lang="en-GB" altLang="en-US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3152" name="TextBox 32"/>
            <p:cNvSpPr txBox="1">
              <a:spLocks noChangeArrowheads="1"/>
            </p:cNvSpPr>
            <p:nvPr/>
          </p:nvSpPr>
          <p:spPr bwMode="auto">
            <a:xfrm>
              <a:off x="4486900" y="4015920"/>
              <a:ext cx="415177" cy="144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defTabSz="685596"/>
              <a:r>
                <a:rPr lang="en-GB" altLang="en-US" sz="1000" b="1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onths</a:t>
              </a:r>
              <a:endParaRPr lang="en-GB" altLang="en-US" sz="100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3153" name="TextBox 33"/>
            <p:cNvSpPr txBox="1">
              <a:spLocks noChangeArrowheads="1"/>
            </p:cNvSpPr>
            <p:nvPr/>
          </p:nvSpPr>
          <p:spPr bwMode="auto">
            <a:xfrm>
              <a:off x="2148459" y="4264180"/>
              <a:ext cx="262892" cy="2895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defTabSz="685596"/>
              <a:r>
                <a:rPr lang="en-GB" altLang="en-US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034</a:t>
              </a:r>
            </a:p>
            <a:p>
              <a:pPr algn="ctr" defTabSz="685596"/>
              <a:r>
                <a:rPr lang="en-GB" altLang="en-US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034</a:t>
              </a:r>
              <a:endParaRPr lang="en-GB" altLang="en-US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3154" name="TextBox 34"/>
            <p:cNvSpPr txBox="1">
              <a:spLocks noChangeArrowheads="1"/>
            </p:cNvSpPr>
            <p:nvPr/>
          </p:nvSpPr>
          <p:spPr bwMode="auto">
            <a:xfrm>
              <a:off x="3730117" y="4264180"/>
              <a:ext cx="262892" cy="2895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defTabSz="685596"/>
              <a:r>
                <a:rPr lang="en-GB" altLang="en-US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759</a:t>
              </a:r>
            </a:p>
            <a:p>
              <a:pPr algn="ctr" defTabSz="685596"/>
              <a:r>
                <a:rPr lang="en-GB" altLang="en-US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785</a:t>
              </a:r>
              <a:endParaRPr lang="en-GB" altLang="en-US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3155" name="TextBox 35"/>
            <p:cNvSpPr txBox="1">
              <a:spLocks noChangeArrowheads="1"/>
            </p:cNvSpPr>
            <p:nvPr/>
          </p:nvSpPr>
          <p:spPr bwMode="auto">
            <a:xfrm>
              <a:off x="5263599" y="4264180"/>
              <a:ext cx="262892" cy="2895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defTabSz="685596"/>
              <a:r>
                <a:rPr lang="en-GB" altLang="en-US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566</a:t>
              </a:r>
            </a:p>
            <a:p>
              <a:pPr algn="ctr" defTabSz="685596"/>
              <a:r>
                <a:rPr lang="en-GB" altLang="en-US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558</a:t>
              </a:r>
              <a:endParaRPr lang="en-GB" altLang="en-US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3156" name="TextBox 36"/>
            <p:cNvSpPr txBox="1">
              <a:spLocks noChangeArrowheads="1"/>
            </p:cNvSpPr>
            <p:nvPr/>
          </p:nvSpPr>
          <p:spPr bwMode="auto">
            <a:xfrm>
              <a:off x="6808658" y="4264180"/>
              <a:ext cx="197169" cy="2895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defTabSz="685596"/>
              <a:r>
                <a:rPr lang="en-GB" altLang="en-US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76</a:t>
              </a:r>
            </a:p>
            <a:p>
              <a:pPr algn="ctr" defTabSz="685596"/>
              <a:r>
                <a:rPr lang="en-GB" altLang="en-US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84</a:t>
              </a:r>
              <a:endParaRPr lang="en-GB" altLang="en-US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3157" name="TextBox 37"/>
            <p:cNvSpPr txBox="1">
              <a:spLocks noChangeArrowheads="1"/>
            </p:cNvSpPr>
            <p:nvPr/>
          </p:nvSpPr>
          <p:spPr bwMode="auto">
            <a:xfrm>
              <a:off x="724594" y="4110292"/>
              <a:ext cx="790279" cy="434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r" defTabSz="685596"/>
              <a:r>
                <a:rPr lang="en-GB" altLang="en-US" sz="1000" b="1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umber at risk</a:t>
              </a:r>
            </a:p>
            <a:p>
              <a:pPr algn="r" defTabSz="685596"/>
              <a:r>
                <a:rPr lang="en-GB" altLang="en-US" sz="1000" dirty="0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lacebo</a:t>
              </a:r>
            </a:p>
            <a:p>
              <a:pPr algn="r" defTabSz="685596"/>
              <a:r>
                <a:rPr lang="en-GB" altLang="en-US" sz="1000" dirty="0" err="1" smtClean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ixisenatide</a:t>
              </a:r>
              <a:endParaRPr lang="en-GB" altLang="en-US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701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nl-NL" sz="1800" b="1" dirty="0" err="1" smtClean="0"/>
              <a:t>Disclosure</a:t>
            </a:r>
            <a:r>
              <a:rPr lang="nl-NL" sz="1800" b="1" dirty="0" smtClean="0"/>
              <a:t> Jeroen Nijhuis</a:t>
            </a:r>
            <a:endParaRPr lang="nl-NL" sz="1800" b="1" dirty="0"/>
          </a:p>
        </p:txBody>
      </p:sp>
      <p:graphicFrame>
        <p:nvGraphicFramePr>
          <p:cNvPr id="3" name="Tabel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4062623"/>
              </p:ext>
            </p:extLst>
          </p:nvPr>
        </p:nvGraphicFramePr>
        <p:xfrm>
          <a:off x="683568" y="1203598"/>
          <a:ext cx="7560840" cy="3224808"/>
        </p:xfrm>
        <a:graphic>
          <a:graphicData uri="http://schemas.openxmlformats.org/drawingml/2006/table">
            <a:tbl>
              <a:tblPr/>
              <a:tblGrid>
                <a:gridCol w="408792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47291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6457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Arial" charset="0"/>
                        </a:rPr>
                        <a:t>(Potentiële) belangenverstrengeling</a:t>
                      </a:r>
                      <a:endParaRPr kumimoji="0" lang="nl-NL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PT Sans"/>
                        <a:cs typeface="Times New Roman" charset="0"/>
                      </a:endParaRPr>
                    </a:p>
                  </a:txBody>
                  <a:tcPr marL="60555" marR="6055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PT Sans"/>
                        <a:cs typeface="Times New Roman" charset="0"/>
                      </a:endParaRPr>
                    </a:p>
                  </a:txBody>
                  <a:tcPr marL="60555" marR="6055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8374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Arial" charset="0"/>
                        </a:rPr>
                        <a:t>Voor bijeenkomst mogelijk relevante relaties met bedrijven</a:t>
                      </a:r>
                      <a:endParaRPr kumimoji="0" lang="nl-NL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PT Sans"/>
                        <a:cs typeface="Times New Roman" charset="0"/>
                      </a:endParaRPr>
                    </a:p>
                  </a:txBody>
                  <a:tcPr marL="60555" marR="6055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Arial" charset="0"/>
                        </a:rPr>
                        <a:t>Bedrijfsnamen</a:t>
                      </a:r>
                      <a:endParaRPr kumimoji="0" lang="nl-NL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PT Sans"/>
                        <a:cs typeface="Times New Roman" charset="0"/>
                      </a:endParaRPr>
                    </a:p>
                  </a:txBody>
                  <a:tcPr marL="60555" marR="6055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995326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charset="0"/>
                        <a:buChar char=""/>
                        <a:tabLst/>
                      </a:pPr>
                      <a:r>
                        <a:rPr kumimoji="0" lang="nl-NL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Arial" charset="0"/>
                        </a:rPr>
                        <a:t>Sponsoring of onderzoeksgeld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charset="0"/>
                        <a:buChar char=""/>
                        <a:tabLst/>
                      </a:pPr>
                      <a:r>
                        <a:rPr kumimoji="0" lang="nl-NL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Arial" charset="0"/>
                        </a:rPr>
                        <a:t>Honorarium of andere (financiële) vergoeding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charset="0"/>
                        <a:buChar char=""/>
                        <a:tabLst/>
                      </a:pPr>
                      <a:r>
                        <a:rPr kumimoji="0" lang="nl-NL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Arial" charset="0"/>
                        </a:rPr>
                        <a:t>Aandeelhouder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charset="0"/>
                        <a:buChar char=""/>
                        <a:tabLst/>
                      </a:pPr>
                      <a:r>
                        <a:rPr kumimoji="0" lang="nl-NL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Arial" charset="0"/>
                        </a:rPr>
                        <a:t>Andere relatie, namelijk …</a:t>
                      </a:r>
                      <a:endParaRPr kumimoji="0" lang="nl-NL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PT Sans"/>
                        <a:cs typeface="Times New Roman" charset="0"/>
                      </a:endParaRPr>
                    </a:p>
                  </a:txBody>
                  <a:tcPr marL="60555" marR="60555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Arial" charset="0"/>
                        </a:rPr>
                        <a:t> </a:t>
                      </a:r>
                    </a:p>
                  </a:txBody>
                  <a:tcPr marL="60555" marR="60555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7268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69042567"/>
              </p:ext>
            </p:extLst>
          </p:nvPr>
        </p:nvGraphicFramePr>
        <p:xfrm>
          <a:off x="1002623" y="1153424"/>
          <a:ext cx="7318375" cy="24368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04" name="Prism 6" r:id="rId4" imgW="10467705" imgH="3672851" progId="Prism6.Document">
                  <p:embed/>
                </p:oleObj>
              </mc:Choice>
              <mc:Fallback>
                <p:oleObj name="Prism 6" r:id="rId4" imgW="10467705" imgH="3672851" progId="Prism6.Document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02623" y="1153424"/>
                        <a:ext cx="7318375" cy="24368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 rot="16200000">
            <a:off x="-328250" y="2201969"/>
            <a:ext cx="2389776" cy="276999"/>
          </a:xfrm>
          <a:prstGeom prst="rect">
            <a:avLst/>
          </a:prstGeom>
          <a:solidFill>
            <a:srgbClr val="FFFFFF"/>
          </a:solidFill>
        </p:spPr>
        <p:txBody>
          <a:bodyPr wrap="square" lIns="91414" tIns="45707" rIns="91414" bIns="45707" rtlCol="0">
            <a:noAutofit/>
          </a:bodyPr>
          <a:lstStyle/>
          <a:p>
            <a:pPr algn="ctr" defTabSz="685596"/>
            <a:r>
              <a:rPr lang="en-GB" sz="120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tients with an event (%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641657" y="3525023"/>
            <a:ext cx="4042110" cy="276999"/>
          </a:xfrm>
          <a:prstGeom prst="rect">
            <a:avLst/>
          </a:prstGeom>
          <a:solidFill>
            <a:srgbClr val="FFFFFF"/>
          </a:solidFill>
        </p:spPr>
        <p:txBody>
          <a:bodyPr wrap="square" lIns="91414" tIns="45707" rIns="91414" bIns="45707" rtlCol="0">
            <a:normAutofit/>
          </a:bodyPr>
          <a:lstStyle/>
          <a:p>
            <a:pPr algn="ctr" defTabSz="685596"/>
            <a:r>
              <a:rPr lang="en-GB" sz="120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me from randomisation (months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69919" y="3681072"/>
            <a:ext cx="1324552" cy="261610"/>
          </a:xfrm>
          <a:prstGeom prst="rect">
            <a:avLst/>
          </a:prstGeom>
          <a:noFill/>
        </p:spPr>
        <p:txBody>
          <a:bodyPr wrap="square" lIns="91414" tIns="45707" rIns="91414" bIns="45707" rtlCol="0">
            <a:normAutofit/>
          </a:bodyPr>
          <a:lstStyle/>
          <a:p>
            <a:pPr defTabSz="685596"/>
            <a:r>
              <a:rPr lang="en-GB" sz="1100" b="1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tients at risk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69919" y="3872289"/>
            <a:ext cx="978916" cy="261610"/>
          </a:xfrm>
          <a:prstGeom prst="rect">
            <a:avLst/>
          </a:prstGeom>
          <a:noFill/>
        </p:spPr>
        <p:txBody>
          <a:bodyPr wrap="square" lIns="91414" tIns="45707" rIns="91414" bIns="45707" rtlCol="0">
            <a:noAutofit/>
          </a:bodyPr>
          <a:lstStyle/>
          <a:p>
            <a:pPr defTabSz="685596"/>
            <a:r>
              <a:rPr lang="en-GB" sz="1100" dirty="0" err="1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raglutide</a:t>
            </a:r>
            <a:endParaRPr lang="en-GB" sz="1100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69917" y="4063506"/>
            <a:ext cx="838820" cy="261610"/>
          </a:xfrm>
          <a:prstGeom prst="rect">
            <a:avLst/>
          </a:prstGeom>
          <a:noFill/>
        </p:spPr>
        <p:txBody>
          <a:bodyPr wrap="square" lIns="91414" tIns="45707" rIns="91414" bIns="45707" rtlCol="0">
            <a:normAutofit/>
          </a:bodyPr>
          <a:lstStyle/>
          <a:p>
            <a:pPr defTabSz="685596"/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cebo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97984" y="3872289"/>
            <a:ext cx="528562" cy="261610"/>
          </a:xfrm>
          <a:prstGeom prst="rect">
            <a:avLst/>
          </a:prstGeom>
          <a:noFill/>
        </p:spPr>
        <p:txBody>
          <a:bodyPr wrap="square" lIns="91414" tIns="45707" rIns="91414" bIns="45707" rtlCol="0">
            <a:normAutofit/>
          </a:bodyPr>
          <a:lstStyle/>
          <a:p>
            <a:pPr algn="ctr" defTabSz="685596"/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668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97984" y="4063506"/>
            <a:ext cx="528562" cy="261610"/>
          </a:xfrm>
          <a:prstGeom prst="rect">
            <a:avLst/>
          </a:prstGeom>
          <a:noFill/>
        </p:spPr>
        <p:txBody>
          <a:bodyPr wrap="square" lIns="91414" tIns="45707" rIns="91414" bIns="45707" rtlCol="0">
            <a:normAutofit/>
          </a:bodyPr>
          <a:lstStyle/>
          <a:p>
            <a:pPr algn="ctr" defTabSz="685596"/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67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915842" y="3872289"/>
            <a:ext cx="528562" cy="261610"/>
          </a:xfrm>
          <a:prstGeom prst="rect">
            <a:avLst/>
          </a:prstGeom>
          <a:noFill/>
        </p:spPr>
        <p:txBody>
          <a:bodyPr wrap="square" lIns="91414" tIns="45707" rIns="91414" bIns="45707" rtlCol="0">
            <a:normAutofit/>
          </a:bodyPr>
          <a:lstStyle/>
          <a:p>
            <a:pPr algn="ctr" defTabSz="685596"/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59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915842" y="4063506"/>
            <a:ext cx="528562" cy="261610"/>
          </a:xfrm>
          <a:prstGeom prst="rect">
            <a:avLst/>
          </a:prstGeom>
          <a:noFill/>
        </p:spPr>
        <p:txBody>
          <a:bodyPr wrap="square" lIns="91414" tIns="45707" rIns="91414" bIns="45707" rtlCol="0">
            <a:normAutofit/>
          </a:bodyPr>
          <a:lstStyle/>
          <a:p>
            <a:pPr algn="ctr" defTabSz="685596"/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588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629509" y="3872289"/>
            <a:ext cx="528562" cy="261610"/>
          </a:xfrm>
          <a:prstGeom prst="rect">
            <a:avLst/>
          </a:prstGeom>
          <a:noFill/>
        </p:spPr>
        <p:txBody>
          <a:bodyPr wrap="square" lIns="91414" tIns="45707" rIns="91414" bIns="45707" rtlCol="0">
            <a:normAutofit/>
          </a:bodyPr>
          <a:lstStyle/>
          <a:p>
            <a:pPr algn="ctr" defTabSz="685596"/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496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629509" y="4063506"/>
            <a:ext cx="528562" cy="261610"/>
          </a:xfrm>
          <a:prstGeom prst="rect">
            <a:avLst/>
          </a:prstGeom>
          <a:noFill/>
        </p:spPr>
        <p:txBody>
          <a:bodyPr wrap="square" lIns="91414" tIns="45707" rIns="91414" bIns="45707" rtlCol="0">
            <a:normAutofit/>
          </a:bodyPr>
          <a:lstStyle/>
          <a:p>
            <a:pPr algn="ctr" defTabSz="685596"/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473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332163" y="3872289"/>
            <a:ext cx="528562" cy="261610"/>
          </a:xfrm>
          <a:prstGeom prst="rect">
            <a:avLst/>
          </a:prstGeom>
          <a:noFill/>
        </p:spPr>
        <p:txBody>
          <a:bodyPr wrap="square" lIns="91414" tIns="45707" rIns="91414" bIns="45707" rtlCol="0">
            <a:normAutofit/>
          </a:bodyPr>
          <a:lstStyle/>
          <a:p>
            <a:pPr algn="ctr" defTabSz="685596"/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400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332163" y="4063506"/>
            <a:ext cx="528562" cy="261610"/>
          </a:xfrm>
          <a:prstGeom prst="rect">
            <a:avLst/>
          </a:prstGeom>
          <a:noFill/>
        </p:spPr>
        <p:txBody>
          <a:bodyPr wrap="square" lIns="91414" tIns="45707" rIns="91414" bIns="45707" rtlCol="0">
            <a:normAutofit/>
          </a:bodyPr>
          <a:lstStyle/>
          <a:p>
            <a:pPr algn="ctr" defTabSz="685596"/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352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039497" y="3872289"/>
            <a:ext cx="528562" cy="261610"/>
          </a:xfrm>
          <a:prstGeom prst="rect">
            <a:avLst/>
          </a:prstGeom>
          <a:noFill/>
        </p:spPr>
        <p:txBody>
          <a:bodyPr wrap="square" lIns="91414" tIns="45707" rIns="91414" bIns="45707" rtlCol="0">
            <a:normAutofit/>
          </a:bodyPr>
          <a:lstStyle/>
          <a:p>
            <a:pPr algn="ctr" defTabSz="685596"/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280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039497" y="4063506"/>
            <a:ext cx="528562" cy="261610"/>
          </a:xfrm>
          <a:prstGeom prst="rect">
            <a:avLst/>
          </a:prstGeom>
          <a:noFill/>
        </p:spPr>
        <p:txBody>
          <a:bodyPr wrap="square" lIns="91414" tIns="45707" rIns="91414" bIns="45707" rtlCol="0">
            <a:normAutofit/>
          </a:bodyPr>
          <a:lstStyle/>
          <a:p>
            <a:pPr algn="ctr" defTabSz="685596"/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237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750080" y="3872289"/>
            <a:ext cx="528562" cy="261610"/>
          </a:xfrm>
          <a:prstGeom prst="rect">
            <a:avLst/>
          </a:prstGeom>
          <a:noFill/>
        </p:spPr>
        <p:txBody>
          <a:bodyPr wrap="square" lIns="91414" tIns="45707" rIns="91414" bIns="45707" rtlCol="0">
            <a:normAutofit/>
          </a:bodyPr>
          <a:lstStyle/>
          <a:p>
            <a:pPr algn="ctr" defTabSz="685596"/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172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750080" y="4063506"/>
            <a:ext cx="528562" cy="261610"/>
          </a:xfrm>
          <a:prstGeom prst="rect">
            <a:avLst/>
          </a:prstGeom>
          <a:noFill/>
        </p:spPr>
        <p:txBody>
          <a:bodyPr wrap="square" lIns="91414" tIns="45707" rIns="91414" bIns="45707" rtlCol="0">
            <a:normAutofit/>
          </a:bodyPr>
          <a:lstStyle/>
          <a:p>
            <a:pPr algn="ctr" defTabSz="685596"/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123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462574" y="3872289"/>
            <a:ext cx="528562" cy="261610"/>
          </a:xfrm>
          <a:prstGeom prst="rect">
            <a:avLst/>
          </a:prstGeom>
          <a:noFill/>
        </p:spPr>
        <p:txBody>
          <a:bodyPr wrap="square" lIns="91414" tIns="45707" rIns="91414" bIns="45707" rtlCol="0">
            <a:normAutofit/>
          </a:bodyPr>
          <a:lstStyle/>
          <a:p>
            <a:pPr algn="ctr" defTabSz="685596"/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072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462574" y="4063506"/>
            <a:ext cx="528562" cy="261610"/>
          </a:xfrm>
          <a:prstGeom prst="rect">
            <a:avLst/>
          </a:prstGeom>
          <a:noFill/>
        </p:spPr>
        <p:txBody>
          <a:bodyPr wrap="square" lIns="91414" tIns="45707" rIns="91414" bIns="45707" rtlCol="0">
            <a:normAutofit/>
          </a:bodyPr>
          <a:lstStyle/>
          <a:p>
            <a:pPr algn="ctr" defTabSz="685596"/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010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166527" y="3872289"/>
            <a:ext cx="528562" cy="261610"/>
          </a:xfrm>
          <a:prstGeom prst="rect">
            <a:avLst/>
          </a:prstGeom>
          <a:noFill/>
        </p:spPr>
        <p:txBody>
          <a:bodyPr wrap="square" lIns="91414" tIns="45707" rIns="91414" bIns="45707" rtlCol="0">
            <a:normAutofit/>
          </a:bodyPr>
          <a:lstStyle/>
          <a:p>
            <a:pPr algn="ctr" defTabSz="685596"/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982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166527" y="4063506"/>
            <a:ext cx="528562" cy="261610"/>
          </a:xfrm>
          <a:prstGeom prst="rect">
            <a:avLst/>
          </a:prstGeom>
          <a:noFill/>
        </p:spPr>
        <p:txBody>
          <a:bodyPr wrap="square" lIns="91414" tIns="45707" rIns="91414" bIns="45707" rtlCol="0">
            <a:normAutofit/>
          </a:bodyPr>
          <a:lstStyle/>
          <a:p>
            <a:pPr algn="ctr" defTabSz="685596"/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914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865863" y="3872289"/>
            <a:ext cx="528562" cy="261610"/>
          </a:xfrm>
          <a:prstGeom prst="rect">
            <a:avLst/>
          </a:prstGeom>
          <a:noFill/>
        </p:spPr>
        <p:txBody>
          <a:bodyPr wrap="square" lIns="91414" tIns="45707" rIns="91414" bIns="45707" rtlCol="0">
            <a:normAutofit/>
          </a:bodyPr>
          <a:lstStyle/>
          <a:p>
            <a:pPr algn="ctr" defTabSz="685596"/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562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865863" y="4063506"/>
            <a:ext cx="528562" cy="261610"/>
          </a:xfrm>
          <a:prstGeom prst="rect">
            <a:avLst/>
          </a:prstGeom>
          <a:noFill/>
        </p:spPr>
        <p:txBody>
          <a:bodyPr wrap="square" lIns="91414" tIns="45707" rIns="91414" bIns="45707" rtlCol="0">
            <a:normAutofit/>
          </a:bodyPr>
          <a:lstStyle/>
          <a:p>
            <a:pPr algn="ctr" defTabSz="685596"/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543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586165" y="3872289"/>
            <a:ext cx="528562" cy="261610"/>
          </a:xfrm>
          <a:prstGeom prst="rect">
            <a:avLst/>
          </a:prstGeom>
          <a:noFill/>
        </p:spPr>
        <p:txBody>
          <a:bodyPr wrap="square" lIns="91414" tIns="45707" rIns="91414" bIns="45707" rtlCol="0">
            <a:normAutofit/>
          </a:bodyPr>
          <a:lstStyle/>
          <a:p>
            <a:pPr algn="ctr" defTabSz="685596"/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24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586165" y="4063506"/>
            <a:ext cx="528562" cy="261610"/>
          </a:xfrm>
          <a:prstGeom prst="rect">
            <a:avLst/>
          </a:prstGeom>
          <a:noFill/>
        </p:spPr>
        <p:txBody>
          <a:bodyPr wrap="square" lIns="91414" tIns="45707" rIns="91414" bIns="45707" rtlCol="0">
            <a:normAutofit/>
          </a:bodyPr>
          <a:lstStyle/>
          <a:p>
            <a:pPr algn="ctr" defTabSz="685596"/>
            <a:r>
              <a:rPr lang="en-GB" sz="11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07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5725743" y="2499361"/>
            <a:ext cx="2223120" cy="776714"/>
          </a:xfrm>
          <a:prstGeom prst="roundRect">
            <a:avLst/>
          </a:prstGeom>
          <a:solidFill>
            <a:srgbClr val="FFFFF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7" rIns="91414" bIns="45707" rtlCol="0" anchor="ctr">
            <a:normAutofit fontScale="92500" lnSpcReduction="10000"/>
          </a:bodyPr>
          <a:lstStyle/>
          <a:p>
            <a:pPr algn="ctr" defTabSz="685596"/>
            <a:r>
              <a:rPr lang="en-GB" sz="12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R=0.87</a:t>
            </a:r>
          </a:p>
          <a:p>
            <a:pPr algn="ctr" defTabSz="685596"/>
            <a:r>
              <a:rPr lang="en-GB" sz="12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5% CI (0.78 ; 0.97)</a:t>
            </a:r>
          </a:p>
          <a:p>
            <a:pPr algn="ctr" defTabSz="685596"/>
            <a:r>
              <a:rPr lang="en-GB" sz="12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&lt;0.001 for non-inferiority</a:t>
            </a:r>
          </a:p>
          <a:p>
            <a:pPr algn="ctr" defTabSz="685596"/>
            <a:r>
              <a:rPr lang="en-GB" sz="12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=0.01 for superiority</a:t>
            </a:r>
          </a:p>
        </p:txBody>
      </p:sp>
      <p:sp>
        <p:nvSpPr>
          <p:cNvPr id="36" name="Rectangle 35"/>
          <p:cNvSpPr>
            <a:spLocks noChangeArrowheads="1"/>
          </p:cNvSpPr>
          <p:nvPr/>
        </p:nvSpPr>
        <p:spPr bwMode="auto">
          <a:xfrm>
            <a:off x="230664" y="4111398"/>
            <a:ext cx="8770937" cy="854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4" tIns="45707" rIns="91414" bIns="45707" anchor="b" anchorCtr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Font typeface="Verdana" pitchFamily="34" charset="0"/>
              <a:buChar char="•"/>
              <a:defRPr>
                <a:solidFill>
                  <a:schemeClr val="accent2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accent2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E64A0E"/>
              </a:buClr>
              <a:buFont typeface="Verdana" pitchFamily="34" charset="0"/>
              <a:buChar char="•"/>
              <a:defRPr sz="1400">
                <a:solidFill>
                  <a:schemeClr val="accent2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2786F"/>
              </a:buClr>
              <a:buFont typeface="Verdana" pitchFamily="34" charset="0"/>
              <a:buChar char="•"/>
              <a:defRPr sz="1200">
                <a:solidFill>
                  <a:schemeClr val="accent2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defTabSz="685596">
              <a:spcBef>
                <a:spcPts val="0"/>
              </a:spcBef>
              <a:buClr>
                <a:srgbClr val="009FDA"/>
              </a:buClr>
              <a:buFont typeface="Verdana" pitchFamily="34" charset="0"/>
              <a:buNone/>
            </a:pPr>
            <a:endParaRPr lang="en-GB" altLang="en-US" sz="800" dirty="0">
              <a:solidFill>
                <a:srgbClr val="82786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596">
              <a:spcBef>
                <a:spcPts val="0"/>
              </a:spcBef>
              <a:buClr>
                <a:srgbClr val="009FDA"/>
              </a:buClr>
              <a:buFont typeface="Verdana" pitchFamily="34" charset="0"/>
              <a:buNone/>
            </a:pPr>
            <a:r>
              <a:rPr lang="en-GB" sz="800" dirty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primary composite outcome in the time-to-event analysis was the first occurrence of death from cardiovascular causes, non-fatal myocardial infarction, or non-fatal stroke. The cumulative incidences were estimated with the use of the Kaplan–Meier method, and the hazard ratios with the use of the Cox proportional-hazard regression model. The data analyses are truncated at 54 months, because less than 10% of the patients had an observation time beyond 54 months. </a:t>
            </a:r>
            <a:br>
              <a:rPr lang="en-GB" sz="800" dirty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800" dirty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: confidence interval; CV: cardiovascular; HR: hazard ratio.</a:t>
            </a:r>
          </a:p>
          <a:p>
            <a:pPr defTabSz="685596">
              <a:spcBef>
                <a:spcPts val="0"/>
              </a:spcBef>
              <a:buClr>
                <a:srgbClr val="009FDA"/>
              </a:buClr>
              <a:buFont typeface="Verdana" pitchFamily="34" charset="0"/>
              <a:buNone/>
            </a:pPr>
            <a:r>
              <a:rPr lang="en-GB" altLang="en-US" sz="800" dirty="0" err="1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so</a:t>
            </a:r>
            <a:r>
              <a:rPr lang="en-GB" altLang="en-US" sz="800" dirty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P et al. </a:t>
            </a:r>
            <a:r>
              <a:rPr lang="en-GB" altLang="en-US" sz="800" i="1" dirty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 </a:t>
            </a:r>
            <a:r>
              <a:rPr lang="en-GB" altLang="en-US" sz="800" i="1" dirty="0" err="1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gl</a:t>
            </a:r>
            <a:r>
              <a:rPr lang="en-GB" altLang="en-US" sz="800" i="1" dirty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J Med</a:t>
            </a:r>
            <a:r>
              <a:rPr lang="en-GB" altLang="en-US" sz="800" dirty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016. DOI: 10.1056/NEJMoa1603827.</a:t>
            </a:r>
            <a:endParaRPr lang="en-GB" sz="800" dirty="0">
              <a:solidFill>
                <a:srgbClr val="82786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38386007"/>
              </p:ext>
            </p:extLst>
          </p:nvPr>
        </p:nvGraphicFramePr>
        <p:xfrm>
          <a:off x="1002623" y="1153424"/>
          <a:ext cx="7318375" cy="24368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05" name="Prism 6" r:id="rId6" imgW="10467705" imgH="3672851" progId="Prism6.Document">
                  <p:embed/>
                </p:oleObj>
              </mc:Choice>
              <mc:Fallback>
                <p:oleObj name="Prism 6" r:id="rId6" imgW="10467705" imgH="3672851" progId="Prism6.Document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02623" y="1153424"/>
                        <a:ext cx="7318375" cy="24368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1108750" y="1281436"/>
            <a:ext cx="6894209" cy="2270786"/>
            <a:chOff x="1108737" y="1281434"/>
            <a:chExt cx="6894209" cy="2270786"/>
          </a:xfrm>
        </p:grpSpPr>
        <p:sp>
          <p:nvSpPr>
            <p:cNvPr id="37" name="TextBox 36"/>
            <p:cNvSpPr txBox="1"/>
            <p:nvPr/>
          </p:nvSpPr>
          <p:spPr>
            <a:xfrm>
              <a:off x="1360115" y="3367554"/>
              <a:ext cx="189732" cy="1846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b" anchorCtr="0">
              <a:spAutoFit/>
            </a:bodyPr>
            <a:lstStyle/>
            <a:p>
              <a:pPr algn="ctr" defTabSz="685596"/>
              <a:r>
                <a:rPr lang="en-GB" sz="12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2066865" y="3367554"/>
              <a:ext cx="189732" cy="1846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b" anchorCtr="0">
              <a:spAutoFit/>
            </a:bodyPr>
            <a:lstStyle/>
            <a:p>
              <a:pPr algn="ctr" defTabSz="685596"/>
              <a:r>
                <a:rPr lang="en-GB" sz="12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2705017" y="3367554"/>
              <a:ext cx="348286" cy="1846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b" anchorCtr="0">
              <a:spAutoFit/>
            </a:bodyPr>
            <a:lstStyle/>
            <a:p>
              <a:pPr algn="ctr" defTabSz="685596"/>
              <a:r>
                <a:rPr lang="en-GB" sz="12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2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3403877" y="3367554"/>
              <a:ext cx="393240" cy="1846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b" anchorCtr="0">
              <a:spAutoFit/>
            </a:bodyPr>
            <a:lstStyle/>
            <a:p>
              <a:pPr algn="ctr" defTabSz="685596"/>
              <a:r>
                <a:rPr lang="en-GB" sz="12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8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4131464" y="3367554"/>
              <a:ext cx="317328" cy="1846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b" anchorCtr="0">
              <a:spAutoFit/>
            </a:bodyPr>
            <a:lstStyle/>
            <a:p>
              <a:pPr algn="ctr" defTabSz="685596"/>
              <a:r>
                <a:rPr lang="en-GB" sz="12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4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4789963" y="3367554"/>
              <a:ext cx="433020" cy="1846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b" anchorCtr="0">
              <a:spAutoFit/>
            </a:bodyPr>
            <a:lstStyle/>
            <a:p>
              <a:pPr algn="ctr" defTabSz="685596"/>
              <a:r>
                <a:rPr lang="en-GB" sz="12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0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5617266" y="3367554"/>
              <a:ext cx="198945" cy="1846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b" anchorCtr="0">
              <a:spAutoFit/>
            </a:bodyPr>
            <a:lstStyle/>
            <a:p>
              <a:pPr algn="ctr" defTabSz="685596"/>
              <a:r>
                <a:rPr lang="en-GB" sz="12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6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6206241" y="3367554"/>
              <a:ext cx="424336" cy="1846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b" anchorCtr="0">
              <a:spAutoFit/>
            </a:bodyPr>
            <a:lstStyle/>
            <a:p>
              <a:pPr algn="ctr" defTabSz="685596"/>
              <a:r>
                <a:rPr lang="en-GB" sz="12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2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6966613" y="3367554"/>
              <a:ext cx="325364" cy="1846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b" anchorCtr="0">
              <a:spAutoFit/>
            </a:bodyPr>
            <a:lstStyle/>
            <a:p>
              <a:pPr algn="ctr" defTabSz="685596"/>
              <a:r>
                <a:rPr lang="en-GB" sz="12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8</a:t>
              </a: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7693283" y="3367554"/>
              <a:ext cx="309663" cy="1846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b" anchorCtr="0">
              <a:spAutoFit/>
            </a:bodyPr>
            <a:lstStyle/>
            <a:p>
              <a:pPr algn="ctr" defTabSz="685596"/>
              <a:r>
                <a:rPr lang="en-GB" sz="12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4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1220248" y="3210664"/>
              <a:ext cx="189732" cy="1846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b" anchorCtr="0">
              <a:spAutoFit/>
            </a:bodyPr>
            <a:lstStyle/>
            <a:p>
              <a:pPr algn="r" defTabSz="685596"/>
              <a:r>
                <a:rPr lang="en-GB" sz="12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</a:t>
              </a: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1220248" y="2721599"/>
              <a:ext cx="189732" cy="1846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b" anchorCtr="0">
              <a:spAutoFit/>
            </a:bodyPr>
            <a:lstStyle/>
            <a:p>
              <a:pPr algn="r" defTabSz="685596"/>
              <a:r>
                <a:rPr lang="en-GB" sz="12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1197982" y="2232747"/>
              <a:ext cx="211998" cy="1846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b" anchorCtr="0">
              <a:spAutoFit/>
            </a:bodyPr>
            <a:lstStyle/>
            <a:p>
              <a:pPr algn="r" defTabSz="685596"/>
              <a:r>
                <a:rPr lang="en-GB" sz="12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0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1108737" y="1751633"/>
              <a:ext cx="301243" cy="1846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b" anchorCtr="0">
              <a:spAutoFit/>
            </a:bodyPr>
            <a:lstStyle/>
            <a:p>
              <a:pPr algn="r" defTabSz="685596"/>
              <a:r>
                <a:rPr lang="en-GB" sz="12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5</a:t>
              </a: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1197982" y="1281434"/>
              <a:ext cx="211998" cy="1846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rtlCol="0" anchor="b" anchorCtr="0">
              <a:spAutoFit/>
            </a:bodyPr>
            <a:lstStyle/>
            <a:p>
              <a:pPr algn="r" defTabSz="685596"/>
              <a:r>
                <a:rPr lang="en-GB" sz="1200" dirty="0">
                  <a:solidFill>
                    <a:srgbClr val="00196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</a:t>
              </a:r>
            </a:p>
          </p:txBody>
        </p:sp>
      </p:grpSp>
      <p:sp>
        <p:nvSpPr>
          <p:cNvPr id="52" name="Title 2"/>
          <p:cNvSpPr>
            <a:spLocks noGrp="1"/>
          </p:cNvSpPr>
          <p:nvPr>
            <p:ph type="title"/>
          </p:nvPr>
        </p:nvSpPr>
        <p:spPr>
          <a:xfrm>
            <a:off x="317502" y="515939"/>
            <a:ext cx="8509000" cy="390525"/>
          </a:xfrm>
        </p:spPr>
        <p:txBody>
          <a:bodyPr/>
          <a:lstStyle/>
          <a:p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ADER </a:t>
            </a:r>
            <a:r>
              <a:rPr lang="en-GB" sz="1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GB" sz="18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raglutide</a:t>
            </a:r>
            <a:r>
              <a:rPr lang="en-GB" sz="1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– Significant </a:t>
            </a:r>
            <a:r>
              <a:rPr lang="en-GB" sz="18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schil</a:t>
            </a:r>
            <a:r>
              <a:rPr lang="en-GB" sz="1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p MACE</a:t>
            </a:r>
            <a:endParaRPr lang="en-US" altLang="en-US" sz="1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603634" y="951113"/>
            <a:ext cx="651410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altLang="en-US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jd tot </a:t>
            </a:r>
            <a:r>
              <a:rPr lang="nl-NL" sz="1000" dirty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t eerste optreden van cardiovasculaire sterfte, niet-fatale myocardinfarct of niet-fatale beroerte 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630940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Tijdelijke aanduiding voor inhoud 3" descr="nejmoa1607141_f1.jpe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792" r="-40792"/>
          <a:stretch>
            <a:fillRect/>
          </a:stretch>
        </p:blipFill>
        <p:spPr>
          <a:xfrm>
            <a:off x="-396552" y="920449"/>
            <a:ext cx="9638410" cy="3347564"/>
          </a:xfr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1800" dirty="0" smtClean="0">
                <a:latin typeface="Calibri"/>
                <a:cs typeface="Calibri"/>
              </a:rPr>
              <a:t>Sustain-6 (</a:t>
            </a:r>
            <a:r>
              <a:rPr lang="nl-NL" sz="1800" dirty="0" err="1" smtClean="0">
                <a:latin typeface="Calibri"/>
                <a:cs typeface="Calibri"/>
              </a:rPr>
              <a:t>semaglutide</a:t>
            </a:r>
            <a:r>
              <a:rPr lang="nl-NL" sz="1800" dirty="0" smtClean="0">
                <a:latin typeface="Calibri"/>
                <a:cs typeface="Calibri"/>
              </a:rPr>
              <a:t>)</a:t>
            </a:r>
            <a:endParaRPr lang="nl-NL" sz="1800" dirty="0">
              <a:latin typeface="Calibri"/>
              <a:cs typeface="Calibri"/>
            </a:endParaRPr>
          </a:p>
        </p:txBody>
      </p:sp>
      <p:sp>
        <p:nvSpPr>
          <p:cNvPr id="6" name="Tekstvak 5"/>
          <p:cNvSpPr txBox="1"/>
          <p:nvPr/>
        </p:nvSpPr>
        <p:spPr>
          <a:xfrm>
            <a:off x="1475656" y="4587974"/>
            <a:ext cx="63367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nl-NL" sz="1000" dirty="0">
                <a:latin typeface="Calibri"/>
                <a:cs typeface="Calibri"/>
              </a:rPr>
              <a:t>Steven P. </a:t>
            </a:r>
            <a:r>
              <a:rPr lang="nl-NL" sz="1000" dirty="0" err="1" smtClean="0">
                <a:latin typeface="Calibri"/>
                <a:cs typeface="Calibri"/>
              </a:rPr>
              <a:t>Marso</a:t>
            </a:r>
            <a:r>
              <a:rPr lang="nl-NL" sz="1000" dirty="0">
                <a:latin typeface="Calibri"/>
                <a:cs typeface="Calibri"/>
              </a:rPr>
              <a:t> </a:t>
            </a:r>
            <a:r>
              <a:rPr lang="nl-NL" sz="1000" dirty="0" smtClean="0">
                <a:latin typeface="Calibri"/>
                <a:cs typeface="Calibri"/>
              </a:rPr>
              <a:t>et al N </a:t>
            </a:r>
            <a:r>
              <a:rPr lang="nl-NL" sz="1000" dirty="0" err="1">
                <a:latin typeface="Calibri"/>
                <a:cs typeface="Calibri"/>
              </a:rPr>
              <a:t>Engl</a:t>
            </a:r>
            <a:r>
              <a:rPr lang="nl-NL" sz="1000" dirty="0">
                <a:latin typeface="Calibri"/>
                <a:cs typeface="Calibri"/>
              </a:rPr>
              <a:t> J </a:t>
            </a:r>
            <a:r>
              <a:rPr lang="nl-NL" sz="1000" dirty="0" err="1">
                <a:latin typeface="Calibri"/>
                <a:cs typeface="Calibri"/>
              </a:rPr>
              <a:t>Med</a:t>
            </a:r>
            <a:r>
              <a:rPr lang="nl-NL" sz="1000" dirty="0">
                <a:latin typeface="Calibri"/>
                <a:cs typeface="Calibri"/>
              </a:rPr>
              <a:t> 2016; 375:1834-1844</a:t>
            </a:r>
            <a:r>
              <a:rPr lang="nl-NL" sz="1000" dirty="0">
                <a:latin typeface="Calibri"/>
                <a:cs typeface="Calibri"/>
                <a:hlinkClick r:id="rId3"/>
              </a:rPr>
              <a:t>November 10, 2016</a:t>
            </a:r>
            <a:r>
              <a:rPr lang="nl-NL" sz="1000" dirty="0">
                <a:latin typeface="Calibri"/>
                <a:cs typeface="Calibri"/>
              </a:rPr>
              <a:t>DOI: 10.1056/NEJMoa1607141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61126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6800" y="579670"/>
            <a:ext cx="7113467" cy="327164"/>
          </a:xfrm>
        </p:spPr>
        <p:txBody>
          <a:bodyPr/>
          <a:lstStyle/>
          <a:p>
            <a:r>
              <a:rPr lang="en-GB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Discussie</a:t>
            </a:r>
            <a:r>
              <a:rPr lang="en-GB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stellingen</a:t>
            </a:r>
            <a:r>
              <a:rPr lang="en-GB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en casus</a:t>
            </a:r>
            <a:endParaRPr lang="en-GB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AutoShape 2" descr="Image result for blood droplet clipar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185"/>
            <a:endParaRPr lang="en-GB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AutoShape 4" descr="Image result for blood droplet clipart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185"/>
            <a:endParaRPr lang="en-GB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AutoShape 6" descr="Image result for blood droplet clipart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185"/>
            <a:endParaRPr lang="en-GB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1795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6800" y="579670"/>
            <a:ext cx="7113467" cy="327164"/>
          </a:xfrm>
        </p:spPr>
        <p:txBody>
          <a:bodyPr/>
          <a:lstStyle/>
          <a:p>
            <a:r>
              <a:rPr lang="nl-NL" sz="1800" dirty="0">
                <a:latin typeface="Arial" panose="020B0604020202020204" pitchFamily="34" charset="0"/>
                <a:cs typeface="Arial" panose="020B0604020202020204" pitchFamily="34" charset="0"/>
              </a:rPr>
              <a:t>Bij DM2 helpt intensieve </a:t>
            </a:r>
            <a:r>
              <a:rPr lang="nl-NL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leefstijlinterventie </a:t>
            </a:r>
            <a:r>
              <a:rPr lang="nl-NL" sz="1800" dirty="0">
                <a:latin typeface="Arial" panose="020B0604020202020204" pitchFamily="34" charset="0"/>
                <a:cs typeface="Arial" panose="020B0604020202020204" pitchFamily="34" charset="0"/>
              </a:rPr>
              <a:t>om het risico op hart- en vaatziekten te verlagen</a:t>
            </a:r>
            <a:endParaRPr lang="en-GB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AutoShape 2" descr="Image result for blood droplet clipar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185"/>
            <a:endParaRPr lang="en-GB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AutoShape 4" descr="Image result for blood droplet clipart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185"/>
            <a:endParaRPr lang="en-GB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AutoShape 6" descr="Image result for blood droplet clipart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185"/>
            <a:endParaRPr lang="en-GB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hthoek 1"/>
          <p:cNvSpPr/>
          <p:nvPr/>
        </p:nvSpPr>
        <p:spPr>
          <a:xfrm>
            <a:off x="827584" y="1707654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buFont typeface="+mj-lt"/>
              <a:buAutoNum type="alphaLcPeriod"/>
            </a:pPr>
            <a:r>
              <a:rPr lang="nl-NL" dirty="0" smtClean="0">
                <a:latin typeface="Calibri"/>
                <a:cs typeface="Calibri"/>
              </a:rPr>
              <a:t>Juist</a:t>
            </a:r>
            <a:endParaRPr lang="nl-NL" dirty="0">
              <a:latin typeface="Calibri"/>
              <a:cs typeface="Calibri"/>
            </a:endParaRPr>
          </a:p>
          <a:p>
            <a:pPr marL="342900" indent="-342900">
              <a:buFont typeface="+mj-lt"/>
              <a:buAutoNum type="alphaLcPeriod"/>
            </a:pPr>
            <a:r>
              <a:rPr lang="nl-NL" dirty="0" smtClean="0">
                <a:latin typeface="Calibri"/>
                <a:cs typeface="Calibri"/>
              </a:rPr>
              <a:t>Onjuist</a:t>
            </a:r>
          </a:p>
          <a:p>
            <a:pPr marL="342900" indent="-342900">
              <a:buFont typeface="+mj-lt"/>
              <a:buAutoNum type="alphaLcPeriod"/>
            </a:pPr>
            <a:r>
              <a:rPr lang="nl-NL" dirty="0" smtClean="0">
                <a:latin typeface="Calibri"/>
                <a:cs typeface="Calibri"/>
              </a:rPr>
              <a:t>Is </a:t>
            </a:r>
            <a:r>
              <a:rPr lang="nl-NL" dirty="0">
                <a:latin typeface="Calibri"/>
                <a:cs typeface="Calibri"/>
              </a:rPr>
              <a:t>nooit onderzocht</a:t>
            </a:r>
          </a:p>
        </p:txBody>
      </p:sp>
    </p:spTree>
    <p:extLst>
      <p:ext uri="{BB962C8B-B14F-4D97-AF65-F5344CB8AC3E}">
        <p14:creationId xmlns:p14="http://schemas.microsoft.com/office/powerpoint/2010/main" val="438301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6800" y="579670"/>
            <a:ext cx="7113467" cy="327164"/>
          </a:xfrm>
        </p:spPr>
        <p:txBody>
          <a:bodyPr/>
          <a:lstStyle/>
          <a:p>
            <a:r>
              <a:rPr lang="nl-NL" sz="1800" dirty="0">
                <a:latin typeface="Arial" panose="020B0604020202020204" pitchFamily="34" charset="0"/>
                <a:cs typeface="Arial" panose="020B0604020202020204" pitchFamily="34" charset="0"/>
              </a:rPr>
              <a:t>Moeten we nou heel blij worden van insuline bij DM2 en helpt het om het risico op hart- en vaatziekten te verlagen</a:t>
            </a:r>
            <a:endParaRPr lang="en-GB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AutoShape 2" descr="Image result for blood droplet clipar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185"/>
            <a:endParaRPr lang="en-GB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AutoShape 4" descr="Image result for blood droplet clipart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185"/>
            <a:endParaRPr lang="en-GB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AutoShape 6" descr="Image result for blood droplet clipart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3185"/>
            <a:endParaRPr lang="en-GB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hthoek 1"/>
          <p:cNvSpPr/>
          <p:nvPr/>
        </p:nvSpPr>
        <p:spPr>
          <a:xfrm>
            <a:off x="827584" y="1707654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57175" indent="-257175">
              <a:buAutoNum type="alphaLcPeriod"/>
            </a:pPr>
            <a:r>
              <a:rPr lang="nl-NL" dirty="0">
                <a:latin typeface="Calibri"/>
                <a:cs typeface="Calibri"/>
              </a:rPr>
              <a:t>Ja</a:t>
            </a:r>
          </a:p>
          <a:p>
            <a:pPr marL="257175" indent="-257175">
              <a:buAutoNum type="alphaLcPeriod"/>
            </a:pPr>
            <a:r>
              <a:rPr lang="nl-NL" dirty="0">
                <a:latin typeface="Calibri"/>
                <a:cs typeface="Calibri"/>
              </a:rPr>
              <a:t>Nee</a:t>
            </a:r>
          </a:p>
          <a:p>
            <a:pPr marL="257175" indent="-257175">
              <a:buAutoNum type="alphaLcPeriod"/>
            </a:pPr>
            <a:r>
              <a:rPr lang="nl-NL" dirty="0">
                <a:latin typeface="Calibri"/>
                <a:cs typeface="Calibri"/>
              </a:rPr>
              <a:t>Weten we (nog) niet</a:t>
            </a:r>
          </a:p>
        </p:txBody>
      </p:sp>
    </p:spTree>
    <p:extLst>
      <p:ext uri="{BB962C8B-B14F-4D97-AF65-F5344CB8AC3E}">
        <p14:creationId xmlns:p14="http://schemas.microsoft.com/office/powerpoint/2010/main" val="1993924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>
              <a:buClr>
                <a:schemeClr val="tx1"/>
              </a:buClr>
            </a:pPr>
            <a:r>
              <a:rPr lang="nl-NL" dirty="0" smtClean="0">
                <a:solidFill>
                  <a:srgbClr val="000000"/>
                </a:solidFill>
                <a:latin typeface="Calibri"/>
                <a:cs typeface="Calibri"/>
              </a:rPr>
              <a:t>Het </a:t>
            </a:r>
            <a:r>
              <a:rPr lang="nl-NL" dirty="0">
                <a:solidFill>
                  <a:srgbClr val="000000"/>
                </a:solidFill>
                <a:latin typeface="Calibri"/>
                <a:cs typeface="Calibri"/>
              </a:rPr>
              <a:t>zijn korte trials; veiligheid bij langer gebruik?</a:t>
            </a:r>
          </a:p>
          <a:p>
            <a:pPr lvl="0">
              <a:buClr>
                <a:schemeClr val="tx1"/>
              </a:buClr>
            </a:pPr>
            <a:r>
              <a:rPr lang="nl-NL" dirty="0">
                <a:solidFill>
                  <a:srgbClr val="000000"/>
                </a:solidFill>
                <a:latin typeface="Calibri"/>
                <a:cs typeface="Calibri"/>
              </a:rPr>
              <a:t>Onderlinge verschillen op CV eindpunten?</a:t>
            </a:r>
          </a:p>
          <a:p>
            <a:pPr lvl="0">
              <a:buClr>
                <a:schemeClr val="tx1"/>
              </a:buClr>
            </a:pPr>
            <a:r>
              <a:rPr lang="nl-NL" dirty="0">
                <a:solidFill>
                  <a:srgbClr val="000000"/>
                </a:solidFill>
                <a:latin typeface="Calibri"/>
                <a:cs typeface="Calibri"/>
              </a:rPr>
              <a:t>CV uitkomsten ook van toepassing op patiënten met lager CV risico (=de populatie zoals deze in de huisartsenpraktijk wordt gezien)?</a:t>
            </a:r>
          </a:p>
          <a:p>
            <a:pPr lvl="0">
              <a:buClr>
                <a:schemeClr val="tx1"/>
              </a:buClr>
            </a:pPr>
            <a:r>
              <a:rPr lang="nl-NL" dirty="0">
                <a:solidFill>
                  <a:srgbClr val="000000"/>
                </a:solidFill>
                <a:latin typeface="Calibri"/>
                <a:cs typeface="Calibri"/>
              </a:rPr>
              <a:t>Veilig op veel aspecten behalve lichte toename hartfalen (</a:t>
            </a:r>
            <a:r>
              <a:rPr lang="nl-NL" dirty="0" err="1">
                <a:solidFill>
                  <a:srgbClr val="000000"/>
                </a:solidFill>
                <a:latin typeface="Calibri"/>
                <a:cs typeface="Calibri"/>
              </a:rPr>
              <a:t>saxa</a:t>
            </a:r>
            <a:r>
              <a:rPr lang="nl-NL" dirty="0">
                <a:solidFill>
                  <a:srgbClr val="000000"/>
                </a:solidFill>
                <a:latin typeface="Calibri"/>
                <a:cs typeface="Calibri"/>
              </a:rPr>
              <a:t>) </a:t>
            </a:r>
          </a:p>
          <a:p>
            <a:pPr lvl="0">
              <a:buClr>
                <a:schemeClr val="tx1"/>
              </a:buClr>
            </a:pPr>
            <a:r>
              <a:rPr lang="nl-NL" dirty="0">
                <a:solidFill>
                  <a:srgbClr val="000000"/>
                </a:solidFill>
                <a:latin typeface="Calibri"/>
                <a:cs typeface="Calibri"/>
              </a:rPr>
              <a:t>Invloed </a:t>
            </a:r>
            <a:r>
              <a:rPr lang="nl-NL" dirty="0" err="1">
                <a:solidFill>
                  <a:srgbClr val="000000"/>
                </a:solidFill>
                <a:latin typeface="Calibri"/>
                <a:cs typeface="Calibri"/>
              </a:rPr>
              <a:t>metforminegebruik</a:t>
            </a:r>
            <a:r>
              <a:rPr lang="nl-NL" dirty="0">
                <a:solidFill>
                  <a:srgbClr val="000000"/>
                </a:solidFill>
                <a:latin typeface="Calibri"/>
                <a:cs typeface="Calibri"/>
              </a:rPr>
              <a:t> op CV effecten?</a:t>
            </a:r>
          </a:p>
          <a:p>
            <a:pPr lvl="0">
              <a:buClr>
                <a:schemeClr val="tx1"/>
              </a:buClr>
            </a:pPr>
            <a:endParaRPr lang="nl-NL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8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r</a:t>
            </a:r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cussie</a:t>
            </a:r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PP-4</a:t>
            </a:r>
            <a:endParaRPr lang="en-GB" sz="1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687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nl-NL" dirty="0" smtClean="0">
                <a:latin typeface="Calibri"/>
                <a:cs typeface="Calibri"/>
              </a:rPr>
              <a:t>Verschillen </a:t>
            </a:r>
            <a:r>
              <a:rPr lang="nl-NL" dirty="0">
                <a:latin typeface="Calibri"/>
                <a:cs typeface="Calibri"/>
              </a:rPr>
              <a:t>in studie design/- populatie</a:t>
            </a:r>
          </a:p>
          <a:p>
            <a:pPr lvl="0"/>
            <a:r>
              <a:rPr lang="nl-NL" dirty="0">
                <a:latin typeface="Calibri"/>
                <a:cs typeface="Calibri"/>
              </a:rPr>
              <a:t>Belang voor de praktijk</a:t>
            </a:r>
          </a:p>
          <a:p>
            <a:pPr lvl="0"/>
            <a:r>
              <a:rPr lang="nl-NL" dirty="0">
                <a:latin typeface="Calibri"/>
                <a:cs typeface="Calibri"/>
              </a:rPr>
              <a:t>Effectiviteit op harde eindpunten (micro- en </a:t>
            </a:r>
            <a:r>
              <a:rPr lang="nl-NL" dirty="0" err="1">
                <a:latin typeface="Calibri"/>
                <a:cs typeface="Calibri"/>
              </a:rPr>
              <a:t>macrovasculaire</a:t>
            </a:r>
            <a:r>
              <a:rPr lang="nl-NL" dirty="0">
                <a:latin typeface="Calibri"/>
                <a:cs typeface="Calibri"/>
              </a:rPr>
              <a:t> complicaties en mortaliteit)?</a:t>
            </a:r>
          </a:p>
          <a:p>
            <a:pPr lvl="0"/>
            <a:r>
              <a:rPr lang="nl-NL" dirty="0">
                <a:latin typeface="Calibri"/>
                <a:cs typeface="Calibri"/>
              </a:rPr>
              <a:t>Kunnen we spreken van een klasse-effect van GLP-1?</a:t>
            </a:r>
          </a:p>
          <a:p>
            <a:pPr lvl="0"/>
            <a:r>
              <a:rPr lang="nl-NL" dirty="0">
                <a:latin typeface="Calibri"/>
                <a:cs typeface="Calibri"/>
              </a:rPr>
              <a:t>Is het gemeten gunstige resultaat het effect van de GLP-1, of van de intensievere verlaging van de bloedglucosespiegel? Hoe verhoudt dat effect zich tot dat van andere </a:t>
            </a:r>
            <a:r>
              <a:rPr lang="nl-NL" dirty="0" err="1">
                <a:latin typeface="Calibri"/>
                <a:cs typeface="Calibri"/>
              </a:rPr>
              <a:t>bloedglucoseverlagende</a:t>
            </a:r>
            <a:r>
              <a:rPr lang="nl-NL" dirty="0">
                <a:latin typeface="Calibri"/>
                <a:cs typeface="Calibri"/>
              </a:rPr>
              <a:t> middelen?</a:t>
            </a:r>
          </a:p>
          <a:p>
            <a:pPr lvl="0">
              <a:buClr>
                <a:schemeClr val="tx1"/>
              </a:buClr>
            </a:pPr>
            <a:endParaRPr lang="nl-NL" dirty="0">
              <a:solidFill>
                <a:srgbClr val="000000"/>
              </a:solidFill>
              <a:latin typeface="Calibri"/>
              <a:cs typeface="Calibri"/>
            </a:endParaRPr>
          </a:p>
          <a:p>
            <a:pPr marL="0" indent="0">
              <a:buNone/>
            </a:pP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8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r</a:t>
            </a:r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cussie</a:t>
            </a:r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GLP-1</a:t>
            </a:r>
            <a:endParaRPr lang="en-GB" sz="1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145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82080" y="1312223"/>
            <a:ext cx="8510400" cy="2955789"/>
          </a:xfrm>
        </p:spPr>
        <p:txBody>
          <a:bodyPr>
            <a:noAutofit/>
          </a:bodyPr>
          <a:lstStyle/>
          <a:p>
            <a:pPr>
              <a:buClr>
                <a:schemeClr val="tx1"/>
              </a:buClr>
            </a:pPr>
            <a:r>
              <a:rPr lang="nl-NL" dirty="0" smtClean="0">
                <a:latin typeface="Calibri"/>
                <a:cs typeface="Calibri"/>
              </a:rPr>
              <a:t>Verschillen </a:t>
            </a:r>
            <a:r>
              <a:rPr lang="nl-NL" dirty="0">
                <a:latin typeface="Calibri"/>
                <a:cs typeface="Calibri"/>
              </a:rPr>
              <a:t>in studie design/- populatie</a:t>
            </a:r>
          </a:p>
          <a:p>
            <a:pPr lvl="0"/>
            <a:r>
              <a:rPr lang="nl-NL" dirty="0">
                <a:latin typeface="Calibri"/>
                <a:cs typeface="Calibri"/>
              </a:rPr>
              <a:t>CV uitkomsten ook van toepassing op patiënten met lager CV risico (=de populatie zoals deze in de huisartsenpraktijk wordt gezien)?</a:t>
            </a:r>
          </a:p>
          <a:p>
            <a:pPr lvl="0"/>
            <a:r>
              <a:rPr lang="nl-NL" dirty="0">
                <a:latin typeface="Calibri"/>
                <a:cs typeface="Calibri"/>
              </a:rPr>
              <a:t>Kunnen we spreken van een klasse-effect van de SGLT2 remmers? </a:t>
            </a:r>
          </a:p>
          <a:p>
            <a:pPr lvl="0"/>
            <a:r>
              <a:rPr lang="nl-NL" dirty="0" smtClean="0">
                <a:latin typeface="Calibri"/>
                <a:cs typeface="Calibri"/>
              </a:rPr>
              <a:t>Wat </a:t>
            </a:r>
            <a:r>
              <a:rPr lang="nl-NL" dirty="0">
                <a:latin typeface="Calibri"/>
                <a:cs typeface="Calibri"/>
              </a:rPr>
              <a:t>behandel je primair met een SGLT-2-remmer?</a:t>
            </a:r>
          </a:p>
          <a:p>
            <a:pPr lvl="0"/>
            <a:r>
              <a:rPr lang="nl-NL" dirty="0">
                <a:latin typeface="Calibri"/>
                <a:cs typeface="Calibri"/>
              </a:rPr>
              <a:t>Amputaties en fracturen – onoverkomelijke problemen</a:t>
            </a:r>
            <a:r>
              <a:rPr lang="nl-NL" dirty="0" smtClean="0">
                <a:latin typeface="Calibri"/>
                <a:cs typeface="Calibri"/>
              </a:rPr>
              <a:t>?</a:t>
            </a:r>
          </a:p>
          <a:p>
            <a:r>
              <a:rPr lang="nl-NL" dirty="0">
                <a:latin typeface="Calibri"/>
                <a:cs typeface="Calibri"/>
              </a:rPr>
              <a:t>Welk mechanisme zit achter de cardiovasculaire bescherming bij T2DM</a:t>
            </a:r>
            <a:r>
              <a:rPr lang="nl-NL" dirty="0" smtClean="0">
                <a:latin typeface="Calibri"/>
                <a:cs typeface="Calibri"/>
              </a:rPr>
              <a:t>?</a:t>
            </a:r>
          </a:p>
          <a:p>
            <a:r>
              <a:rPr lang="nl-NL" dirty="0" smtClean="0">
                <a:latin typeface="Calibri"/>
                <a:cs typeface="Calibri"/>
              </a:rPr>
              <a:t>Voorgeschreven </a:t>
            </a:r>
            <a:r>
              <a:rPr lang="nl-NL" dirty="0">
                <a:latin typeface="Calibri"/>
                <a:cs typeface="Calibri"/>
              </a:rPr>
              <a:t>door </a:t>
            </a:r>
            <a:r>
              <a:rPr lang="nl-NL" dirty="0" smtClean="0">
                <a:latin typeface="Calibri"/>
                <a:cs typeface="Calibri"/>
              </a:rPr>
              <a:t>internist </a:t>
            </a:r>
            <a:r>
              <a:rPr lang="nl-NL" dirty="0">
                <a:latin typeface="Calibri"/>
                <a:cs typeface="Calibri"/>
              </a:rPr>
              <a:t>en huisarts of door de cardioloog, omdat de indicatie immers diabetes </a:t>
            </a:r>
            <a:r>
              <a:rPr lang="nl-NL" dirty="0" smtClean="0">
                <a:latin typeface="Calibri"/>
                <a:cs typeface="Calibri"/>
              </a:rPr>
              <a:t>is?</a:t>
            </a:r>
            <a:endParaRPr lang="nl-NL" dirty="0">
              <a:latin typeface="Calibri"/>
              <a:cs typeface="Calibri"/>
            </a:endParaRPr>
          </a:p>
          <a:p>
            <a:pPr lvl="0"/>
            <a:endParaRPr lang="nl-NL" dirty="0" smtClean="0">
              <a:latin typeface="Calibri"/>
              <a:cs typeface="Calibri"/>
            </a:endParaRPr>
          </a:p>
          <a:p>
            <a:pPr>
              <a:buClr>
                <a:schemeClr val="tx1"/>
              </a:buClr>
            </a:pPr>
            <a:endParaRPr lang="nl-NL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8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r</a:t>
            </a:r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cussie</a:t>
            </a:r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GLT-2 </a:t>
            </a:r>
            <a:endParaRPr lang="en-GB" sz="1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2202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>
                <a:schemeClr val="tx1"/>
              </a:buClr>
            </a:pPr>
            <a:r>
              <a:rPr lang="nl-NL" dirty="0" smtClean="0">
                <a:solidFill>
                  <a:srgbClr val="000000"/>
                </a:solidFill>
                <a:latin typeface="Calibri"/>
                <a:cs typeface="Calibri"/>
              </a:rPr>
              <a:t>CV </a:t>
            </a:r>
            <a:r>
              <a:rPr lang="nl-NL" dirty="0">
                <a:solidFill>
                  <a:srgbClr val="000000"/>
                </a:solidFill>
                <a:latin typeface="Calibri"/>
                <a:cs typeface="Calibri"/>
              </a:rPr>
              <a:t>uitkomsten ook van toepassing op patiënten met lager CV risico (=de populatie zoals deze in de huisartsenpraktijk wordt gezien)?</a:t>
            </a:r>
          </a:p>
          <a:p>
            <a:pPr>
              <a:buClr>
                <a:schemeClr val="tx1"/>
              </a:buClr>
            </a:pPr>
            <a:r>
              <a:rPr lang="nl-NL" dirty="0">
                <a:solidFill>
                  <a:srgbClr val="000000"/>
                </a:solidFill>
                <a:latin typeface="Calibri"/>
                <a:cs typeface="Calibri"/>
              </a:rPr>
              <a:t>Wat is de klinische relevantie van een lager risico op ernstige (nachtelijke) </a:t>
            </a:r>
            <a:r>
              <a:rPr lang="nl-NL" dirty="0" err="1">
                <a:solidFill>
                  <a:srgbClr val="000000"/>
                </a:solidFill>
                <a:latin typeface="Calibri"/>
                <a:cs typeface="Calibri"/>
              </a:rPr>
              <a:t>hypoglykemieën</a:t>
            </a:r>
            <a:r>
              <a:rPr lang="nl-NL" dirty="0">
                <a:solidFill>
                  <a:srgbClr val="000000"/>
                </a:solidFill>
                <a:latin typeface="Calibri"/>
                <a:cs typeface="Calibri"/>
              </a:rPr>
              <a:t>?</a:t>
            </a:r>
          </a:p>
          <a:p>
            <a:pPr marL="0" indent="0">
              <a:buNone/>
            </a:pP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8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r</a:t>
            </a:r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cussie</a:t>
            </a:r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suline</a:t>
            </a:r>
            <a:endParaRPr lang="en-GB" sz="1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842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Clr>
                <a:schemeClr val="tx1"/>
              </a:buClr>
              <a:buNone/>
            </a:pPr>
            <a:r>
              <a:rPr lang="nl-NL" dirty="0" smtClean="0">
                <a:solidFill>
                  <a:srgbClr val="000000"/>
                </a:solidFill>
                <a:latin typeface="Calibri"/>
                <a:cs typeface="Calibri"/>
              </a:rPr>
              <a:t>Een patiënt met diabetes heeft een hartinfarct gekregen</a:t>
            </a:r>
            <a:r>
              <a:rPr lang="nl-NL" dirty="0" smtClean="0">
                <a:solidFill>
                  <a:srgbClr val="000000"/>
                </a:solidFill>
                <a:latin typeface="Calibri"/>
                <a:cs typeface="Calibri"/>
              </a:rPr>
              <a:t>. </a:t>
            </a:r>
            <a:r>
              <a:rPr lang="nl-NL" dirty="0" err="1" smtClean="0">
                <a:solidFill>
                  <a:srgbClr val="000000"/>
                </a:solidFill>
                <a:latin typeface="Calibri"/>
                <a:cs typeface="Calibri"/>
              </a:rPr>
              <a:t>Mbt</a:t>
            </a:r>
            <a:r>
              <a:rPr lang="nl-NL" dirty="0" smtClean="0">
                <a:solidFill>
                  <a:srgbClr val="000000"/>
                </a:solidFill>
                <a:latin typeface="Calibri"/>
                <a:cs typeface="Calibri"/>
              </a:rPr>
              <a:t> HVZ risicopreventie:</a:t>
            </a:r>
            <a:endParaRPr lang="nl-NL" dirty="0" smtClean="0">
              <a:solidFill>
                <a:srgbClr val="000000"/>
              </a:solidFill>
              <a:latin typeface="Calibri"/>
              <a:cs typeface="Calibri"/>
            </a:endParaRPr>
          </a:p>
          <a:p>
            <a:pPr marL="0" indent="0">
              <a:buClr>
                <a:schemeClr val="tx1"/>
              </a:buClr>
              <a:buNone/>
            </a:pPr>
            <a:endParaRPr lang="nl-NL" dirty="0" smtClean="0">
              <a:solidFill>
                <a:srgbClr val="000000"/>
              </a:solidFill>
              <a:latin typeface="Calibri"/>
              <a:cs typeface="Calibri"/>
            </a:endParaRP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nl-NL" dirty="0" smtClean="0">
                <a:solidFill>
                  <a:srgbClr val="000000"/>
                </a:solidFill>
                <a:latin typeface="Calibri"/>
                <a:cs typeface="Calibri"/>
              </a:rPr>
              <a:t>Wat </a:t>
            </a:r>
            <a:r>
              <a:rPr lang="nl-NL" dirty="0">
                <a:solidFill>
                  <a:srgbClr val="000000"/>
                </a:solidFill>
                <a:latin typeface="Calibri"/>
                <a:cs typeface="Calibri"/>
              </a:rPr>
              <a:t>behandel </a:t>
            </a:r>
            <a:r>
              <a:rPr lang="nl-NL" dirty="0" smtClean="0">
                <a:solidFill>
                  <a:srgbClr val="000000"/>
                </a:solidFill>
                <a:latin typeface="Calibri"/>
                <a:cs typeface="Calibri"/>
              </a:rPr>
              <a:t>je, volgens </a:t>
            </a:r>
            <a:r>
              <a:rPr lang="nl-NL" dirty="0">
                <a:solidFill>
                  <a:srgbClr val="000000"/>
                </a:solidFill>
                <a:latin typeface="Calibri"/>
                <a:cs typeface="Calibri"/>
              </a:rPr>
              <a:t>welke richtlijn? </a:t>
            </a:r>
            <a:endParaRPr lang="nl-NL" dirty="0" smtClean="0">
              <a:solidFill>
                <a:srgbClr val="000000"/>
              </a:solidFill>
              <a:latin typeface="Calibri"/>
              <a:cs typeface="Calibri"/>
            </a:endParaRP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r>
              <a:rPr lang="nl-NL" dirty="0" smtClean="0">
                <a:solidFill>
                  <a:srgbClr val="000000"/>
                </a:solidFill>
                <a:latin typeface="Calibri"/>
                <a:cs typeface="Calibri"/>
              </a:rPr>
              <a:t>De patiënt heeft ook DM</a:t>
            </a:r>
            <a:r>
              <a:rPr lang="nl-NL" dirty="0">
                <a:solidFill>
                  <a:srgbClr val="000000"/>
                </a:solidFill>
                <a:latin typeface="Calibri"/>
                <a:cs typeface="Calibri"/>
              </a:rPr>
              <a:t>, wie </a:t>
            </a:r>
            <a:r>
              <a:rPr lang="nl-NL" dirty="0" smtClean="0">
                <a:solidFill>
                  <a:srgbClr val="000000"/>
                </a:solidFill>
                <a:latin typeface="Calibri"/>
                <a:cs typeface="Calibri"/>
              </a:rPr>
              <a:t>behandelt </a:t>
            </a:r>
            <a:r>
              <a:rPr lang="nl-NL" dirty="0">
                <a:solidFill>
                  <a:srgbClr val="000000"/>
                </a:solidFill>
                <a:latin typeface="Calibri"/>
                <a:cs typeface="Calibri"/>
              </a:rPr>
              <a:t>dat dan? </a:t>
            </a:r>
            <a:endParaRPr lang="nl-NL" dirty="0" smtClean="0">
              <a:solidFill>
                <a:srgbClr val="000000"/>
              </a:solidFill>
              <a:latin typeface="Calibri"/>
              <a:cs typeface="Calibri"/>
            </a:endParaRPr>
          </a:p>
          <a:p>
            <a:pPr marL="342900" indent="-342900">
              <a:buClr>
                <a:schemeClr val="tx1"/>
              </a:buClr>
              <a:buFont typeface="+mj-lt"/>
              <a:buAutoNum type="arabicPeriod"/>
            </a:pPr>
            <a:endParaRPr lang="nl-NL" dirty="0">
              <a:solidFill>
                <a:srgbClr val="000000"/>
              </a:solidFill>
              <a:latin typeface="Calibri"/>
              <a:cs typeface="Calibri"/>
            </a:endParaRPr>
          </a:p>
          <a:p>
            <a:pPr marL="0" indent="0">
              <a:buClr>
                <a:schemeClr val="tx1"/>
              </a:buClr>
              <a:buNone/>
            </a:pPr>
            <a:r>
              <a:rPr lang="nl-NL" dirty="0" smtClean="0">
                <a:solidFill>
                  <a:srgbClr val="000000"/>
                </a:solidFill>
                <a:latin typeface="Calibri"/>
                <a:ea typeface="Wingdings"/>
                <a:cs typeface="Calibri"/>
                <a:sym typeface="Wingdings"/>
              </a:rPr>
              <a:t></a:t>
            </a:r>
            <a:r>
              <a:rPr lang="nl-NL" dirty="0">
                <a:solidFill>
                  <a:srgbClr val="000000"/>
                </a:solidFill>
                <a:latin typeface="Calibri"/>
                <a:ea typeface="Wingdings"/>
                <a:cs typeface="Calibri"/>
                <a:sym typeface="Wingdings"/>
              </a:rPr>
              <a:t>	</a:t>
            </a:r>
            <a:r>
              <a:rPr lang="nl-NL" dirty="0" smtClean="0">
                <a:solidFill>
                  <a:srgbClr val="000000"/>
                </a:solidFill>
                <a:latin typeface="Calibri"/>
                <a:ea typeface="Wingdings"/>
                <a:cs typeface="Calibri"/>
                <a:sym typeface="Wingdings"/>
              </a:rPr>
              <a:t>Internist?</a:t>
            </a:r>
            <a:endParaRPr lang="nl-NL" dirty="0" smtClean="0">
              <a:solidFill>
                <a:srgbClr val="000000"/>
              </a:solidFill>
              <a:latin typeface="Calibri"/>
              <a:ea typeface="Wingdings"/>
              <a:cs typeface="Calibri"/>
              <a:sym typeface="Wingdings"/>
            </a:endParaRPr>
          </a:p>
          <a:p>
            <a:pPr marL="0" indent="0">
              <a:buClr>
                <a:schemeClr val="tx1"/>
              </a:buClr>
              <a:buNone/>
            </a:pPr>
            <a:r>
              <a:rPr lang="nl-NL" dirty="0" smtClean="0">
                <a:solidFill>
                  <a:srgbClr val="000000"/>
                </a:solidFill>
                <a:latin typeface="Calibri"/>
                <a:ea typeface="Wingdings"/>
                <a:cs typeface="Calibri"/>
                <a:sym typeface="Wingdings"/>
              </a:rPr>
              <a:t></a:t>
            </a:r>
            <a:r>
              <a:rPr lang="nl-NL" dirty="0">
                <a:solidFill>
                  <a:srgbClr val="000000"/>
                </a:solidFill>
                <a:latin typeface="Calibri"/>
                <a:ea typeface="Wingdings"/>
                <a:cs typeface="Calibri"/>
                <a:sym typeface="Wingdings"/>
              </a:rPr>
              <a:t>	</a:t>
            </a:r>
            <a:r>
              <a:rPr lang="nl-NL" dirty="0" smtClean="0">
                <a:solidFill>
                  <a:srgbClr val="000000"/>
                </a:solidFill>
                <a:latin typeface="Calibri"/>
                <a:ea typeface="Wingdings"/>
                <a:cs typeface="Calibri"/>
                <a:sym typeface="Wingdings"/>
              </a:rPr>
              <a:t>Huisarts?</a:t>
            </a:r>
            <a:endParaRPr lang="nl-NL" dirty="0" smtClean="0">
              <a:solidFill>
                <a:srgbClr val="000000"/>
              </a:solidFill>
              <a:latin typeface="Calibri"/>
              <a:cs typeface="Calibri"/>
            </a:endParaRPr>
          </a:p>
          <a:p>
            <a:pPr marL="0" indent="0">
              <a:buClr>
                <a:schemeClr val="tx1"/>
              </a:buClr>
              <a:buNone/>
            </a:pPr>
            <a:r>
              <a:rPr lang="nl-NL" dirty="0" smtClean="0">
                <a:solidFill>
                  <a:srgbClr val="000000"/>
                </a:solidFill>
                <a:latin typeface="Calibri"/>
                <a:ea typeface="Wingdings"/>
                <a:cs typeface="Calibri"/>
                <a:sym typeface="Wingdings"/>
              </a:rPr>
              <a:t>	</a:t>
            </a:r>
            <a:r>
              <a:rPr lang="nl-NL" dirty="0" smtClean="0">
                <a:solidFill>
                  <a:srgbClr val="000000"/>
                </a:solidFill>
                <a:latin typeface="Calibri"/>
                <a:ea typeface="Wingdings"/>
                <a:cs typeface="Calibri"/>
                <a:sym typeface="Wingdings"/>
              </a:rPr>
              <a:t>Diabetesverpleegkundige?</a:t>
            </a:r>
            <a:endParaRPr lang="nl-NL" dirty="0">
              <a:solidFill>
                <a:srgbClr val="000000"/>
              </a:solidFill>
              <a:latin typeface="Calibri"/>
              <a:cs typeface="Calibri"/>
            </a:endParaRPr>
          </a:p>
          <a:p>
            <a:pPr marL="0" indent="0">
              <a:buNone/>
            </a:pPr>
            <a:endParaRPr lang="nl-NL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1800" dirty="0" smtClean="0">
                <a:solidFill>
                  <a:srgbClr val="000000"/>
                </a:solidFill>
                <a:latin typeface="Calibri"/>
                <a:cs typeface="Calibri"/>
              </a:rPr>
              <a:t>Casus</a:t>
            </a:r>
            <a:endParaRPr lang="nl-NL" sz="1800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56174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nl-NL" sz="1800" b="1" dirty="0" err="1" smtClean="0"/>
              <a:t>Disclosure</a:t>
            </a:r>
            <a:r>
              <a:rPr lang="nl-NL" sz="1800" b="1" dirty="0" smtClean="0"/>
              <a:t> </a:t>
            </a:r>
            <a:r>
              <a:rPr lang="nl-NL" sz="1800" b="1" dirty="0" err="1" smtClean="0"/>
              <a:t>Fabrice</a:t>
            </a:r>
            <a:r>
              <a:rPr lang="nl-NL" sz="1800" b="1" dirty="0" smtClean="0"/>
              <a:t> Martens</a:t>
            </a:r>
            <a:endParaRPr lang="nl-NL" sz="1800" b="1" dirty="0"/>
          </a:p>
        </p:txBody>
      </p:sp>
      <p:graphicFrame>
        <p:nvGraphicFramePr>
          <p:cNvPr id="3" name="Tabel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439831"/>
              </p:ext>
            </p:extLst>
          </p:nvPr>
        </p:nvGraphicFramePr>
        <p:xfrm>
          <a:off x="683568" y="1203598"/>
          <a:ext cx="7560840" cy="3224808"/>
        </p:xfrm>
        <a:graphic>
          <a:graphicData uri="http://schemas.openxmlformats.org/drawingml/2006/table">
            <a:tbl>
              <a:tblPr/>
              <a:tblGrid>
                <a:gridCol w="408792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47291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6457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Arial" charset="0"/>
                        </a:rPr>
                        <a:t>(Potentiële) belangenverstrengeling</a:t>
                      </a:r>
                      <a:endParaRPr kumimoji="0" lang="nl-NL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PT Sans"/>
                        <a:cs typeface="Times New Roman" charset="0"/>
                      </a:endParaRPr>
                    </a:p>
                  </a:txBody>
                  <a:tcPr marL="60555" marR="6055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PT Sans"/>
                        <a:cs typeface="Times New Roman" charset="0"/>
                      </a:endParaRPr>
                    </a:p>
                  </a:txBody>
                  <a:tcPr marL="60555" marR="6055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8374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Arial" charset="0"/>
                        </a:rPr>
                        <a:t>Voor bijeenkomst mogelijk relevante relaties met bedrijven</a:t>
                      </a:r>
                      <a:endParaRPr kumimoji="0" lang="nl-NL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PT Sans"/>
                        <a:cs typeface="Times New Roman" charset="0"/>
                      </a:endParaRPr>
                    </a:p>
                  </a:txBody>
                  <a:tcPr marL="60555" marR="6055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Arial" charset="0"/>
                        </a:rPr>
                        <a:t>Bedrijfsnamen</a:t>
                      </a:r>
                      <a:endParaRPr kumimoji="0" lang="nl-NL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PT Sans"/>
                        <a:cs typeface="Times New Roman" charset="0"/>
                      </a:endParaRPr>
                    </a:p>
                  </a:txBody>
                  <a:tcPr marL="60555" marR="6055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995326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charset="0"/>
                        <a:buChar char=""/>
                        <a:tabLst/>
                      </a:pPr>
                      <a:r>
                        <a:rPr kumimoji="0" lang="nl-NL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Arial" charset="0"/>
                        </a:rPr>
                        <a:t>Sponsoring of onderzoeksgeld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charset="0"/>
                        <a:buChar char=""/>
                        <a:tabLst/>
                      </a:pPr>
                      <a:r>
                        <a:rPr kumimoji="0" lang="nl-NL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Arial" charset="0"/>
                        </a:rPr>
                        <a:t>Honorarium of andere (financiële) vergoeding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charset="0"/>
                        <a:buChar char=""/>
                        <a:tabLst/>
                      </a:pPr>
                      <a:r>
                        <a:rPr kumimoji="0" lang="nl-NL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Arial" charset="0"/>
                        </a:rPr>
                        <a:t>Aandeelhouder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charset="0"/>
                        <a:buChar char=""/>
                        <a:tabLst/>
                      </a:pPr>
                      <a:r>
                        <a:rPr kumimoji="0" lang="nl-NL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Arial" charset="0"/>
                        </a:rPr>
                        <a:t>Andere relatie, namelijk …</a:t>
                      </a:r>
                      <a:endParaRPr kumimoji="0" lang="nl-NL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PT Sans"/>
                        <a:cs typeface="Times New Roman" charset="0"/>
                      </a:endParaRPr>
                    </a:p>
                  </a:txBody>
                  <a:tcPr marL="60555" marR="60555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charset="0"/>
                          <a:cs typeface="Arial" charset="0"/>
                        </a:rPr>
                        <a:t> </a:t>
                      </a:r>
                    </a:p>
                  </a:txBody>
                  <a:tcPr marL="60555" marR="60555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4053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0" indent="-342900" defTabSz="913163">
              <a:buClr>
                <a:schemeClr val="tx1"/>
              </a:buClr>
              <a:buFont typeface="+mj-lt"/>
              <a:buAutoNum type="arabicPeriod"/>
            </a:pPr>
            <a:r>
              <a:rPr lang="nl-NL" dirty="0" smtClean="0">
                <a:solidFill>
                  <a:srgbClr val="000000"/>
                </a:solidFill>
                <a:latin typeface="Calibri"/>
                <a:cs typeface="Calibri"/>
              </a:rPr>
              <a:t>De </a:t>
            </a:r>
            <a:r>
              <a:rPr lang="nl-NL" u="sng" dirty="0" smtClean="0">
                <a:solidFill>
                  <a:srgbClr val="000000"/>
                </a:solidFill>
                <a:latin typeface="Calibri"/>
                <a:cs typeface="Calibri"/>
              </a:rPr>
              <a:t>internist</a:t>
            </a:r>
            <a:r>
              <a:rPr lang="nl-NL" dirty="0" smtClean="0">
                <a:solidFill>
                  <a:srgbClr val="000000"/>
                </a:solidFill>
                <a:latin typeface="Calibri"/>
                <a:cs typeface="Calibri"/>
              </a:rPr>
              <a:t> behandelt CVRM én DM bij alle diabetespatiënten, die een HVZ event hebben </a:t>
            </a:r>
            <a:r>
              <a:rPr lang="nl-NL" dirty="0" smtClean="0">
                <a:solidFill>
                  <a:srgbClr val="000000"/>
                </a:solidFill>
                <a:latin typeface="Calibri"/>
                <a:cs typeface="Calibri"/>
              </a:rPr>
              <a:t>gehad</a:t>
            </a:r>
            <a:endParaRPr lang="nl-NL" dirty="0" smtClean="0">
              <a:solidFill>
                <a:srgbClr val="000000"/>
              </a:solidFill>
              <a:latin typeface="Calibri"/>
              <a:cs typeface="Calibri"/>
            </a:endParaRPr>
          </a:p>
          <a:p>
            <a:pPr marL="342900" lvl="0" indent="-342900" defTabSz="913163">
              <a:buClr>
                <a:schemeClr val="tx1"/>
              </a:buClr>
              <a:buFont typeface="+mj-lt"/>
              <a:buAutoNum type="arabicPeriod"/>
            </a:pPr>
            <a:r>
              <a:rPr lang="nl-NL" dirty="0" smtClean="0">
                <a:solidFill>
                  <a:srgbClr val="000000"/>
                </a:solidFill>
                <a:latin typeface="Calibri"/>
                <a:cs typeface="Calibri"/>
              </a:rPr>
              <a:t>In de 1</a:t>
            </a:r>
            <a:r>
              <a:rPr lang="nl-NL" baseline="30000" dirty="0" smtClean="0">
                <a:solidFill>
                  <a:srgbClr val="000000"/>
                </a:solidFill>
                <a:latin typeface="Calibri"/>
                <a:cs typeface="Calibri"/>
              </a:rPr>
              <a:t>e</a:t>
            </a:r>
            <a:r>
              <a:rPr lang="nl-NL" dirty="0" smtClean="0">
                <a:solidFill>
                  <a:srgbClr val="000000"/>
                </a:solidFill>
                <a:latin typeface="Calibri"/>
                <a:cs typeface="Calibri"/>
              </a:rPr>
              <a:t> én 2</a:t>
            </a:r>
            <a:r>
              <a:rPr lang="nl-NL" baseline="30000" dirty="0" smtClean="0">
                <a:solidFill>
                  <a:srgbClr val="000000"/>
                </a:solidFill>
                <a:latin typeface="Calibri"/>
                <a:cs typeface="Calibri"/>
              </a:rPr>
              <a:t>e</a:t>
            </a:r>
            <a:r>
              <a:rPr lang="nl-NL" dirty="0" smtClean="0">
                <a:solidFill>
                  <a:srgbClr val="000000"/>
                </a:solidFill>
                <a:latin typeface="Calibri"/>
                <a:cs typeface="Calibri"/>
              </a:rPr>
              <a:t> </a:t>
            </a:r>
            <a:r>
              <a:rPr lang="nl-NL" dirty="0" smtClean="0">
                <a:solidFill>
                  <a:srgbClr val="000000"/>
                </a:solidFill>
                <a:latin typeface="Calibri"/>
                <a:cs typeface="Calibri"/>
              </a:rPr>
              <a:t>lijn</a:t>
            </a:r>
          </a:p>
          <a:p>
            <a:pPr marL="0" lvl="0" indent="0" defTabSz="913163">
              <a:buClr>
                <a:schemeClr val="tx1"/>
              </a:buClr>
              <a:buNone/>
            </a:pPr>
            <a:endParaRPr lang="nl-NL" dirty="0" smtClean="0">
              <a:solidFill>
                <a:srgbClr val="000000"/>
              </a:solidFill>
              <a:latin typeface="Calibri"/>
              <a:cs typeface="Calibri"/>
            </a:endParaRPr>
          </a:p>
          <a:p>
            <a:pPr marL="0" lvl="0" indent="0" defTabSz="913163">
              <a:buClr>
                <a:schemeClr val="tx1"/>
              </a:buClr>
              <a:buNone/>
            </a:pPr>
            <a:endParaRPr lang="nl-NL" dirty="0" smtClean="0">
              <a:solidFill>
                <a:srgbClr val="000000"/>
              </a:solidFill>
              <a:latin typeface="Calibri"/>
              <a:cs typeface="Calibri"/>
            </a:endParaRPr>
          </a:p>
          <a:p>
            <a:pPr marL="342900" lvl="0" indent="-342900" defTabSz="913163">
              <a:buClr>
                <a:schemeClr val="tx1"/>
              </a:buClr>
              <a:buFont typeface="+mj-lt"/>
              <a:buAutoNum type="arabicPeriod"/>
            </a:pPr>
            <a:endParaRPr lang="nl-NL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1800" dirty="0" smtClean="0">
                <a:latin typeface="Calibri"/>
                <a:cs typeface="Calibri"/>
              </a:rPr>
              <a:t>Discussie</a:t>
            </a:r>
            <a:endParaRPr lang="nl-NL" sz="18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38874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nl-NL" dirty="0" smtClean="0">
                <a:latin typeface="Calibri"/>
                <a:cs typeface="Calibri"/>
              </a:rPr>
              <a:t>Hoe zit het met de patiënt </a:t>
            </a:r>
            <a:r>
              <a:rPr lang="nl-NL" dirty="0">
                <a:latin typeface="Calibri"/>
                <a:cs typeface="Calibri"/>
              </a:rPr>
              <a:t>met T2DM en verhoogd CV risico? </a:t>
            </a:r>
            <a:endParaRPr lang="nl-NL" dirty="0">
              <a:latin typeface="Calibri"/>
              <a:cs typeface="Calibri"/>
            </a:endParaRPr>
          </a:p>
          <a:p>
            <a:pPr lvl="0"/>
            <a:r>
              <a:rPr lang="nl-NL" dirty="0" smtClean="0">
                <a:latin typeface="Calibri"/>
                <a:cs typeface="Calibri"/>
              </a:rPr>
              <a:t>En de </a:t>
            </a:r>
            <a:r>
              <a:rPr lang="nl-NL" dirty="0">
                <a:latin typeface="Calibri"/>
                <a:cs typeface="Calibri"/>
              </a:rPr>
              <a:t>patiënt met T2DM en CV aandoeningen? 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1800" dirty="0" smtClean="0">
                <a:latin typeface="Calibri"/>
                <a:cs typeface="Calibri"/>
              </a:rPr>
              <a:t>Regionale transmurale afspraken</a:t>
            </a:r>
            <a:endParaRPr lang="nl-NL" sz="18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0051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>
                <a:schemeClr val="tx1"/>
              </a:buClr>
              <a:buFont typeface="+mj-lt"/>
              <a:buAutoNum type="arabicPeriod"/>
            </a:pPr>
            <a:r>
              <a:rPr lang="nl-NL" sz="1800" dirty="0" smtClean="0">
                <a:solidFill>
                  <a:srgbClr val="000000"/>
                </a:solidFill>
              </a:rPr>
              <a:t>Nut verlagen HbA1c</a:t>
            </a:r>
          </a:p>
          <a:p>
            <a:pPr>
              <a:buClr>
                <a:schemeClr val="tx1"/>
              </a:buClr>
              <a:buFont typeface="+mj-lt"/>
              <a:buAutoNum type="arabicPeriod"/>
            </a:pPr>
            <a:r>
              <a:rPr lang="nl-NL" sz="1800" dirty="0" smtClean="0">
                <a:solidFill>
                  <a:srgbClr val="000000"/>
                </a:solidFill>
              </a:rPr>
              <a:t>Multifactori</a:t>
            </a:r>
            <a:r>
              <a:rPr lang="nl-NL" sz="1800" dirty="0" smtClean="0">
                <a:solidFill>
                  <a:srgbClr val="000000"/>
                </a:solidFill>
              </a:rPr>
              <a:t>ële aanpak</a:t>
            </a:r>
          </a:p>
          <a:p>
            <a:pPr>
              <a:buClr>
                <a:schemeClr val="tx1"/>
              </a:buClr>
              <a:buFont typeface="+mj-lt"/>
              <a:buAutoNum type="arabicPeriod"/>
            </a:pPr>
            <a:r>
              <a:rPr lang="nl-NL" sz="1800" dirty="0" smtClean="0">
                <a:solidFill>
                  <a:srgbClr val="000000"/>
                </a:solidFill>
              </a:rPr>
              <a:t>Wat hebben we aan medicatie?</a:t>
            </a:r>
          </a:p>
          <a:p>
            <a:pPr>
              <a:buClr>
                <a:schemeClr val="tx1"/>
              </a:buClr>
              <a:buFont typeface="+mj-lt"/>
              <a:buAutoNum type="arabicPeriod"/>
            </a:pPr>
            <a:r>
              <a:rPr lang="nl-NL" sz="1800" dirty="0" smtClean="0">
                <a:solidFill>
                  <a:srgbClr val="000000"/>
                </a:solidFill>
              </a:rPr>
              <a:t>Belangrijkste resultaten CV- veiligheidsstudies</a:t>
            </a:r>
          </a:p>
          <a:p>
            <a:pPr>
              <a:buClr>
                <a:schemeClr val="tx1"/>
              </a:buClr>
              <a:buFont typeface="+mj-lt"/>
              <a:buAutoNum type="arabicPeriod"/>
            </a:pPr>
            <a:r>
              <a:rPr lang="nl-NL" sz="1800" dirty="0" smtClean="0">
                <a:solidFill>
                  <a:srgbClr val="000000"/>
                </a:solidFill>
              </a:rPr>
              <a:t>Discussie en casus</a:t>
            </a:r>
            <a:endParaRPr lang="nl-NL" sz="1800" dirty="0">
              <a:solidFill>
                <a:srgbClr val="000000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nl-NL" sz="1800" b="1" dirty="0" smtClean="0"/>
              <a:t>Agenda</a:t>
            </a:r>
            <a:endParaRPr lang="nl-NL" sz="1800" b="1" dirty="0"/>
          </a:p>
        </p:txBody>
      </p:sp>
    </p:spTree>
    <p:extLst>
      <p:ext uri="{BB962C8B-B14F-4D97-AF65-F5344CB8AC3E}">
        <p14:creationId xmlns:p14="http://schemas.microsoft.com/office/powerpoint/2010/main" val="2966090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2"/>
          <p:cNvSpPr>
            <a:spLocks noGrp="1"/>
          </p:cNvSpPr>
          <p:nvPr>
            <p:ph type="title" idx="4294967295"/>
          </p:nvPr>
        </p:nvSpPr>
        <p:spPr/>
        <p:txBody>
          <a:bodyPr lIns="0" tIns="0" rIns="0" bIns="0">
            <a:normAutofit/>
          </a:bodyPr>
          <a:lstStyle/>
          <a:p>
            <a:pPr algn="l"/>
            <a:r>
              <a:rPr lang="en-GB" sz="1800" b="1" dirty="0">
                <a:latin typeface="Calibri" charset="0"/>
              </a:rPr>
              <a:t>Hoe </a:t>
            </a:r>
            <a:r>
              <a:rPr lang="en-GB" sz="1800" b="1" dirty="0" err="1">
                <a:latin typeface="Calibri" charset="0"/>
              </a:rPr>
              <a:t>hoger</a:t>
            </a:r>
            <a:r>
              <a:rPr lang="en-GB" sz="1800" b="1" dirty="0">
                <a:latin typeface="Calibri" charset="0"/>
              </a:rPr>
              <a:t> het HbA1c, hoe </a:t>
            </a:r>
            <a:r>
              <a:rPr lang="en-GB" sz="1800" b="1" dirty="0" err="1">
                <a:latin typeface="Calibri" charset="0"/>
              </a:rPr>
              <a:t>hoger</a:t>
            </a:r>
            <a:r>
              <a:rPr lang="en-GB" sz="1800" b="1" dirty="0">
                <a:latin typeface="Calibri" charset="0"/>
              </a:rPr>
              <a:t> het </a:t>
            </a:r>
            <a:r>
              <a:rPr lang="en-GB" sz="1800" b="1" dirty="0" err="1">
                <a:latin typeface="Calibri" charset="0"/>
              </a:rPr>
              <a:t>risico</a:t>
            </a:r>
            <a:r>
              <a:rPr lang="en-GB" sz="1800" b="1" dirty="0">
                <a:latin typeface="Calibri" charset="0"/>
              </a:rPr>
              <a:t> op HVZ</a:t>
            </a:r>
          </a:p>
        </p:txBody>
      </p:sp>
      <p:graphicFrame>
        <p:nvGraphicFramePr>
          <p:cNvPr id="5123" name="Content Placeholder 4"/>
          <p:cNvGraphicFramePr>
            <a:graphicFrameLocks noGrp="1"/>
          </p:cNvGraphicFramePr>
          <p:nvPr>
            <p:ph idx="4294967295"/>
          </p:nvPr>
        </p:nvGraphicFramePr>
        <p:xfrm>
          <a:off x="465138" y="1113235"/>
          <a:ext cx="8139112" cy="32944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11" name="Grafiek" r:id="rId4" imgW="7462151" imgH="3712786" progId="Excel.Chart.8">
                  <p:embed/>
                </p:oleObj>
              </mc:Choice>
              <mc:Fallback>
                <p:oleObj name="Grafiek" r:id="rId4" imgW="7462151" imgH="3712786" progId="Excel.Chart.8">
                  <p:embed/>
                  <p:pic>
                    <p:nvPicPr>
                      <p:cNvPr id="0" name="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5138" y="1113235"/>
                        <a:ext cx="8139112" cy="329445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51520" y="843558"/>
            <a:ext cx="430887" cy="3779760"/>
          </a:xfrm>
          <a:prstGeom prst="rect">
            <a:avLst/>
          </a:prstGeom>
          <a:noFill/>
        </p:spPr>
        <p:txBody>
          <a:bodyPr vert="vert270"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dirty="0">
                <a:solidFill>
                  <a:srgbClr val="002060"/>
                </a:solidFill>
                <a:latin typeface="+mn-lt"/>
                <a:ea typeface="+mn-ea"/>
              </a:rPr>
              <a:t>Rate of cardiovascular disease events (%)</a:t>
            </a:r>
            <a:endParaRPr lang="en-US" sz="1600" dirty="0">
              <a:solidFill>
                <a:srgbClr val="00206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330029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43798" y="195895"/>
            <a:ext cx="8188523" cy="601080"/>
          </a:xfrm>
        </p:spPr>
        <p:txBody>
          <a:bodyPr>
            <a:normAutofit/>
          </a:bodyPr>
          <a:lstStyle/>
          <a:p>
            <a:pPr algn="l" eaLnBrk="1" hangingPunct="1"/>
            <a:r>
              <a:rPr lang="da-DK" alt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Het</a:t>
            </a:r>
            <a:r>
              <a:rPr lang="da-DK" alt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a-DK" alt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belang</a:t>
            </a:r>
            <a:r>
              <a:rPr lang="da-DK" alt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van </a:t>
            </a:r>
            <a:r>
              <a:rPr lang="da-DK" altLang="en-US" sz="1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glucoseregulatie</a:t>
            </a:r>
            <a:endParaRPr lang="da-DK" altLang="en-US" sz="18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628" name="Text Box 5"/>
          <p:cNvSpPr txBox="1">
            <a:spLocks noChangeArrowheads="1"/>
          </p:cNvSpPr>
          <p:nvPr/>
        </p:nvSpPr>
        <p:spPr bwMode="auto">
          <a:xfrm rot="16200000">
            <a:off x="-120325" y="2812379"/>
            <a:ext cx="1577873" cy="513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1600" tIns="40801" rIns="81600" bIns="4080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defTabSz="816047" eaLnBrk="1" hangingPunct="1">
              <a:defRPr/>
            </a:pPr>
            <a:r>
              <a:rPr lang="da-DK" sz="1400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sicoverlaging</a:t>
            </a:r>
            <a:r>
              <a:rPr lang="da-DK" sz="14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er </a:t>
            </a:r>
            <a:br>
              <a:rPr lang="da-DK" sz="14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a-DK" sz="14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% HbA</a:t>
            </a:r>
            <a:r>
              <a:rPr lang="da-DK" sz="1400" baseline="-250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c </a:t>
            </a:r>
            <a:r>
              <a:rPr lang="da-DK" sz="1400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laging</a:t>
            </a:r>
            <a:endParaRPr lang="da-DK" sz="1400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629" name="Text Box 6"/>
          <p:cNvSpPr txBox="1">
            <a:spLocks noChangeArrowheads="1"/>
          </p:cNvSpPr>
          <p:nvPr/>
        </p:nvSpPr>
        <p:spPr bwMode="auto">
          <a:xfrm>
            <a:off x="2026646" y="3069022"/>
            <a:ext cx="725845" cy="328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1600" tIns="40801" rIns="81600" bIns="4080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816047" eaLnBrk="1" hangingPunct="1">
              <a:defRPr/>
            </a:pPr>
            <a:r>
              <a:rPr lang="da-DK" sz="16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21%*</a:t>
            </a:r>
            <a:endParaRPr lang="da-DK" sz="1600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630" name="Text Box 7"/>
          <p:cNvSpPr txBox="1">
            <a:spLocks noChangeArrowheads="1"/>
          </p:cNvSpPr>
          <p:nvPr/>
        </p:nvSpPr>
        <p:spPr bwMode="auto">
          <a:xfrm>
            <a:off x="3730741" y="2814425"/>
            <a:ext cx="725845" cy="328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1600" tIns="40801" rIns="81600" bIns="4080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816047" eaLnBrk="1" hangingPunct="1">
              <a:defRPr/>
            </a:pPr>
            <a:r>
              <a:rPr lang="da-DK" sz="16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14%*</a:t>
            </a:r>
            <a:endParaRPr lang="da-DK" sz="1600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631" name="Text Box 8"/>
          <p:cNvSpPr txBox="1">
            <a:spLocks noChangeArrowheads="1"/>
          </p:cNvSpPr>
          <p:nvPr/>
        </p:nvSpPr>
        <p:spPr bwMode="auto">
          <a:xfrm>
            <a:off x="5532969" y="3658382"/>
            <a:ext cx="655313" cy="2978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1600" tIns="40801" rIns="81600" bIns="4080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816047" eaLnBrk="1" hangingPunct="1">
              <a:defRPr/>
            </a:pPr>
            <a:r>
              <a:rPr lang="da-DK" sz="14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37%*</a:t>
            </a:r>
            <a:endParaRPr lang="da-DK" sz="1400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632" name="Text Box 9"/>
          <p:cNvSpPr txBox="1">
            <a:spLocks noChangeArrowheads="1"/>
          </p:cNvSpPr>
          <p:nvPr/>
        </p:nvSpPr>
        <p:spPr bwMode="auto">
          <a:xfrm>
            <a:off x="7249412" y="3833864"/>
            <a:ext cx="655313" cy="2978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1600" tIns="40801" rIns="81600" bIns="4080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816047" eaLnBrk="1" hangingPunct="1">
              <a:defRPr/>
            </a:pPr>
            <a:r>
              <a:rPr lang="da-DK" sz="14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43%*</a:t>
            </a:r>
            <a:endParaRPr lang="da-DK" sz="1400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633" name="Text Box 11"/>
          <p:cNvSpPr txBox="1">
            <a:spLocks noChangeArrowheads="1"/>
          </p:cNvSpPr>
          <p:nvPr/>
        </p:nvSpPr>
        <p:spPr bwMode="auto">
          <a:xfrm>
            <a:off x="387334" y="4313039"/>
            <a:ext cx="793171" cy="25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1600" tIns="40801" rIns="81600" bIns="4080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816047" eaLnBrk="1" hangingPunct="1">
              <a:defRPr/>
            </a:pPr>
            <a:r>
              <a:rPr lang="da-DK" sz="1100" dirty="0" smtClean="0">
                <a:solidFill>
                  <a:srgbClr val="002060"/>
                </a:solidFill>
              </a:rPr>
              <a:t>*</a:t>
            </a:r>
            <a:r>
              <a:rPr lang="da-DK" sz="1100" i="1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da-DK" sz="11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lt;0.0001</a:t>
            </a:r>
            <a:endParaRPr lang="da-DK" sz="11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634" name="Rectangle 14"/>
          <p:cNvSpPr>
            <a:spLocks noChangeArrowheads="1"/>
          </p:cNvSpPr>
          <p:nvPr/>
        </p:nvSpPr>
        <p:spPr bwMode="auto">
          <a:xfrm>
            <a:off x="2059409" y="2246935"/>
            <a:ext cx="696516" cy="738374"/>
          </a:xfrm>
          <a:prstGeom prst="rect">
            <a:avLst/>
          </a:prstGeom>
          <a:solidFill>
            <a:srgbClr val="0019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1600" tIns="40801" rIns="81600" bIns="40801"/>
          <a:lstStyle/>
          <a:p>
            <a:pPr defTabSz="816047">
              <a:defRPr/>
            </a:pPr>
            <a:endParaRPr lang="da-DK" sz="1600" dirty="0">
              <a:solidFill>
                <a:srgbClr val="001965"/>
              </a:solidFill>
            </a:endParaRPr>
          </a:p>
        </p:txBody>
      </p:sp>
      <p:sp>
        <p:nvSpPr>
          <p:cNvPr id="26635" name="Rectangle 15"/>
          <p:cNvSpPr>
            <a:spLocks noChangeArrowheads="1"/>
          </p:cNvSpPr>
          <p:nvPr/>
        </p:nvSpPr>
        <p:spPr bwMode="auto">
          <a:xfrm>
            <a:off x="3787319" y="2246933"/>
            <a:ext cx="697631" cy="493923"/>
          </a:xfrm>
          <a:prstGeom prst="rect">
            <a:avLst/>
          </a:prstGeom>
          <a:solidFill>
            <a:srgbClr val="E64A0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1600" tIns="40801" rIns="81600" bIns="40801"/>
          <a:lstStyle/>
          <a:p>
            <a:pPr defTabSz="816047">
              <a:defRPr/>
            </a:pPr>
            <a:endParaRPr lang="da-DK" sz="1600" dirty="0">
              <a:solidFill>
                <a:srgbClr val="001965"/>
              </a:solidFill>
            </a:endParaRPr>
          </a:p>
        </p:txBody>
      </p:sp>
      <p:sp>
        <p:nvSpPr>
          <p:cNvPr id="26636" name="Rectangle 16"/>
          <p:cNvSpPr>
            <a:spLocks noChangeArrowheads="1"/>
          </p:cNvSpPr>
          <p:nvPr/>
        </p:nvSpPr>
        <p:spPr bwMode="auto">
          <a:xfrm>
            <a:off x="5516314" y="2246932"/>
            <a:ext cx="687586" cy="1303456"/>
          </a:xfrm>
          <a:prstGeom prst="rect">
            <a:avLst/>
          </a:prstGeom>
          <a:solidFill>
            <a:srgbClr val="00B7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1600" tIns="40801" rIns="81600" bIns="40801"/>
          <a:lstStyle/>
          <a:p>
            <a:pPr defTabSz="816047">
              <a:defRPr/>
            </a:pPr>
            <a:endParaRPr lang="da-DK" sz="1600" dirty="0">
              <a:solidFill>
                <a:srgbClr val="001965"/>
              </a:solidFill>
            </a:endParaRPr>
          </a:p>
        </p:txBody>
      </p:sp>
      <p:sp>
        <p:nvSpPr>
          <p:cNvPr id="26637" name="Rectangle 17"/>
          <p:cNvSpPr>
            <a:spLocks noChangeArrowheads="1"/>
          </p:cNvSpPr>
          <p:nvPr/>
        </p:nvSpPr>
        <p:spPr bwMode="auto">
          <a:xfrm>
            <a:off x="7234164" y="2246937"/>
            <a:ext cx="698748" cy="1518605"/>
          </a:xfrm>
          <a:prstGeom prst="rect">
            <a:avLst/>
          </a:prstGeom>
          <a:solidFill>
            <a:srgbClr val="8B7D7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1600" tIns="40801" rIns="81600" bIns="40801"/>
          <a:lstStyle/>
          <a:p>
            <a:pPr defTabSz="816047">
              <a:defRPr/>
            </a:pPr>
            <a:endParaRPr lang="da-DK" sz="1600" dirty="0">
              <a:solidFill>
                <a:srgbClr val="001965"/>
              </a:solidFill>
            </a:endParaRPr>
          </a:p>
        </p:txBody>
      </p:sp>
      <p:sp>
        <p:nvSpPr>
          <p:cNvPr id="26638" name="Line 18"/>
          <p:cNvSpPr>
            <a:spLocks noChangeShapeType="1"/>
          </p:cNvSpPr>
          <p:nvPr/>
        </p:nvSpPr>
        <p:spPr bwMode="auto">
          <a:xfrm>
            <a:off x="1542604" y="2246933"/>
            <a:ext cx="2232" cy="1762218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1600" tIns="40801" rIns="81600" bIns="40801"/>
          <a:lstStyle/>
          <a:p>
            <a:pPr defTabSz="816047">
              <a:defRPr/>
            </a:pPr>
            <a:endParaRPr lang="da-DK" sz="1600" dirty="0">
              <a:solidFill>
                <a:srgbClr val="001965"/>
              </a:solidFill>
            </a:endParaRPr>
          </a:p>
        </p:txBody>
      </p:sp>
      <p:sp>
        <p:nvSpPr>
          <p:cNvPr id="26639" name="Line 19"/>
          <p:cNvSpPr>
            <a:spLocks noChangeShapeType="1"/>
          </p:cNvSpPr>
          <p:nvPr/>
        </p:nvSpPr>
        <p:spPr bwMode="auto">
          <a:xfrm>
            <a:off x="1476747" y="4009151"/>
            <a:ext cx="65856" cy="837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1600" tIns="40801" rIns="81600" bIns="40801"/>
          <a:lstStyle/>
          <a:p>
            <a:pPr defTabSz="816047">
              <a:defRPr/>
            </a:pPr>
            <a:endParaRPr lang="da-DK" sz="1600" dirty="0">
              <a:solidFill>
                <a:srgbClr val="001965"/>
              </a:solidFill>
            </a:endParaRPr>
          </a:p>
        </p:txBody>
      </p:sp>
      <p:sp>
        <p:nvSpPr>
          <p:cNvPr id="26640" name="Line 20"/>
          <p:cNvSpPr>
            <a:spLocks noChangeShapeType="1"/>
          </p:cNvSpPr>
          <p:nvPr/>
        </p:nvSpPr>
        <p:spPr bwMode="auto">
          <a:xfrm>
            <a:off x="1476747" y="3658382"/>
            <a:ext cx="65856" cy="1674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1600" tIns="40801" rIns="81600" bIns="40801"/>
          <a:lstStyle/>
          <a:p>
            <a:pPr defTabSz="816047">
              <a:defRPr/>
            </a:pPr>
            <a:endParaRPr lang="da-DK" sz="1600" dirty="0">
              <a:solidFill>
                <a:srgbClr val="001965"/>
              </a:solidFill>
            </a:endParaRPr>
          </a:p>
        </p:txBody>
      </p:sp>
      <p:sp>
        <p:nvSpPr>
          <p:cNvPr id="26641" name="Line 21"/>
          <p:cNvSpPr>
            <a:spLocks noChangeShapeType="1"/>
          </p:cNvSpPr>
          <p:nvPr/>
        </p:nvSpPr>
        <p:spPr bwMode="auto">
          <a:xfrm>
            <a:off x="1476747" y="3307613"/>
            <a:ext cx="65856" cy="837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1600" tIns="40801" rIns="81600" bIns="40801"/>
          <a:lstStyle/>
          <a:p>
            <a:pPr defTabSz="816047">
              <a:defRPr/>
            </a:pPr>
            <a:endParaRPr lang="da-DK" sz="1600" dirty="0">
              <a:solidFill>
                <a:srgbClr val="001965"/>
              </a:solidFill>
            </a:endParaRPr>
          </a:p>
        </p:txBody>
      </p:sp>
      <p:sp>
        <p:nvSpPr>
          <p:cNvPr id="26642" name="Line 22"/>
          <p:cNvSpPr>
            <a:spLocks noChangeShapeType="1"/>
          </p:cNvSpPr>
          <p:nvPr/>
        </p:nvSpPr>
        <p:spPr bwMode="auto">
          <a:xfrm>
            <a:off x="1476747" y="2949311"/>
            <a:ext cx="65856" cy="837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1600" tIns="40801" rIns="81600" bIns="40801"/>
          <a:lstStyle/>
          <a:p>
            <a:pPr defTabSz="816047">
              <a:defRPr/>
            </a:pPr>
            <a:endParaRPr lang="da-DK" sz="1600" dirty="0">
              <a:solidFill>
                <a:srgbClr val="001965"/>
              </a:solidFill>
            </a:endParaRPr>
          </a:p>
        </p:txBody>
      </p:sp>
      <p:sp>
        <p:nvSpPr>
          <p:cNvPr id="26643" name="Line 23"/>
          <p:cNvSpPr>
            <a:spLocks noChangeShapeType="1"/>
          </p:cNvSpPr>
          <p:nvPr/>
        </p:nvSpPr>
        <p:spPr bwMode="auto">
          <a:xfrm>
            <a:off x="1476747" y="2597703"/>
            <a:ext cx="65856" cy="1674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1600" tIns="40801" rIns="81600" bIns="40801"/>
          <a:lstStyle/>
          <a:p>
            <a:pPr defTabSz="816047">
              <a:defRPr/>
            </a:pPr>
            <a:endParaRPr lang="da-DK" sz="1600" dirty="0">
              <a:solidFill>
                <a:srgbClr val="001965"/>
              </a:solidFill>
            </a:endParaRPr>
          </a:p>
        </p:txBody>
      </p:sp>
      <p:sp>
        <p:nvSpPr>
          <p:cNvPr id="26644" name="Line 24"/>
          <p:cNvSpPr>
            <a:spLocks noChangeShapeType="1"/>
          </p:cNvSpPr>
          <p:nvPr/>
        </p:nvSpPr>
        <p:spPr bwMode="auto">
          <a:xfrm>
            <a:off x="1476747" y="2246933"/>
            <a:ext cx="65856" cy="837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1600" tIns="40801" rIns="81600" bIns="40801"/>
          <a:lstStyle/>
          <a:p>
            <a:pPr defTabSz="816047">
              <a:defRPr/>
            </a:pPr>
            <a:endParaRPr lang="da-DK" sz="1600" dirty="0">
              <a:solidFill>
                <a:srgbClr val="001965"/>
              </a:solidFill>
            </a:endParaRPr>
          </a:p>
        </p:txBody>
      </p:sp>
      <p:sp>
        <p:nvSpPr>
          <p:cNvPr id="26645" name="Line 25"/>
          <p:cNvSpPr>
            <a:spLocks noChangeShapeType="1"/>
          </p:cNvSpPr>
          <p:nvPr/>
        </p:nvSpPr>
        <p:spPr bwMode="auto">
          <a:xfrm>
            <a:off x="1542610" y="2246933"/>
            <a:ext cx="6904881" cy="837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1600" tIns="40801" rIns="81600" bIns="40801"/>
          <a:lstStyle/>
          <a:p>
            <a:pPr defTabSz="816047">
              <a:defRPr/>
            </a:pPr>
            <a:endParaRPr lang="da-DK" sz="1600" dirty="0">
              <a:solidFill>
                <a:srgbClr val="001965"/>
              </a:solidFill>
            </a:endParaRPr>
          </a:p>
        </p:txBody>
      </p:sp>
      <p:sp>
        <p:nvSpPr>
          <p:cNvPr id="26646" name="Line 26"/>
          <p:cNvSpPr>
            <a:spLocks noChangeShapeType="1"/>
          </p:cNvSpPr>
          <p:nvPr/>
        </p:nvSpPr>
        <p:spPr bwMode="auto">
          <a:xfrm flipV="1">
            <a:off x="1542604" y="2246939"/>
            <a:ext cx="2232" cy="56927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1600" tIns="40801" rIns="81600" bIns="40801"/>
          <a:lstStyle/>
          <a:p>
            <a:pPr defTabSz="816047">
              <a:defRPr/>
            </a:pPr>
            <a:endParaRPr lang="da-DK" sz="1600" dirty="0">
              <a:solidFill>
                <a:srgbClr val="001965"/>
              </a:solidFill>
            </a:endParaRPr>
          </a:p>
        </p:txBody>
      </p:sp>
      <p:sp>
        <p:nvSpPr>
          <p:cNvPr id="26647" name="Line 27"/>
          <p:cNvSpPr>
            <a:spLocks noChangeShapeType="1"/>
          </p:cNvSpPr>
          <p:nvPr/>
        </p:nvSpPr>
        <p:spPr bwMode="auto">
          <a:xfrm flipV="1">
            <a:off x="3271615" y="2246939"/>
            <a:ext cx="2232" cy="56927"/>
          </a:xfrm>
          <a:prstGeom prst="line">
            <a:avLst/>
          </a:prstGeom>
          <a:noFill/>
          <a:ln w="9525">
            <a:solidFill>
              <a:srgbClr val="0033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1600" tIns="40801" rIns="81600" bIns="40801"/>
          <a:lstStyle/>
          <a:p>
            <a:pPr defTabSz="816047">
              <a:defRPr/>
            </a:pPr>
            <a:endParaRPr lang="da-DK" sz="1600" dirty="0">
              <a:solidFill>
                <a:srgbClr val="001965"/>
              </a:solidFill>
            </a:endParaRPr>
          </a:p>
        </p:txBody>
      </p:sp>
      <p:sp>
        <p:nvSpPr>
          <p:cNvPr id="26648" name="Line 28"/>
          <p:cNvSpPr>
            <a:spLocks noChangeShapeType="1"/>
          </p:cNvSpPr>
          <p:nvPr/>
        </p:nvSpPr>
        <p:spPr bwMode="auto">
          <a:xfrm flipV="1">
            <a:off x="5000639" y="2246939"/>
            <a:ext cx="1117" cy="56927"/>
          </a:xfrm>
          <a:prstGeom prst="line">
            <a:avLst/>
          </a:prstGeom>
          <a:noFill/>
          <a:ln w="9525">
            <a:solidFill>
              <a:srgbClr val="0033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1600" tIns="40801" rIns="81600" bIns="40801"/>
          <a:lstStyle/>
          <a:p>
            <a:pPr defTabSz="816047">
              <a:defRPr/>
            </a:pPr>
            <a:endParaRPr lang="da-DK" sz="1600" dirty="0">
              <a:solidFill>
                <a:srgbClr val="001965"/>
              </a:solidFill>
            </a:endParaRPr>
          </a:p>
        </p:txBody>
      </p:sp>
      <p:sp>
        <p:nvSpPr>
          <p:cNvPr id="26649" name="Line 29"/>
          <p:cNvSpPr>
            <a:spLocks noChangeShapeType="1"/>
          </p:cNvSpPr>
          <p:nvPr/>
        </p:nvSpPr>
        <p:spPr bwMode="auto">
          <a:xfrm flipV="1">
            <a:off x="6719590" y="2246939"/>
            <a:ext cx="2232" cy="56927"/>
          </a:xfrm>
          <a:prstGeom prst="line">
            <a:avLst/>
          </a:prstGeom>
          <a:noFill/>
          <a:ln w="9525">
            <a:solidFill>
              <a:srgbClr val="0033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1600" tIns="40801" rIns="81600" bIns="40801"/>
          <a:lstStyle/>
          <a:p>
            <a:pPr defTabSz="816047">
              <a:defRPr/>
            </a:pPr>
            <a:endParaRPr lang="da-DK" sz="1600" dirty="0">
              <a:solidFill>
                <a:srgbClr val="001965"/>
              </a:solidFill>
            </a:endParaRPr>
          </a:p>
        </p:txBody>
      </p:sp>
      <p:sp>
        <p:nvSpPr>
          <p:cNvPr id="26650" name="Line 30"/>
          <p:cNvSpPr>
            <a:spLocks noChangeShapeType="1"/>
          </p:cNvSpPr>
          <p:nvPr/>
        </p:nvSpPr>
        <p:spPr bwMode="auto">
          <a:xfrm flipV="1">
            <a:off x="8447498" y="2246939"/>
            <a:ext cx="1117" cy="56927"/>
          </a:xfrm>
          <a:prstGeom prst="line">
            <a:avLst/>
          </a:prstGeom>
          <a:noFill/>
          <a:ln w="9525">
            <a:solidFill>
              <a:srgbClr val="0033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1600" tIns="40801" rIns="81600" bIns="40801"/>
          <a:lstStyle/>
          <a:p>
            <a:pPr defTabSz="816047">
              <a:defRPr/>
            </a:pPr>
            <a:endParaRPr lang="da-DK" sz="1600" dirty="0">
              <a:solidFill>
                <a:srgbClr val="001965"/>
              </a:solidFill>
            </a:endParaRPr>
          </a:p>
        </p:txBody>
      </p:sp>
      <p:sp>
        <p:nvSpPr>
          <p:cNvPr id="26651" name="Rectangle 31"/>
          <p:cNvSpPr>
            <a:spLocks noChangeArrowheads="1"/>
          </p:cNvSpPr>
          <p:nvPr/>
        </p:nvSpPr>
        <p:spPr bwMode="auto">
          <a:xfrm>
            <a:off x="1020217" y="3882747"/>
            <a:ext cx="35747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816047">
              <a:defRPr/>
            </a:pPr>
            <a:r>
              <a:rPr lang="da-DK" sz="1600" dirty="0" smtClean="0">
                <a:solidFill>
                  <a:srgbClr val="001965"/>
                </a:solidFill>
              </a:rPr>
              <a:t>–</a:t>
            </a:r>
            <a:r>
              <a:rPr lang="da-DK" sz="1400" dirty="0" smtClean="0">
                <a:solidFill>
                  <a:srgbClr val="001965"/>
                </a:solidFill>
              </a:rPr>
              <a:t>50</a:t>
            </a:r>
            <a:endParaRPr lang="da-DK" sz="1400" dirty="0">
              <a:solidFill>
                <a:srgbClr val="001965"/>
              </a:solidFill>
            </a:endParaRPr>
          </a:p>
        </p:txBody>
      </p:sp>
      <p:sp>
        <p:nvSpPr>
          <p:cNvPr id="26652" name="Rectangle 32"/>
          <p:cNvSpPr>
            <a:spLocks noChangeArrowheads="1"/>
          </p:cNvSpPr>
          <p:nvPr/>
        </p:nvSpPr>
        <p:spPr bwMode="auto">
          <a:xfrm>
            <a:off x="1020217" y="3545369"/>
            <a:ext cx="35747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816047">
              <a:defRPr/>
            </a:pPr>
            <a:r>
              <a:rPr lang="da-DK" sz="1600" dirty="0" smtClean="0">
                <a:solidFill>
                  <a:srgbClr val="001965"/>
                </a:solidFill>
              </a:rPr>
              <a:t>–</a:t>
            </a:r>
            <a:r>
              <a:rPr lang="da-DK" sz="1400" dirty="0" smtClean="0">
                <a:solidFill>
                  <a:srgbClr val="001965"/>
                </a:solidFill>
              </a:rPr>
              <a:t>40</a:t>
            </a:r>
            <a:endParaRPr lang="da-DK" sz="1400" dirty="0">
              <a:solidFill>
                <a:srgbClr val="001965"/>
              </a:solidFill>
            </a:endParaRPr>
          </a:p>
        </p:txBody>
      </p:sp>
      <p:sp>
        <p:nvSpPr>
          <p:cNvPr id="26653" name="Rectangle 33"/>
          <p:cNvSpPr>
            <a:spLocks noChangeArrowheads="1"/>
          </p:cNvSpPr>
          <p:nvPr/>
        </p:nvSpPr>
        <p:spPr bwMode="auto">
          <a:xfrm>
            <a:off x="1020217" y="3195437"/>
            <a:ext cx="35747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816047">
              <a:defRPr/>
            </a:pPr>
            <a:r>
              <a:rPr lang="da-DK" sz="1600" dirty="0" smtClean="0">
                <a:solidFill>
                  <a:srgbClr val="001965"/>
                </a:solidFill>
              </a:rPr>
              <a:t>–</a:t>
            </a:r>
            <a:r>
              <a:rPr lang="da-DK" sz="1400" dirty="0" smtClean="0">
                <a:solidFill>
                  <a:srgbClr val="001965"/>
                </a:solidFill>
              </a:rPr>
              <a:t>30</a:t>
            </a:r>
            <a:endParaRPr lang="da-DK" sz="1400" dirty="0">
              <a:solidFill>
                <a:srgbClr val="001965"/>
              </a:solidFill>
            </a:endParaRPr>
          </a:p>
        </p:txBody>
      </p:sp>
      <p:sp>
        <p:nvSpPr>
          <p:cNvPr id="26654" name="Rectangle 34"/>
          <p:cNvSpPr>
            <a:spLocks noChangeArrowheads="1"/>
          </p:cNvSpPr>
          <p:nvPr/>
        </p:nvSpPr>
        <p:spPr bwMode="auto">
          <a:xfrm>
            <a:off x="1020217" y="2837136"/>
            <a:ext cx="35747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816047">
              <a:defRPr/>
            </a:pPr>
            <a:r>
              <a:rPr lang="da-DK" sz="1600" dirty="0" smtClean="0">
                <a:solidFill>
                  <a:srgbClr val="001965"/>
                </a:solidFill>
              </a:rPr>
              <a:t>–</a:t>
            </a:r>
            <a:r>
              <a:rPr lang="da-DK" sz="1400" dirty="0" smtClean="0">
                <a:solidFill>
                  <a:srgbClr val="001965"/>
                </a:solidFill>
              </a:rPr>
              <a:t>20</a:t>
            </a:r>
            <a:endParaRPr lang="da-DK" sz="1400" dirty="0">
              <a:solidFill>
                <a:srgbClr val="001965"/>
              </a:solidFill>
            </a:endParaRPr>
          </a:p>
        </p:txBody>
      </p:sp>
      <p:sp>
        <p:nvSpPr>
          <p:cNvPr id="26655" name="Rectangle 35"/>
          <p:cNvSpPr>
            <a:spLocks noChangeArrowheads="1"/>
          </p:cNvSpPr>
          <p:nvPr/>
        </p:nvSpPr>
        <p:spPr bwMode="auto">
          <a:xfrm>
            <a:off x="1020217" y="2486367"/>
            <a:ext cx="35747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816047">
              <a:defRPr/>
            </a:pPr>
            <a:r>
              <a:rPr lang="da-DK" sz="1600" dirty="0" smtClean="0">
                <a:solidFill>
                  <a:srgbClr val="001965"/>
                </a:solidFill>
              </a:rPr>
              <a:t>–</a:t>
            </a:r>
            <a:r>
              <a:rPr lang="da-DK" sz="1400" dirty="0" smtClean="0">
                <a:solidFill>
                  <a:srgbClr val="001965"/>
                </a:solidFill>
              </a:rPr>
              <a:t>10</a:t>
            </a:r>
            <a:endParaRPr lang="da-DK" sz="1400" dirty="0">
              <a:solidFill>
                <a:srgbClr val="001965"/>
              </a:solidFill>
            </a:endParaRPr>
          </a:p>
        </p:txBody>
      </p:sp>
      <p:sp>
        <p:nvSpPr>
          <p:cNvPr id="26656" name="Rectangle 36"/>
          <p:cNvSpPr>
            <a:spLocks noChangeArrowheads="1"/>
          </p:cNvSpPr>
          <p:nvPr/>
        </p:nvSpPr>
        <p:spPr bwMode="auto">
          <a:xfrm>
            <a:off x="1247924" y="2154008"/>
            <a:ext cx="11381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816047">
              <a:defRPr/>
            </a:pPr>
            <a:r>
              <a:rPr lang="da-DK" sz="1400" dirty="0" smtClean="0">
                <a:solidFill>
                  <a:srgbClr val="001965"/>
                </a:solidFill>
              </a:rPr>
              <a:t>0</a:t>
            </a:r>
            <a:endParaRPr lang="da-DK" sz="1400" dirty="0">
              <a:solidFill>
                <a:srgbClr val="001965"/>
              </a:solidFill>
            </a:endParaRPr>
          </a:p>
        </p:txBody>
      </p:sp>
      <p:sp>
        <p:nvSpPr>
          <p:cNvPr id="1061" name="Rectangle 37"/>
          <p:cNvSpPr>
            <a:spLocks noChangeArrowheads="1"/>
          </p:cNvSpPr>
          <p:nvPr/>
        </p:nvSpPr>
        <p:spPr bwMode="auto">
          <a:xfrm>
            <a:off x="1703069" y="1585317"/>
            <a:ext cx="156854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16047">
              <a:defRPr/>
            </a:pPr>
            <a:r>
              <a:rPr lang="da-DK" sz="14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abetes-</a:t>
            </a:r>
            <a:br>
              <a:rPr lang="da-DK" sz="14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a-DK" sz="1400" b="1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relateerde</a:t>
            </a:r>
            <a:r>
              <a:rPr lang="da-DK" sz="14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da-DK" sz="14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a-DK" sz="1400" b="1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erfte</a:t>
            </a:r>
            <a:endParaRPr lang="da-DK" sz="1400" b="1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63" name="Rectangle 39"/>
          <p:cNvSpPr>
            <a:spLocks noChangeArrowheads="1"/>
          </p:cNvSpPr>
          <p:nvPr/>
        </p:nvSpPr>
        <p:spPr bwMode="auto">
          <a:xfrm>
            <a:off x="3491365" y="1808262"/>
            <a:ext cx="117788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816047">
              <a:defRPr/>
            </a:pPr>
            <a:r>
              <a:rPr lang="da-DK" sz="1400" b="1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ocard</a:t>
            </a:r>
            <a:r>
              <a:rPr lang="da-DK" sz="14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a-DK" sz="1400" b="1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farct</a:t>
            </a:r>
            <a:endParaRPr lang="da-DK" sz="1400" b="1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65" name="Rectangle 41"/>
          <p:cNvSpPr>
            <a:spLocks noChangeArrowheads="1"/>
          </p:cNvSpPr>
          <p:nvPr/>
        </p:nvSpPr>
        <p:spPr bwMode="auto">
          <a:xfrm>
            <a:off x="5197553" y="1808262"/>
            <a:ext cx="117891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816047">
              <a:defRPr/>
            </a:pPr>
            <a:r>
              <a:rPr lang="da-DK" sz="1400" b="1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crovasculaire</a:t>
            </a:r>
            <a:r>
              <a:rPr lang="da-DK" sz="14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da-DK" sz="14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a-DK" sz="1400" b="1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licaties</a:t>
            </a:r>
            <a:endParaRPr lang="da-DK" sz="1400" b="1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67" name="Rectangle 43"/>
          <p:cNvSpPr>
            <a:spLocks noChangeArrowheads="1"/>
          </p:cNvSpPr>
          <p:nvPr/>
        </p:nvSpPr>
        <p:spPr bwMode="auto">
          <a:xfrm>
            <a:off x="7090418" y="1356558"/>
            <a:ext cx="1024384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816047">
              <a:defRPr/>
            </a:pPr>
            <a:r>
              <a:rPr lang="da-DK" sz="1400" b="1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putatie</a:t>
            </a:r>
            <a:r>
              <a:rPr lang="da-DK" sz="14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da-DK" sz="14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a-DK" sz="14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 </a:t>
            </a:r>
            <a:r>
              <a:rPr lang="da-DK" sz="1400" b="1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erfte</a:t>
            </a:r>
            <a:r>
              <a:rPr lang="da-DK" sz="14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da-DK" sz="14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a-DK" sz="1400" b="1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or</a:t>
            </a:r>
            <a:r>
              <a:rPr lang="da-DK" sz="14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erifeer </a:t>
            </a:r>
            <a:br>
              <a:rPr lang="da-DK" sz="1400" b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a-DK" sz="1400" b="1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atlijden</a:t>
            </a:r>
            <a:endParaRPr lang="da-DK" sz="1400" b="1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661" name="Rectangle 43"/>
          <p:cNvSpPr>
            <a:spLocks noChangeArrowheads="1"/>
          </p:cNvSpPr>
          <p:nvPr/>
        </p:nvSpPr>
        <p:spPr bwMode="auto">
          <a:xfrm>
            <a:off x="107156" y="4849658"/>
            <a:ext cx="4572000" cy="25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1600" tIns="40801" rIns="81600" bIns="40801">
            <a:spAutoFit/>
          </a:bodyPr>
          <a:lstStyle/>
          <a:p>
            <a:pPr defTabSz="816047">
              <a:defRPr/>
            </a:pPr>
            <a:r>
              <a:rPr lang="da-DK" sz="11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atton </a:t>
            </a:r>
            <a:r>
              <a:rPr lang="da-DK" sz="1100" i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t al</a:t>
            </a:r>
            <a:r>
              <a:rPr lang="da-DK" sz="11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da-DK" sz="1100" i="1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MJ</a:t>
            </a:r>
            <a:r>
              <a:rPr lang="da-DK" sz="11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000;321:405–12</a:t>
            </a:r>
            <a:endParaRPr lang="da-DK" sz="1100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23701" y="951856"/>
            <a:ext cx="8496598" cy="328620"/>
          </a:xfrm>
          <a:prstGeom prst="rect">
            <a:avLst/>
          </a:prstGeom>
        </p:spPr>
        <p:txBody>
          <a:bodyPr lIns="81600" tIns="40801" rIns="81600" bIns="40801">
            <a:spAutoFit/>
          </a:bodyPr>
          <a:lstStyle/>
          <a:p>
            <a:pPr defTabSz="816047">
              <a:spcBef>
                <a:spcPct val="50000"/>
              </a:spcBef>
              <a:defRPr/>
            </a:pPr>
            <a:r>
              <a:rPr lang="da-DK" sz="16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ke 1% HbA</a:t>
            </a:r>
            <a:r>
              <a:rPr lang="da-DK" sz="1600" baseline="-250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c</a:t>
            </a:r>
            <a:r>
              <a:rPr lang="da-DK" sz="16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a-DK" sz="1600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laging</a:t>
            </a:r>
            <a:r>
              <a:rPr lang="da-DK" sz="16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a-DK" sz="1600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tekent</a:t>
            </a:r>
            <a:r>
              <a:rPr lang="da-DK" sz="16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a-DK" sz="1600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en</a:t>
            </a:r>
            <a:r>
              <a:rPr lang="da-DK" sz="16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a-DK" sz="1600" dirty="0" err="1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sicoreductie</a:t>
            </a:r>
            <a:r>
              <a:rPr lang="da-DK" sz="1600" dirty="0" smtClean="0">
                <a:solidFill>
                  <a:srgbClr val="0019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an:</a:t>
            </a:r>
            <a:endParaRPr lang="da-DK" sz="1600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8026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16800" y="1461948"/>
            <a:ext cx="5408138" cy="2955789"/>
          </a:xfrm>
        </p:spPr>
        <p:txBody>
          <a:bodyPr>
            <a:noAutofit/>
          </a:bodyPr>
          <a:lstStyle/>
          <a:p>
            <a:r>
              <a:rPr lang="nl-NL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sico CV- aandoeningen stijgt, met stijgend HbA</a:t>
            </a:r>
            <a:r>
              <a:rPr lang="nl-NL" sz="1600" baseline="-25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c</a:t>
            </a:r>
            <a:r>
              <a:rPr lang="nl-NL" sz="1600" baseline="30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  <a:p>
            <a:r>
              <a:rPr lang="nl-NL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CCT: ‘strikte’ </a:t>
            </a:r>
            <a:r>
              <a:rPr lang="nl-NL" sz="16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lykemische</a:t>
            </a:r>
            <a:r>
              <a:rPr lang="nl-NL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ntrole reduceert risico </a:t>
            </a:r>
            <a:r>
              <a:rPr lang="nl-NL" sz="16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crovasculaire</a:t>
            </a:r>
            <a:r>
              <a:rPr lang="nl-NL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mplicaties T1DM</a:t>
            </a:r>
            <a:r>
              <a:rPr lang="nl-NL" sz="1600" baseline="30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  <a:p>
            <a:r>
              <a:rPr lang="nl-NL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ikte </a:t>
            </a:r>
            <a:r>
              <a:rPr lang="nl-NL" sz="16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lykemische</a:t>
            </a:r>
            <a:r>
              <a:rPr lang="nl-NL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ntrole gerelateerd reductie CV-aandoeningen?</a:t>
            </a:r>
            <a:r>
              <a:rPr lang="nl-NL" sz="1600" baseline="30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  <a:p>
            <a:pPr marL="265113" lvl="1" indent="-265113">
              <a:buClr>
                <a:schemeClr val="accent1"/>
              </a:buClr>
            </a:pPr>
            <a:r>
              <a:rPr lang="nl-NL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en relatie </a:t>
            </a:r>
            <a:r>
              <a:rPr lang="nl-NL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lykemische</a:t>
            </a:r>
            <a:r>
              <a:rPr lang="nl-NL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ntrole en ‘</a:t>
            </a:r>
            <a:r>
              <a:rPr lang="nl-NL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ronary</a:t>
            </a:r>
            <a:r>
              <a:rPr lang="nl-NL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sculary</a:t>
            </a:r>
            <a:r>
              <a:rPr lang="nl-NL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nction</a:t>
            </a:r>
            <a:r>
              <a:rPr lang="nl-NL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’ bij patiënten met T2DM</a:t>
            </a:r>
            <a:r>
              <a:rPr lang="nl-NL" baseline="30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  <a:p>
            <a:pPr marL="265113" lvl="1" indent="-265113">
              <a:buClr>
                <a:schemeClr val="accent1"/>
              </a:buClr>
            </a:pPr>
            <a:r>
              <a:rPr lang="nl-NL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gelijke oorzaken: HbA</a:t>
            </a:r>
            <a:r>
              <a:rPr lang="nl-NL" baseline="-25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c</a:t>
            </a:r>
            <a:r>
              <a:rPr lang="nl-NL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arget, gewichtstoename, </a:t>
            </a:r>
            <a:r>
              <a:rPr lang="nl-NL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ypoglykemieën</a:t>
            </a:r>
            <a:r>
              <a:rPr lang="nl-NL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andere bijwerkingen en de duur van de studie</a:t>
            </a:r>
            <a:r>
              <a:rPr lang="nl-NL" baseline="30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</a:p>
          <a:p>
            <a:pPr marL="0" lvl="1" indent="0">
              <a:buClr>
                <a:schemeClr val="accent1"/>
              </a:buClr>
              <a:buNone/>
            </a:pPr>
            <a:endParaRPr lang="en-GB" sz="14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GB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6800" y="734082"/>
            <a:ext cx="8510400" cy="391412"/>
          </a:xfrm>
        </p:spPr>
        <p:txBody>
          <a:bodyPr/>
          <a:lstStyle/>
          <a:p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 </a:t>
            </a:r>
            <a:r>
              <a:rPr lang="en-GB" sz="18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crovasculaire</a:t>
            </a:r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paradox” </a:t>
            </a:r>
            <a:br>
              <a:rPr lang="en-GB" sz="1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GB" sz="1800" b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5724937" y="1550331"/>
            <a:ext cx="3279913" cy="2360337"/>
          </a:xfrm>
          <a:prstGeom prst="roundRect">
            <a:avLst>
              <a:gd name="adj" fmla="val 5719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r>
              <a:rPr lang="nl-NL" sz="1600" b="1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crovasculaire</a:t>
            </a:r>
            <a:r>
              <a:rPr lang="nl-NL" sz="16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“paradox”</a:t>
            </a:r>
          </a:p>
          <a:p>
            <a:pPr defTabSz="685800"/>
            <a:endParaRPr lang="nl-NL" sz="1600" dirty="0" smtClea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/>
            <a:r>
              <a:rPr lang="nl-NL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len om </a:t>
            </a:r>
            <a:r>
              <a:rPr lang="nl-NL" sz="16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crovasculaire</a:t>
            </a:r>
            <a:r>
              <a:rPr lang="nl-NL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mplicaties in dezelfde mate te reduceren als </a:t>
            </a:r>
            <a:r>
              <a:rPr lang="nl-NL" sz="16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crovasculaire</a:t>
            </a:r>
            <a:r>
              <a:rPr lang="nl-NL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mplicaties, ondanks vergelijkbare HbA</a:t>
            </a:r>
            <a:r>
              <a:rPr lang="nl-NL" sz="1600" baseline="-25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c</a:t>
            </a:r>
            <a:r>
              <a:rPr lang="nl-NL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educties.</a:t>
            </a:r>
            <a:endParaRPr lang="nl-NL" sz="16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30200" y="4635220"/>
            <a:ext cx="7821579" cy="323165"/>
          </a:xfrm>
          <a:prstGeom prst="rect">
            <a:avLst/>
          </a:prstGeom>
        </p:spPr>
        <p:txBody>
          <a:bodyPr vert="horz" wrap="square" lIns="0" tIns="0" rIns="216000" bIns="0" rtlCol="0" anchor="b" anchorCtr="0">
            <a:spAutoFit/>
          </a:bodyPr>
          <a:lstStyle/>
          <a:p>
            <a:pPr>
              <a:buClr>
                <a:srgbClr val="009FDA"/>
              </a:buClr>
              <a:buFont typeface="Verdana" pitchFamily="34" charset="0"/>
              <a:buNone/>
            </a:pPr>
            <a:r>
              <a:rPr lang="en-GB" altLang="en-US" sz="700" dirty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, Stratton IM et al. BMJ 2000;321:405–412  2, The Diabetes Control and Complications Trial Research </a:t>
            </a:r>
            <a:r>
              <a:rPr lang="en-GB" altLang="en-US" sz="700" dirty="0" err="1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oupN</a:t>
            </a:r>
            <a:r>
              <a:rPr lang="en-GB" altLang="en-US" sz="700" dirty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altLang="en-US" sz="700" dirty="0" err="1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gl</a:t>
            </a:r>
            <a:r>
              <a:rPr lang="en-GB" altLang="en-US" sz="700" dirty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J Med 1993; 329:977-986  3, </a:t>
            </a:r>
            <a:r>
              <a:rPr lang="en-GB" altLang="en-US" sz="700" dirty="0" err="1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oussageon</a:t>
            </a:r>
            <a:r>
              <a:rPr lang="en-GB" altLang="en-US" sz="700" dirty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 et al. BMJ. 2011;343: d4619  4. Valenzuela-Garcia LF et al. </a:t>
            </a:r>
            <a:r>
              <a:rPr lang="en-GB" altLang="en-US" sz="700" dirty="0" err="1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diovasc</a:t>
            </a:r>
            <a:r>
              <a:rPr lang="en-GB" altLang="en-US" sz="700" dirty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altLang="en-US" sz="700" dirty="0" err="1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abetol</a:t>
            </a:r>
            <a:r>
              <a:rPr lang="en-GB" altLang="en-US" sz="700" dirty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2015;14:106  5. </a:t>
            </a:r>
            <a:r>
              <a:rPr lang="en-GB" altLang="en-US" sz="700" dirty="0" err="1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vogaro</a:t>
            </a:r>
            <a:r>
              <a:rPr lang="en-GB" altLang="en-US" sz="700" dirty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 et al. </a:t>
            </a:r>
            <a:r>
              <a:rPr lang="en-GB" altLang="en-US" sz="700" dirty="0" err="1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diovasc</a:t>
            </a:r>
            <a:r>
              <a:rPr lang="en-GB" altLang="en-US" sz="700" dirty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altLang="en-US" sz="700" dirty="0" err="1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abetol</a:t>
            </a:r>
            <a:r>
              <a:rPr lang="en-GB" altLang="en-US" sz="700" dirty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2016:15: 111</a:t>
            </a:r>
          </a:p>
          <a:p>
            <a:pPr>
              <a:buClr>
                <a:srgbClr val="009FDA"/>
              </a:buClr>
              <a:buFont typeface="Verdana" pitchFamily="34" charset="0"/>
              <a:buNone/>
            </a:pPr>
            <a:r>
              <a:rPr lang="en-GB" altLang="en-US" sz="700" dirty="0">
                <a:solidFill>
                  <a:srgbClr val="82786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GB" sz="700" dirty="0">
              <a:solidFill>
                <a:srgbClr val="82786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7877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n </a:t>
            </a:r>
            <a:r>
              <a:rPr lang="en-GB" sz="18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lucocentricity</a:t>
            </a:r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8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ar</a:t>
            </a:r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‘outcome based’  </a:t>
            </a:r>
            <a:r>
              <a:rPr lang="en-GB" sz="18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handeling</a:t>
            </a:r>
            <a:r>
              <a:rPr lang="en-GB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2DM?</a:t>
            </a:r>
            <a:endParaRPr lang="en-GB" sz="1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42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119" y="1655689"/>
            <a:ext cx="4670626" cy="237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Placeholder 1"/>
          <p:cNvSpPr txBox="1">
            <a:spLocks/>
          </p:cNvSpPr>
          <p:nvPr/>
        </p:nvSpPr>
        <p:spPr>
          <a:xfrm>
            <a:off x="316804" y="4255263"/>
            <a:ext cx="8509700" cy="770826"/>
          </a:xfrm>
          <a:prstGeom prst="rect">
            <a:avLst/>
          </a:prstGeom>
        </p:spPr>
        <p:txBody>
          <a:bodyPr vert="horz" lIns="0" tIns="0" rIns="216000" bIns="0" rtlCol="0" anchor="b">
            <a:norm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Verdana" pitchFamily="34" charset="0"/>
              <a:buNone/>
              <a:defRPr sz="800" kern="1200">
                <a:solidFill>
                  <a:srgbClr val="82786F"/>
                </a:solidFill>
                <a:latin typeface="+mn-lt"/>
                <a:ea typeface="+mn-ea"/>
                <a:cs typeface="+mn-cs"/>
              </a:defRPr>
            </a:lvl1pPr>
            <a:lvl2pPr marL="536561" indent="-271457" algn="l" defTabSz="914378" rtl="0" eaLnBrk="1" latinLnBrk="0" hangingPunct="1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808018" indent="-271457" algn="l" defTabSz="914378" rtl="0" eaLnBrk="1" latinLnBrk="0" hangingPunct="1">
              <a:spcBef>
                <a:spcPct val="20000"/>
              </a:spcBef>
              <a:buClr>
                <a:schemeClr val="accent5"/>
              </a:buClr>
              <a:buFont typeface="Verdana" pitchFamily="34" charset="0"/>
              <a:buChar char="•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985814" indent="-177796" algn="l" defTabSz="914378" rtl="0" eaLnBrk="1" latinLnBrk="0" hangingPunct="1">
              <a:spcBef>
                <a:spcPct val="20000"/>
              </a:spcBef>
              <a:buClr>
                <a:schemeClr val="accent3"/>
              </a:buClr>
              <a:buFont typeface="Verdana" pitchFamily="34" charset="0"/>
              <a:buChar char="•"/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1257269" indent="-184145" algn="l" defTabSz="914378" rtl="0" eaLnBrk="1" latinLnBrk="0" hangingPunct="1">
              <a:spcBef>
                <a:spcPct val="20000"/>
              </a:spcBef>
              <a:buClr>
                <a:srgbClr val="001423"/>
              </a:buClr>
              <a:buFont typeface="Verdana" pitchFamily="34" charset="0"/>
              <a:buChar char="•"/>
              <a:defRPr sz="11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9FDA"/>
              </a:buClr>
            </a:pPr>
            <a:r>
              <a:rPr lang="en-GB" sz="700" dirty="0" smtClean="0">
                <a:solidFill>
                  <a:srgbClr val="E0DED8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V, cardiovascular; T2DM, type 2 diabetes mellitus</a:t>
            </a:r>
            <a:r>
              <a:rPr lang="de-DE" sz="700" dirty="0">
                <a:solidFill>
                  <a:srgbClr val="E0DED8">
                    <a:lumMod val="50000"/>
                  </a:srgbClr>
                </a:solidFill>
              </a:rPr>
              <a:t>http://</a:t>
            </a:r>
            <a:r>
              <a:rPr lang="de-DE" sz="700" dirty="0" smtClean="0">
                <a:solidFill>
                  <a:srgbClr val="E0DED8">
                    <a:lumMod val="50000"/>
                  </a:srgbClr>
                </a:solidFill>
              </a:rPr>
              <a:t>www.lipidcenter.com/pdf/FIELD_Essentials_Monograph.pdf; </a:t>
            </a:r>
            <a:r>
              <a:rPr lang="en-CA" sz="700" u="sng" dirty="0">
                <a:solidFill>
                  <a:srgbClr val="E0DED8">
                    <a:lumMod val="50000"/>
                  </a:srgbClr>
                </a:solidFill>
                <a:hlinkClick r:id="rId4"/>
              </a:rPr>
              <a:t>https://www.ncbi.nlm.nih.gov/m/pubmed/15325833/Reg</a:t>
            </a:r>
            <a:endParaRPr lang="de-DE" sz="700" dirty="0">
              <a:solidFill>
                <a:srgbClr val="E0DED8">
                  <a:lumMod val="50000"/>
                </a:srgbClr>
              </a:solidFill>
            </a:endParaRPr>
          </a:p>
          <a:p>
            <a:pPr defTabSz="914108">
              <a:buClr>
                <a:srgbClr val="009FDA"/>
              </a:buClr>
            </a:pPr>
            <a:r>
              <a:rPr lang="en-GB" sz="700" dirty="0">
                <a:solidFill>
                  <a:srgbClr val="E0DED8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utten, G. </a:t>
            </a:r>
            <a:r>
              <a:rPr lang="en-GB" sz="700" dirty="0" err="1">
                <a:solidFill>
                  <a:srgbClr val="E0DED8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GB" sz="700" dirty="0">
                <a:solidFill>
                  <a:srgbClr val="E0DED8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700" dirty="0" err="1">
                <a:solidFill>
                  <a:srgbClr val="E0DED8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eren</a:t>
            </a:r>
            <a:r>
              <a:rPr lang="en-GB" sz="700" dirty="0">
                <a:solidFill>
                  <a:srgbClr val="E0DED8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HG </a:t>
            </a:r>
            <a:r>
              <a:rPr lang="en-GB" sz="700" dirty="0" err="1">
                <a:solidFill>
                  <a:srgbClr val="E0DED8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ndaard</a:t>
            </a:r>
            <a:r>
              <a:rPr lang="en-GB" sz="700" dirty="0">
                <a:solidFill>
                  <a:srgbClr val="E0DED8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iabetes mellitus type 2 (</a:t>
            </a:r>
            <a:r>
              <a:rPr lang="en-GB" sz="700" dirty="0" err="1">
                <a:solidFill>
                  <a:srgbClr val="E0DED8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rde</a:t>
            </a:r>
            <a:r>
              <a:rPr lang="en-GB" sz="700" dirty="0">
                <a:solidFill>
                  <a:srgbClr val="E0DED8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700" dirty="0" err="1">
                <a:solidFill>
                  <a:srgbClr val="E0DED8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rziening</a:t>
            </a:r>
            <a:r>
              <a:rPr lang="en-GB" sz="700" dirty="0">
                <a:solidFill>
                  <a:srgbClr val="E0DED8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  <a:r>
              <a:rPr lang="en-GB" sz="700" dirty="0" err="1">
                <a:solidFill>
                  <a:srgbClr val="E0DED8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uisarts</a:t>
            </a:r>
            <a:r>
              <a:rPr lang="en-GB" sz="700" dirty="0">
                <a:solidFill>
                  <a:srgbClr val="E0DED8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700" dirty="0" err="1">
                <a:solidFill>
                  <a:srgbClr val="E0DED8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GB" sz="700" dirty="0">
                <a:solidFill>
                  <a:srgbClr val="E0DED8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700" dirty="0" err="1">
                <a:solidFill>
                  <a:srgbClr val="E0DED8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tenschap</a:t>
            </a:r>
            <a:r>
              <a:rPr lang="en-GB" sz="700" dirty="0">
                <a:solidFill>
                  <a:srgbClr val="E0DED8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013: 56 (10): 512-525</a:t>
            </a:r>
          </a:p>
          <a:p>
            <a:pPr>
              <a:buClr>
                <a:srgbClr val="009FDA"/>
              </a:buClr>
            </a:pPr>
            <a:r>
              <a:rPr lang="en-GB" sz="700" dirty="0" smtClean="0">
                <a:solidFill>
                  <a:srgbClr val="E0DED8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American </a:t>
            </a:r>
            <a:r>
              <a:rPr lang="en-GB" sz="700" dirty="0">
                <a:solidFill>
                  <a:srgbClr val="E0DED8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abetes Association. Pharmacologic approaches to </a:t>
            </a:r>
            <a:r>
              <a:rPr lang="en-GB" sz="700" dirty="0" err="1">
                <a:solidFill>
                  <a:srgbClr val="E0DED8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lycemic</a:t>
            </a:r>
            <a:r>
              <a:rPr lang="en-GB" sz="700" dirty="0">
                <a:solidFill>
                  <a:srgbClr val="E0DED8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treatment. Sec. 8. In Standards of Medical Care in Diabetes2017. Diabetes Care 2017; 40(Suppl. 1):</a:t>
            </a:r>
            <a:r>
              <a:rPr lang="en-GB" sz="700" dirty="0" smtClean="0">
                <a:solidFill>
                  <a:srgbClr val="E0DED8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64–S74</a:t>
            </a:r>
            <a:endParaRPr lang="en-GB" sz="700" dirty="0">
              <a:solidFill>
                <a:srgbClr val="E0DED8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401340" y="1052623"/>
            <a:ext cx="332799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VRM neemt een belangrijke plaats in bij de behandeling van T2DM</a:t>
            </a:r>
          </a:p>
          <a:p>
            <a:endParaRPr lang="nl-NL" sz="1400" dirty="0" smtClea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l-NL" sz="1400" dirty="0" smtClea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nl-NL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chter, zelfs bij de beste standaardtherapie voor CV risicofactoren, blijft er nog een verhoogd ‘ </a:t>
            </a:r>
            <a:r>
              <a:rPr lang="nl-NL" sz="1400" b="1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idual</a:t>
            </a:r>
            <a:r>
              <a:rPr lang="nl-NL" sz="14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isk</a:t>
            </a:r>
            <a:r>
              <a:rPr lang="nl-NL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’ op CV aandoeningen bij </a:t>
            </a:r>
            <a:r>
              <a:rPr lang="nl-NL" sz="14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tienten</a:t>
            </a:r>
            <a:r>
              <a:rPr lang="nl-NL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et T2DM</a:t>
            </a:r>
          </a:p>
          <a:p>
            <a:endParaRPr lang="nl-NL" sz="1400" dirty="0" smtClea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nl-NL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n nieuwe diabetesmedicatie dient aangetoond te worden dat deze niet gerelateerd is aan een onacceptabele toename van het cardiovasculair risico (non-inferioriteit op het primaire eindpunt MACE)</a:t>
            </a:r>
          </a:p>
          <a:p>
            <a:endParaRPr lang="en-GB" sz="1400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GB" sz="1400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GB" sz="1400" dirty="0" smtClean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GB" sz="1400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GB" sz="1400" dirty="0">
              <a:solidFill>
                <a:srgbClr val="00196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2560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3iiqBc50GoL4nFgB480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3UdEnMn0GarKZ.ue3CR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WUNOcHVkSZpISrcMWe8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3UdEnMn0GarKZ.ue3CR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3UdEnMn0GarKZ.ue3C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DfteIP5ke.8B3Q60nk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3_Blank">
  <a:themeElements>
    <a:clrScheme name="NN Microsoft Office Color Scheme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</a:theme>
</file>

<file path=ppt/theme/theme11.xml><?xml version="1.0" encoding="utf-8"?>
<a:theme xmlns:a="http://schemas.openxmlformats.org/drawingml/2006/main" name="4_NN_CD_16-9_Beta2">
  <a:themeElements>
    <a:clrScheme name="Custom 3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009FDA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  <a:extLst>
    <a:ext uri="{05A4C25C-085E-4340-85A3-A5531E510DB2}">
      <thm15:themeFamily xmlns:thm15="http://schemas.microsoft.com/office/thememl/2012/main" xmlns="" name="NN_CD_16-9_Beta2.potx" id="{8694E4AD-08C0-47F4-8CAF-D8B608D1CEB0}" vid="{407A2282-2324-402C-8522-77AA571EABD3}"/>
    </a:ext>
  </a:extLst>
</a:theme>
</file>

<file path=ppt/theme/theme12.xml><?xml version="1.0" encoding="utf-8"?>
<a:theme xmlns:a="http://schemas.openxmlformats.org/drawingml/2006/main" name="4_NN_Neutral_16-9">
  <a:themeElements>
    <a:clrScheme name="NN Microsoft Office Color Scheme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/>
        </a:defPPr>
      </a:lstStyle>
      <a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a:style>
    </a:spDef>
    <a:lnDef>
      <a:spPr>
        <a:ln w="12700">
          <a:solidFill>
            <a:srgbClr val="001965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NN_Neutral_16-9">
  <a:themeElements>
    <a:clrScheme name="NN Microsoft Office Color Scheme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Blank">
  <a:themeElements>
    <a:clrScheme name="NN Microsoft Office Color Scheme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</a:theme>
</file>

<file path=ppt/theme/theme5.xml><?xml version="1.0" encoding="utf-8"?>
<a:theme xmlns:a="http://schemas.openxmlformats.org/drawingml/2006/main" name="1_blank">
  <a:themeElements>
    <a:clrScheme name="NN Microsoft Office Color Scheme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  <a:extLst>
    <a:ext uri="{05A4C25C-085E-4340-85A3-A5531E510DB2}">
      <thm15:themeFamily xmlns:thm15="http://schemas.microsoft.com/office/thememl/2012/main" xmlns="" name="NN_Neutral_16-9_Beta2.potx" id="{21201BA1-2AA5-4963-A710-9949ABD9F861}" vid="{91C5D067-80C1-4372-80D3-7F673B84C551}"/>
    </a:ext>
  </a:extLst>
</a:theme>
</file>

<file path=ppt/theme/theme6.xml><?xml version="1.0" encoding="utf-8"?>
<a:theme xmlns:a="http://schemas.openxmlformats.org/drawingml/2006/main" name="1_NN_Neutral_16-9">
  <a:themeElements>
    <a:clrScheme name="NN Microsoft Office Color Scheme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</a:theme>
</file>

<file path=ppt/theme/theme7.xml><?xml version="1.0" encoding="utf-8"?>
<a:theme xmlns:a="http://schemas.openxmlformats.org/drawingml/2006/main" name="2_NN_Neutral_16-9">
  <a:themeElements>
    <a:clrScheme name="NN Microsoft Office Color Scheme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</a:theme>
</file>

<file path=ppt/theme/theme8.xml><?xml version="1.0" encoding="utf-8"?>
<a:theme xmlns:a="http://schemas.openxmlformats.org/drawingml/2006/main" name="Clinical trial design and results template - format 16-9 - Version 2.0 - June 2014">
  <a:themeElements>
    <a:clrScheme name="NN Microsoft Office Color Scheme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</a:theme>
</file>

<file path=ppt/theme/theme9.xml><?xml version="1.0" encoding="utf-8"?>
<a:theme xmlns:a="http://schemas.openxmlformats.org/drawingml/2006/main" name="2_Blank">
  <a:themeElements>
    <a:clrScheme name="NN Microsoft Office Color Scheme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926</TotalTime>
  <Words>3806</Words>
  <Application>Microsoft Macintosh PowerPoint</Application>
  <PresentationFormat>Diavoorstelling (16:9)</PresentationFormat>
  <Paragraphs>642</Paragraphs>
  <Slides>41</Slides>
  <Notes>28</Notes>
  <HiddenSlides>0</HiddenSlides>
  <MMClips>0</MMClips>
  <ScaleCrop>false</ScaleCrop>
  <HeadingPairs>
    <vt:vector size="6" baseType="variant">
      <vt:variant>
        <vt:lpstr>Thema</vt:lpstr>
      </vt:variant>
      <vt:variant>
        <vt:i4>12</vt:i4>
      </vt:variant>
      <vt:variant>
        <vt:lpstr>Ingesloten OLE-bronprogramma's</vt:lpstr>
      </vt:variant>
      <vt:variant>
        <vt:i4>3</vt:i4>
      </vt:variant>
      <vt:variant>
        <vt:lpstr>Diatitels</vt:lpstr>
      </vt:variant>
      <vt:variant>
        <vt:i4>41</vt:i4>
      </vt:variant>
    </vt:vector>
  </HeadingPairs>
  <TitlesOfParts>
    <vt:vector size="56" baseType="lpstr">
      <vt:lpstr>Office Theme</vt:lpstr>
      <vt:lpstr>5_NN_Neutral_16-9</vt:lpstr>
      <vt:lpstr>1_Office Theme</vt:lpstr>
      <vt:lpstr>Blank</vt:lpstr>
      <vt:lpstr>1_blank</vt:lpstr>
      <vt:lpstr>1_NN_Neutral_16-9</vt:lpstr>
      <vt:lpstr>2_NN_Neutral_16-9</vt:lpstr>
      <vt:lpstr>Clinical trial design and results template - format 16-9 - Version 2.0 - June 2014</vt:lpstr>
      <vt:lpstr>2_Blank</vt:lpstr>
      <vt:lpstr>3_Blank</vt:lpstr>
      <vt:lpstr>4_NN_CD_16-9_Beta2</vt:lpstr>
      <vt:lpstr>4_NN_Neutral_16-9</vt:lpstr>
      <vt:lpstr>think-cell Slide</vt:lpstr>
      <vt:lpstr>Grafiek</vt:lpstr>
      <vt:lpstr>Prism 6</vt:lpstr>
      <vt:lpstr>Cardiovasculaire veiligheid van bloedglucoseverlagende medicatie </vt:lpstr>
      <vt:lpstr>Disclosure Jaap van Soest</vt:lpstr>
      <vt:lpstr>Disclosure Jeroen Nijhuis</vt:lpstr>
      <vt:lpstr>Disclosure Fabrice Martens</vt:lpstr>
      <vt:lpstr>Agenda</vt:lpstr>
      <vt:lpstr>Hoe hoger het HbA1c, hoe hoger het risico op HVZ</vt:lpstr>
      <vt:lpstr>Het belang van glucoseregulatie</vt:lpstr>
      <vt:lpstr>De macrovasculaire “paradox”   </vt:lpstr>
      <vt:lpstr>Van glucocentricity naar ‘outcome based’  behandeling T2DM?</vt:lpstr>
      <vt:lpstr>Multifactoriële aanpak / CVRM</vt:lpstr>
      <vt:lpstr>De noodzaak tot het doen van CV- veiligheidsstudies</vt:lpstr>
      <vt:lpstr>Wat hebben we aan medicatie?</vt:lpstr>
      <vt:lpstr>Metformine </vt:lpstr>
      <vt:lpstr>Metformin improved macrovascular outcome (HOME trial)</vt:lpstr>
      <vt:lpstr>Sulfonylureumderivaten (SU)</vt:lpstr>
      <vt:lpstr>DPP-4</vt:lpstr>
      <vt:lpstr>GLP-1 ra</vt:lpstr>
      <vt:lpstr>PowerPoint-presentatie</vt:lpstr>
      <vt:lpstr>PowerPoint-presentatie</vt:lpstr>
      <vt:lpstr>SGLT-2 remmers</vt:lpstr>
      <vt:lpstr>Wat zijn Major Adverse Cardiovascular Events?</vt:lpstr>
      <vt:lpstr>PowerPoint-presentatie</vt:lpstr>
      <vt:lpstr>DPP-4 remmers – geen significante verschillen op MACE</vt:lpstr>
      <vt:lpstr>SGLT 2: EMPA-REG OUTCOME (Empagliflozine) – Significant verschil op MACE</vt:lpstr>
      <vt:lpstr>PowerPoint-presentatie</vt:lpstr>
      <vt:lpstr>ORIGIN, DEVOTE: geen significante verschillen op MACE </vt:lpstr>
      <vt:lpstr>Diabetes Type 2 en CVOT’s </vt:lpstr>
      <vt:lpstr>GLP-1: geen significante verschillen op MACE</vt:lpstr>
      <vt:lpstr>ELIXA: Tijd tot het eerste optreden van cardiovasculaire sterfte, niet-fatale myocardinfarct, niet-fatale beroerte of ziekenhuisopname wegens instabiele angina </vt:lpstr>
      <vt:lpstr>LEADER (Liraglutide) – Significant verschil op MACE</vt:lpstr>
      <vt:lpstr>Sustain-6 (semaglutide)</vt:lpstr>
      <vt:lpstr>Discussie, stellingen en casus</vt:lpstr>
      <vt:lpstr>Bij DM2 helpt intensieve leefstijlinterventie om het risico op hart- en vaatziekten te verlagen</vt:lpstr>
      <vt:lpstr>Moeten we nou heel blij worden van insuline bij DM2 en helpt het om het risico op hart- en vaatziekten te verlagen</vt:lpstr>
      <vt:lpstr>Ter discussie DPP-4</vt:lpstr>
      <vt:lpstr>Ter discussie GLP-1</vt:lpstr>
      <vt:lpstr>Ter discussie SGLT-2 </vt:lpstr>
      <vt:lpstr>Ter discussie insuline</vt:lpstr>
      <vt:lpstr>Casus</vt:lpstr>
      <vt:lpstr>Discussie</vt:lpstr>
      <vt:lpstr>Regionale transmurale afspraken</vt:lpstr>
    </vt:vector>
  </TitlesOfParts>
  <Company>Novo Nordisk A/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MSH (Marleen Schoonen)</dc:creator>
  <cp:lastModifiedBy>Peter Seinen</cp:lastModifiedBy>
  <cp:revision>143</cp:revision>
  <dcterms:created xsi:type="dcterms:W3CDTF">2017-07-11T12:10:36Z</dcterms:created>
  <dcterms:modified xsi:type="dcterms:W3CDTF">2017-12-22T11:07:04Z</dcterms:modified>
</cp:coreProperties>
</file>